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0" r:id="rId4"/>
    <p:sldMasterId id="2147484027" r:id="rId5"/>
  </p:sldMasterIdLst>
  <p:notesMasterIdLst>
    <p:notesMasterId r:id="rId35"/>
  </p:notesMasterIdLst>
  <p:sldIdLst>
    <p:sldId id="2147479541" r:id="rId6"/>
    <p:sldId id="2147479495" r:id="rId7"/>
    <p:sldId id="258" r:id="rId8"/>
    <p:sldId id="261" r:id="rId9"/>
    <p:sldId id="2147479542" r:id="rId10"/>
    <p:sldId id="2147483645" r:id="rId11"/>
    <p:sldId id="2147482428" r:id="rId12"/>
    <p:sldId id="2147482452" r:id="rId13"/>
    <p:sldId id="2147482414" r:id="rId14"/>
    <p:sldId id="2147482415" r:id="rId15"/>
    <p:sldId id="2147482453" r:id="rId16"/>
    <p:sldId id="2147482418" r:id="rId17"/>
    <p:sldId id="2147482455" r:id="rId18"/>
    <p:sldId id="2147483646" r:id="rId19"/>
    <p:sldId id="2147483647" r:id="rId20"/>
    <p:sldId id="2147482425" r:id="rId21"/>
    <p:sldId id="260" r:id="rId22"/>
    <p:sldId id="257" r:id="rId23"/>
    <p:sldId id="259" r:id="rId24"/>
    <p:sldId id="2147479543" r:id="rId25"/>
    <p:sldId id="2147482465" r:id="rId26"/>
    <p:sldId id="2147482466" r:id="rId27"/>
    <p:sldId id="2147482469" r:id="rId28"/>
    <p:sldId id="2147479524" r:id="rId29"/>
    <p:sldId id="262" r:id="rId30"/>
    <p:sldId id="2147482387" r:id="rId31"/>
    <p:sldId id="263" r:id="rId32"/>
    <p:sldId id="2147479523" r:id="rId33"/>
    <p:sldId id="2147479544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ioneering the Future of Financial Services with AI" id="{B468B7A3-AF1F-4A06-ADC1-C5F90AF26C7A}">
          <p14:sldIdLst>
            <p14:sldId id="2147479541"/>
            <p14:sldId id="2147479495"/>
            <p14:sldId id="258"/>
            <p14:sldId id="261"/>
          </p14:sldIdLst>
        </p14:section>
        <p14:section name="Understanding the Frontier Firm in Financial Services" id="{6906F145-AE8A-4C84-B2EB-DE73CFFFAAF5}">
          <p14:sldIdLst>
            <p14:sldId id="2147479542"/>
            <p14:sldId id="2147483645"/>
            <p14:sldId id="2147482428"/>
            <p14:sldId id="2147482452"/>
            <p14:sldId id="2147482414"/>
            <p14:sldId id="2147482415"/>
            <p14:sldId id="2147482453"/>
            <p14:sldId id="2147482418"/>
            <p14:sldId id="2147482455"/>
            <p14:sldId id="2147483646"/>
            <p14:sldId id="2147483647"/>
            <p14:sldId id="2147482425"/>
            <p14:sldId id="260"/>
            <p14:sldId id="257"/>
            <p14:sldId id="259"/>
          </p14:sldIdLst>
        </p14:section>
        <p14:section name="Intelligence on Tap: AI as an On-Demand Resource" id="{5615D224-7400-4243-BBAE-9514DCA91AF4}">
          <p14:sldIdLst>
            <p14:sldId id="2147479543"/>
            <p14:sldId id="2147482465"/>
            <p14:sldId id="2147482466"/>
            <p14:sldId id="2147482469"/>
          </p14:sldIdLst>
        </p14:section>
        <p14:section name="Human-Agent Teams: Empowering Collaboration and Innovation" id="{8873B639-EE21-44C2-85A5-78C234DE07B9}">
          <p14:sldIdLst>
            <p14:sldId id="2147479524"/>
            <p14:sldId id="262"/>
            <p14:sldId id="2147482387"/>
            <p14:sldId id="263"/>
            <p14:sldId id="2147479523"/>
          </p14:sldIdLst>
        </p14:section>
        <p14:section name="Conclusion" id="{376F1A5F-EA2F-4636-8A5D-E35E3AA2542B}">
          <p14:sldIdLst>
            <p14:sldId id="2147479544"/>
          </p14:sldIdLst>
        </p14:section>
        <p14:section name="Appendix" id="{19C38BAC-062D-4153-811B-C35B584A6DFE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8B83B4-337E-1F32-22CB-7CDC8EE8B9F8}" name="Janet Choi (Stinson Communications Inc)" initials="JC" userId="S::v-janetchoi@microsoft.com::06879060-1dfb-448d-9a49-6512d48ad4e4" providerId="AD"/>
  <p188:author id="{81485DD9-EDDD-5306-2491-5DD695BC3C29}" name="Alfonso Rodriguez" initials="AR" userId="S::rodriguezalf@microsoft.com::b5787439-31c4-42f4-bd2f-92ef801e3dcd" providerId="AD"/>
  <p188:author id="{AF702BEA-DE76-B56F-017E-3D20624D90E3}" name="Thomas Wisniewski" initials="TW" userId="S::twisniewski@microsoft.com::17d04009-e33c-4ca4-9ffd-98734bd616c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11010"/>
    <a:srgbClr val="193F44"/>
    <a:srgbClr val="888888"/>
    <a:srgbClr val="0A6BBA"/>
    <a:srgbClr val="318581"/>
    <a:srgbClr val="2C302F"/>
    <a:srgbClr val="2A44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0D3522-BBE9-E57B-CBDD-9F1EFFC1FD44}" v="7" dt="2025-08-29T19:57:33.415"/>
    <p1510:client id="{AE5A2DF4-7118-44DD-83B4-334B3991DBE4}" v="9" dt="2025-08-29T17:44:44.2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2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kita Emtsov (Stinson Communications Inc)" userId="8e13622e-4f5c-4340-8a97-1b61f98d3e80" providerId="ADAL" clId="{A58E44C6-F5B9-5894-9F33-424F549CF034}"/>
    <pc:docChg chg="undo custSel addSld delSld modSld sldOrd delMainMaster modSection">
      <pc:chgData name="Nikita Emtsov (Stinson Communications Inc)" userId="8e13622e-4f5c-4340-8a97-1b61f98d3e80" providerId="ADAL" clId="{A58E44C6-F5B9-5894-9F33-424F549CF034}" dt="2025-08-20T19:27:34.488" v="4391" actId="478"/>
      <pc:docMkLst>
        <pc:docMk/>
      </pc:docMkLst>
      <pc:sldChg chg="add del mod modShow">
        <pc:chgData name="Nikita Emtsov (Stinson Communications Inc)" userId="8e13622e-4f5c-4340-8a97-1b61f98d3e80" providerId="ADAL" clId="{A58E44C6-F5B9-5894-9F33-424F549CF034}" dt="2025-08-20T17:53:18.464" v="1921" actId="2696"/>
        <pc:sldMkLst>
          <pc:docMk/>
          <pc:sldMk cId="896898770" sldId="257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7:29:44.870" v="1560" actId="2696"/>
        <pc:sldMkLst>
          <pc:docMk/>
          <pc:sldMk cId="1320028636" sldId="257"/>
        </pc:sldMkLst>
      </pc:sldChg>
      <pc:sldChg chg="addSp modSp add mod modAnim modShow">
        <pc:chgData name="Nikita Emtsov (Stinson Communications Inc)" userId="8e13622e-4f5c-4340-8a97-1b61f98d3e80" providerId="ADAL" clId="{A58E44C6-F5B9-5894-9F33-424F549CF034}" dt="2025-08-20T19:17:31.486" v="3943" actId="167"/>
        <pc:sldMkLst>
          <pc:docMk/>
          <pc:sldMk cId="1674813951" sldId="257"/>
        </pc:sldMkLst>
        <pc:spChg chg="mod">
          <ac:chgData name="Nikita Emtsov (Stinson Communications Inc)" userId="8e13622e-4f5c-4340-8a97-1b61f98d3e80" providerId="ADAL" clId="{A58E44C6-F5B9-5894-9F33-424F549CF034}" dt="2025-08-20T17:53:38.152" v="1925" actId="20577"/>
          <ac:spMkLst>
            <pc:docMk/>
            <pc:sldMk cId="1674813951" sldId="257"/>
            <ac:spMk id="2" creationId="{89A0D292-31A5-0E6C-62A0-0853702F733A}"/>
          </ac:spMkLst>
        </pc:spChg>
        <pc:spChg chg="mod">
          <ac:chgData name="Nikita Emtsov (Stinson Communications Inc)" userId="8e13622e-4f5c-4340-8a97-1b61f98d3e80" providerId="ADAL" clId="{A58E44C6-F5B9-5894-9F33-424F549CF034}" dt="2025-08-20T19:02:06.484" v="2881" actId="33553"/>
          <ac:spMkLst>
            <pc:docMk/>
            <pc:sldMk cId="1674813951" sldId="257"/>
            <ac:spMk id="3" creationId="{AD624EB6-FC36-8FFF-2892-642265647A5E}"/>
          </ac:spMkLst>
        </pc:spChg>
        <pc:spChg chg="mod">
          <ac:chgData name="Nikita Emtsov (Stinson Communications Inc)" userId="8e13622e-4f5c-4340-8a97-1b61f98d3e80" providerId="ADAL" clId="{A58E44C6-F5B9-5894-9F33-424F549CF034}" dt="2025-08-20T17:53:48.518" v="1927" actId="20577"/>
          <ac:spMkLst>
            <pc:docMk/>
            <pc:sldMk cId="1674813951" sldId="257"/>
            <ac:spMk id="4" creationId="{0E4742FA-C311-6A3A-04C2-DB07700133C6}"/>
          </ac:spMkLst>
        </pc:spChg>
        <pc:spChg chg="mod">
          <ac:chgData name="Nikita Emtsov (Stinson Communications Inc)" userId="8e13622e-4f5c-4340-8a97-1b61f98d3e80" providerId="ADAL" clId="{A58E44C6-F5B9-5894-9F33-424F549CF034}" dt="2025-08-20T17:53:56.561" v="1929" actId="20577"/>
          <ac:spMkLst>
            <pc:docMk/>
            <pc:sldMk cId="1674813951" sldId="257"/>
            <ac:spMk id="5" creationId="{60FDDC1E-9FAD-8F5B-4AE1-E74D7439FA1C}"/>
          </ac:spMkLst>
        </pc:spChg>
        <pc:spChg chg="mod">
          <ac:chgData name="Nikita Emtsov (Stinson Communications Inc)" userId="8e13622e-4f5c-4340-8a97-1b61f98d3e80" providerId="ADAL" clId="{A58E44C6-F5B9-5894-9F33-424F549CF034}" dt="2025-08-20T17:54:04.603" v="1932" actId="14100"/>
          <ac:spMkLst>
            <pc:docMk/>
            <pc:sldMk cId="1674813951" sldId="257"/>
            <ac:spMk id="6" creationId="{811BCE12-4475-05DB-9252-96B03E34C4B1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31.486" v="3943" actId="167"/>
          <ac:spMkLst>
            <pc:docMk/>
            <pc:sldMk cId="1674813951" sldId="257"/>
            <ac:spMk id="8" creationId="{C9787CC5-A1E9-B85F-A4B8-BF4ED42179E9}"/>
          </ac:spMkLst>
        </pc:spChg>
        <pc:spChg chg="mod">
          <ac:chgData name="Nikita Emtsov (Stinson Communications Inc)" userId="8e13622e-4f5c-4340-8a97-1b61f98d3e80" providerId="ADAL" clId="{A58E44C6-F5B9-5894-9F33-424F549CF034}" dt="2025-08-20T17:53:26.226" v="1923"/>
          <ac:spMkLst>
            <pc:docMk/>
            <pc:sldMk cId="1674813951" sldId="257"/>
            <ac:spMk id="9" creationId="{220FFEF7-E5E1-3E77-6ACC-6566502F8CB5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27.178" v="3602" actId="962"/>
          <ac:spMkLst>
            <pc:docMk/>
            <pc:sldMk cId="1674813951" sldId="257"/>
            <ac:spMk id="18" creationId="{949BE608-E5AB-C8BE-5B9F-98110D10B05D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27.178" v="3602" actId="962"/>
          <ac:spMkLst>
            <pc:docMk/>
            <pc:sldMk cId="1674813951" sldId="257"/>
            <ac:spMk id="19" creationId="{DF39C804-A40A-F2BE-B42E-F7657B4F9B7B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27.178" v="3602" actId="962"/>
          <ac:spMkLst>
            <pc:docMk/>
            <pc:sldMk cId="1674813951" sldId="257"/>
            <ac:spMk id="20" creationId="{C8AC1157-3A2E-2C08-DB93-59F522DAF4F8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27.178" v="3602" actId="962"/>
          <ac:spMkLst>
            <pc:docMk/>
            <pc:sldMk cId="1674813951" sldId="257"/>
            <ac:spMk id="25" creationId="{4BC07802-B504-899A-D590-AB67D5FA64BE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27.178" v="3602" actId="962"/>
          <ac:spMkLst>
            <pc:docMk/>
            <pc:sldMk cId="1674813951" sldId="257"/>
            <ac:spMk id="28" creationId="{26E2DE28-9CC5-9DEE-38F1-02A680A0C21B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27.178" v="3602" actId="962"/>
          <ac:spMkLst>
            <pc:docMk/>
            <pc:sldMk cId="1674813951" sldId="257"/>
            <ac:spMk id="33" creationId="{5923CFBD-9C9F-D9D5-BE8E-FCE6618A3BA8}"/>
          </ac:spMkLst>
        </pc:spChg>
        <pc:grpChg chg="mod">
          <ac:chgData name="Nikita Emtsov (Stinson Communications Inc)" userId="8e13622e-4f5c-4340-8a97-1b61f98d3e80" providerId="ADAL" clId="{A58E44C6-F5B9-5894-9F33-424F549CF034}" dt="2025-08-20T19:08:27.178" v="3602" actId="962"/>
          <ac:grpSpMkLst>
            <pc:docMk/>
            <pc:sldMk cId="1674813951" sldId="257"/>
            <ac:grpSpMk id="54" creationId="{AC22170E-4E1C-CB2D-3CD5-20DD399A499D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27.178" v="3602" actId="962"/>
          <ac:grpSpMkLst>
            <pc:docMk/>
            <pc:sldMk cId="1674813951" sldId="257"/>
            <ac:grpSpMk id="55" creationId="{E969713C-7C2F-329C-585B-398E60420CC2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27.178" v="3602" actId="962"/>
          <ac:grpSpMkLst>
            <pc:docMk/>
            <pc:sldMk cId="1674813951" sldId="257"/>
            <ac:grpSpMk id="56" creationId="{ED348FB2-3BFA-5BFC-E9B7-A9CE446AB179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27.178" v="3602" actId="962"/>
          <ac:grpSpMkLst>
            <pc:docMk/>
            <pc:sldMk cId="1674813951" sldId="257"/>
            <ac:grpSpMk id="57" creationId="{894B8A63-AF20-C385-3A6B-9DAFF4EE0CA7}"/>
          </ac:grpSpMkLst>
        </pc:grpChg>
      </pc:sldChg>
      <pc:sldChg chg="addSp delSp modSp add mod modClrScheme modAnim chgLayout">
        <pc:chgData name="Nikita Emtsov (Stinson Communications Inc)" userId="8e13622e-4f5c-4340-8a97-1b61f98d3e80" providerId="ADAL" clId="{A58E44C6-F5B9-5894-9F33-424F549CF034}" dt="2025-08-20T19:10:20.726" v="3769" actId="167"/>
        <pc:sldMkLst>
          <pc:docMk/>
          <pc:sldMk cId="449545953" sldId="258"/>
        </pc:sldMkLst>
        <pc:spChg chg="mod">
          <ac:chgData name="Nikita Emtsov (Stinson Communications Inc)" userId="8e13622e-4f5c-4340-8a97-1b61f98d3e80" providerId="ADAL" clId="{A58E44C6-F5B9-5894-9F33-424F549CF034}" dt="2025-08-20T19:10:20.726" v="3769" actId="167"/>
          <ac:spMkLst>
            <pc:docMk/>
            <pc:sldMk cId="449545953" sldId="258"/>
            <ac:spMk id="2" creationId="{E5B6B413-7EC1-D043-C295-B0CC8C43B03C}"/>
          </ac:spMkLst>
        </pc:spChg>
        <pc:spChg chg="mod">
          <ac:chgData name="Nikita Emtsov (Stinson Communications Inc)" userId="8e13622e-4f5c-4340-8a97-1b61f98d3e80" providerId="ADAL" clId="{A58E44C6-F5B9-5894-9F33-424F549CF034}" dt="2025-08-20T19:10:20.726" v="3769" actId="167"/>
          <ac:spMkLst>
            <pc:docMk/>
            <pc:sldMk cId="449545953" sldId="258"/>
            <ac:spMk id="5" creationId="{55B97B31-6780-F8EA-E276-5440F35B4164}"/>
          </ac:spMkLst>
        </pc:spChg>
        <pc:spChg chg="mod">
          <ac:chgData name="Nikita Emtsov (Stinson Communications Inc)" userId="8e13622e-4f5c-4340-8a97-1b61f98d3e80" providerId="ADAL" clId="{A58E44C6-F5B9-5894-9F33-424F549CF034}" dt="2025-08-20T15:22:31.310" v="62" actId="20577"/>
          <ac:spMkLst>
            <pc:docMk/>
            <pc:sldMk cId="449545953" sldId="258"/>
            <ac:spMk id="8" creationId="{D00848DA-B6E3-AEAC-D961-B668CA9300D6}"/>
          </ac:spMkLst>
        </pc:spChg>
      </pc:sldChg>
      <pc:sldChg chg="addSp modSp add mod modAnim">
        <pc:chgData name="Nikita Emtsov (Stinson Communications Inc)" userId="8e13622e-4f5c-4340-8a97-1b61f98d3e80" providerId="ADAL" clId="{A58E44C6-F5B9-5894-9F33-424F549CF034}" dt="2025-08-20T19:17:34.308" v="3944" actId="167"/>
        <pc:sldMkLst>
          <pc:docMk/>
          <pc:sldMk cId="1529352445" sldId="259"/>
        </pc:sldMkLst>
        <pc:spChg chg="mod">
          <ac:chgData name="Nikita Emtsov (Stinson Communications Inc)" userId="8e13622e-4f5c-4340-8a97-1b61f98d3e80" providerId="ADAL" clId="{A58E44C6-F5B9-5894-9F33-424F549CF034}" dt="2025-08-20T17:54:32.618" v="1941" actId="14100"/>
          <ac:spMkLst>
            <pc:docMk/>
            <pc:sldMk cId="1529352445" sldId="259"/>
            <ac:spMk id="2" creationId="{9295BA91-CCD6-A99D-8CD3-0D8FD34B30D8}"/>
          </ac:spMkLst>
        </pc:spChg>
        <pc:spChg chg="mod">
          <ac:chgData name="Nikita Emtsov (Stinson Communications Inc)" userId="8e13622e-4f5c-4340-8a97-1b61f98d3e80" providerId="ADAL" clId="{A58E44C6-F5B9-5894-9F33-424F549CF034}" dt="2025-08-20T19:02:15.794" v="2898" actId="33553"/>
          <ac:spMkLst>
            <pc:docMk/>
            <pc:sldMk cId="1529352445" sldId="259"/>
            <ac:spMk id="3" creationId="{1118EC99-F12F-1BEA-80FF-D20FDDBECEE0}"/>
          </ac:spMkLst>
        </pc:spChg>
        <pc:spChg chg="mod">
          <ac:chgData name="Nikita Emtsov (Stinson Communications Inc)" userId="8e13622e-4f5c-4340-8a97-1b61f98d3e80" providerId="ADAL" clId="{A58E44C6-F5B9-5894-9F33-424F549CF034}" dt="2025-08-20T17:54:38.940" v="1943" actId="20577"/>
          <ac:spMkLst>
            <pc:docMk/>
            <pc:sldMk cId="1529352445" sldId="259"/>
            <ac:spMk id="4" creationId="{677B0EB8-CDBE-E286-4E24-1864A2FE3F2A}"/>
          </ac:spMkLst>
        </pc:spChg>
        <pc:spChg chg="mod">
          <ac:chgData name="Nikita Emtsov (Stinson Communications Inc)" userId="8e13622e-4f5c-4340-8a97-1b61f98d3e80" providerId="ADAL" clId="{A58E44C6-F5B9-5894-9F33-424F549CF034}" dt="2025-08-20T17:54:48.089" v="1946" actId="20577"/>
          <ac:spMkLst>
            <pc:docMk/>
            <pc:sldMk cId="1529352445" sldId="259"/>
            <ac:spMk id="5" creationId="{5908161F-0EE1-C66D-95DE-C8D7180DCDE2}"/>
          </ac:spMkLst>
        </pc:spChg>
        <pc:spChg chg="mod">
          <ac:chgData name="Nikita Emtsov (Stinson Communications Inc)" userId="8e13622e-4f5c-4340-8a97-1b61f98d3e80" providerId="ADAL" clId="{A58E44C6-F5B9-5894-9F33-424F549CF034}" dt="2025-08-20T17:54:55.199" v="1948" actId="20577"/>
          <ac:spMkLst>
            <pc:docMk/>
            <pc:sldMk cId="1529352445" sldId="259"/>
            <ac:spMk id="6" creationId="{068E415B-06F2-FA49-0C61-0D0BB10D0C27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34.308" v="3944" actId="167"/>
          <ac:spMkLst>
            <pc:docMk/>
            <pc:sldMk cId="1529352445" sldId="259"/>
            <ac:spMk id="8" creationId="{F6AE4B82-7C2C-2CFC-0B67-9969712D9D41}"/>
          </ac:spMkLst>
        </pc:spChg>
        <pc:spChg chg="mod">
          <ac:chgData name="Nikita Emtsov (Stinson Communications Inc)" userId="8e13622e-4f5c-4340-8a97-1b61f98d3e80" providerId="ADAL" clId="{A58E44C6-F5B9-5894-9F33-424F549CF034}" dt="2025-08-20T17:55:08.978" v="1951" actId="20577"/>
          <ac:spMkLst>
            <pc:docMk/>
            <pc:sldMk cId="1529352445" sldId="259"/>
            <ac:spMk id="9" creationId="{BDE8E9C3-995B-DE4C-853B-07098E4347F6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36.929" v="3603" actId="962"/>
          <ac:spMkLst>
            <pc:docMk/>
            <pc:sldMk cId="1529352445" sldId="259"/>
            <ac:spMk id="18" creationId="{69EE48DA-25BA-6FF0-673C-04648015236E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36.929" v="3603" actId="962"/>
          <ac:spMkLst>
            <pc:docMk/>
            <pc:sldMk cId="1529352445" sldId="259"/>
            <ac:spMk id="19" creationId="{32F5E79A-54E6-F188-D4E7-189794229579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36.929" v="3603" actId="962"/>
          <ac:spMkLst>
            <pc:docMk/>
            <pc:sldMk cId="1529352445" sldId="259"/>
            <ac:spMk id="20" creationId="{AEBBC6E5-36E0-3566-11F0-0807D90AD8F0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36.929" v="3603" actId="962"/>
          <ac:spMkLst>
            <pc:docMk/>
            <pc:sldMk cId="1529352445" sldId="259"/>
            <ac:spMk id="25" creationId="{BA545FCB-8F13-FAC7-3B16-FE39EA711B78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41.216" v="3604" actId="962"/>
          <ac:spMkLst>
            <pc:docMk/>
            <pc:sldMk cId="1529352445" sldId="259"/>
            <ac:spMk id="28" creationId="{0C7E50B7-0818-43F5-9772-EEE251F2281F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36.929" v="3603" actId="962"/>
          <ac:spMkLst>
            <pc:docMk/>
            <pc:sldMk cId="1529352445" sldId="259"/>
            <ac:spMk id="33" creationId="{E2011F4E-E0FB-1B76-DE26-FB3E93B2268B}"/>
          </ac:spMkLst>
        </pc:spChg>
        <pc:grpChg chg="mod">
          <ac:chgData name="Nikita Emtsov (Stinson Communications Inc)" userId="8e13622e-4f5c-4340-8a97-1b61f98d3e80" providerId="ADAL" clId="{A58E44C6-F5B9-5894-9F33-424F549CF034}" dt="2025-08-20T19:08:36.929" v="3603" actId="962"/>
          <ac:grpSpMkLst>
            <pc:docMk/>
            <pc:sldMk cId="1529352445" sldId="259"/>
            <ac:grpSpMk id="54" creationId="{AB09BA1D-43AB-A093-8A13-1E9647DA38C5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36.929" v="3603" actId="962"/>
          <ac:grpSpMkLst>
            <pc:docMk/>
            <pc:sldMk cId="1529352445" sldId="259"/>
            <ac:grpSpMk id="55" creationId="{590CF938-66B3-B009-26AB-B7BE67813CEC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36.929" v="3603" actId="962"/>
          <ac:grpSpMkLst>
            <pc:docMk/>
            <pc:sldMk cId="1529352445" sldId="259"/>
            <ac:grpSpMk id="56" creationId="{5FE4DD21-0892-7D5D-7F04-F516436860EC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36.929" v="3603" actId="962"/>
          <ac:grpSpMkLst>
            <pc:docMk/>
            <pc:sldMk cId="1529352445" sldId="259"/>
            <ac:grpSpMk id="57" creationId="{07E35DC8-F04C-765F-DEA1-ACC17BDD38A8}"/>
          </ac:grpSpMkLst>
        </pc:grpChg>
        <pc:cxnChg chg="mod">
          <ac:chgData name="Nikita Emtsov (Stinson Communications Inc)" userId="8e13622e-4f5c-4340-8a97-1b61f98d3e80" providerId="ADAL" clId="{A58E44C6-F5B9-5894-9F33-424F549CF034}" dt="2025-08-20T19:08:36.929" v="3603" actId="962"/>
          <ac:cxnSpMkLst>
            <pc:docMk/>
            <pc:sldMk cId="1529352445" sldId="259"/>
            <ac:cxnSpMk id="12" creationId="{885FAF75-07BD-E9FB-7E58-C9C2E7BDC67C}"/>
          </ac:cxnSpMkLst>
        </pc:cxnChg>
      </pc:sldChg>
      <pc:sldChg chg="addSp delSp modSp add mod delAnim modAnim">
        <pc:chgData name="Nikita Emtsov (Stinson Communications Inc)" userId="8e13622e-4f5c-4340-8a97-1b61f98d3e80" providerId="ADAL" clId="{A58E44C6-F5B9-5894-9F33-424F549CF034}" dt="2025-08-20T19:17:26.792" v="3942" actId="167"/>
        <pc:sldMkLst>
          <pc:docMk/>
          <pc:sldMk cId="722058826" sldId="260"/>
        </pc:sldMkLst>
        <pc:spChg chg="mod">
          <ac:chgData name="Nikita Emtsov (Stinson Communications Inc)" userId="8e13622e-4f5c-4340-8a97-1b61f98d3e80" providerId="ADAL" clId="{A58E44C6-F5B9-5894-9F33-424F549CF034}" dt="2025-08-20T19:17:23.231" v="3940" actId="167"/>
          <ac:spMkLst>
            <pc:docMk/>
            <pc:sldMk cId="722058826" sldId="260"/>
            <ac:spMk id="2" creationId="{8FBBAF1A-560D-8DE7-4002-856DE11FEDFF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2.077" v="3938" actId="167"/>
          <ac:spMkLst>
            <pc:docMk/>
            <pc:sldMk cId="722058826" sldId="260"/>
            <ac:spMk id="3" creationId="{B4A241FC-80DC-E022-FE5D-0A68CA8721F7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4" creationId="{8F3F78E6-8E28-C55B-2D2F-6CFFA1D97337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6" creationId="{809BFB50-9A52-6EE7-DFA6-6198F494A300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19.591" v="3934" actId="167"/>
          <ac:spMkLst>
            <pc:docMk/>
            <pc:sldMk cId="722058826" sldId="260"/>
            <ac:spMk id="8" creationId="{F4D3B5CD-3C74-8E90-E7A9-056F1BFCE62C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9" creationId="{D446674B-7EAB-E989-B8ED-9CBEB5925A5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10" creationId="{176FA324-A393-4101-0790-A8B1D0FD3DC1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13" creationId="{14F58BCB-320C-A058-D77D-A6341F6D84F7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14" creationId="{8167985F-5252-ADE7-EA40-811AB8D3A39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15" creationId="{B6483699-0C6C-A0AA-72D8-127482E55781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20.188" v="3935" actId="167"/>
          <ac:spMkLst>
            <pc:docMk/>
            <pc:sldMk cId="722058826" sldId="260"/>
            <ac:spMk id="16" creationId="{5DA5A924-DA20-381C-E242-9CCC0D026AF9}"/>
          </ac:spMkLst>
        </pc:spChg>
        <pc:spChg chg="mod">
          <ac:chgData name="Nikita Emtsov (Stinson Communications Inc)" userId="8e13622e-4f5c-4340-8a97-1b61f98d3e80" providerId="ADAL" clId="{A58E44C6-F5B9-5894-9F33-424F549CF034}" dt="2025-08-20T19:08:15.011" v="3601" actId="962"/>
          <ac:spMkLst>
            <pc:docMk/>
            <pc:sldMk cId="722058826" sldId="260"/>
            <ac:spMk id="28" creationId="{24A4A72C-369A-679D-53FA-FBAAC8AB8CC6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2.610" v="3939" actId="167"/>
          <ac:spMkLst>
            <pc:docMk/>
            <pc:sldMk cId="722058826" sldId="260"/>
            <ac:spMk id="33" creationId="{4D018B63-CC6E-9A82-3A33-1C6C6F59E203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58" creationId="{34181889-4DFC-6AB1-54D7-960EC4B1BF68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60" creationId="{359C874B-66FE-796D-3E3C-D5FBCC7689D7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26.792" v="3942" actId="167"/>
          <ac:spMkLst>
            <pc:docMk/>
            <pc:sldMk cId="722058826" sldId="260"/>
            <ac:spMk id="62" creationId="{627AD446-D2AB-823E-71F4-BFF87DCF0B7D}"/>
          </ac:spMkLst>
        </pc:spChg>
        <pc:grpChg chg="mod">
          <ac:chgData name="Nikita Emtsov (Stinson Communications Inc)" userId="8e13622e-4f5c-4340-8a97-1b61f98d3e80" providerId="ADAL" clId="{A58E44C6-F5B9-5894-9F33-424F549CF034}" dt="2025-08-20T19:08:15.011" v="3601" actId="962"/>
          <ac:grpSpMkLst>
            <pc:docMk/>
            <pc:sldMk cId="722058826" sldId="260"/>
            <ac:grpSpMk id="54" creationId="{920FE6EF-CCEB-15CC-0770-45A4C2D7292B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15.011" v="3601" actId="962"/>
          <ac:grpSpMkLst>
            <pc:docMk/>
            <pc:sldMk cId="722058826" sldId="260"/>
            <ac:grpSpMk id="55" creationId="{C61A6DE8-3ABA-B5A7-3280-F54243ADEC2F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15.011" v="3601" actId="962"/>
          <ac:grpSpMkLst>
            <pc:docMk/>
            <pc:sldMk cId="722058826" sldId="260"/>
            <ac:grpSpMk id="56" creationId="{947F9888-4B5E-22E2-0E9A-0DEFF3FA7B76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8:15.011" v="3601" actId="962"/>
          <ac:grpSpMkLst>
            <pc:docMk/>
            <pc:sldMk cId="722058826" sldId="260"/>
            <ac:grpSpMk id="57" creationId="{5AC86C3D-D978-4B8A-DF50-CDAE26193030}"/>
          </ac:grpSpMkLst>
        </pc:grpChg>
      </pc:sldChg>
      <pc:sldChg chg="add del mod modShow">
        <pc:chgData name="Nikita Emtsov (Stinson Communications Inc)" userId="8e13622e-4f5c-4340-8a97-1b61f98d3e80" providerId="ADAL" clId="{A58E44C6-F5B9-5894-9F33-424F549CF034}" dt="2025-08-20T18:57:39.838" v="2835" actId="2696"/>
        <pc:sldMkLst>
          <pc:docMk/>
          <pc:sldMk cId="83322961" sldId="261"/>
        </pc:sldMkLst>
      </pc:sldChg>
      <pc:sldChg chg="modSp add del mod modShow">
        <pc:chgData name="Nikita Emtsov (Stinson Communications Inc)" userId="8e13622e-4f5c-4340-8a97-1b61f98d3e80" providerId="ADAL" clId="{A58E44C6-F5B9-5894-9F33-424F549CF034}" dt="2025-08-20T18:20:59.945" v="2329" actId="2696"/>
        <pc:sldMkLst>
          <pc:docMk/>
          <pc:sldMk cId="659983018" sldId="261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8:28:04.084" v="2492" actId="2696"/>
        <pc:sldMkLst>
          <pc:docMk/>
          <pc:sldMk cId="1047902623" sldId="261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8:32:50.107" v="2548" actId="2696"/>
        <pc:sldMkLst>
          <pc:docMk/>
          <pc:sldMk cId="2279800648" sldId="261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8:08:07.616" v="2118" actId="2696"/>
        <pc:sldMkLst>
          <pc:docMk/>
          <pc:sldMk cId="2856435959" sldId="261"/>
        </pc:sldMkLst>
      </pc:sldChg>
      <pc:sldChg chg="addSp delSp modSp add mod">
        <pc:chgData name="Nikita Emtsov (Stinson Communications Inc)" userId="8e13622e-4f5c-4340-8a97-1b61f98d3e80" providerId="ADAL" clId="{A58E44C6-F5B9-5894-9F33-424F549CF034}" dt="2025-08-20T19:12:26.265" v="3816" actId="167"/>
        <pc:sldMkLst>
          <pc:docMk/>
          <pc:sldMk cId="3150098569" sldId="261"/>
        </pc:sldMkLst>
        <pc:spChg chg="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2" creationId="{6C675A02-DF0F-177C-C8E1-31F61577416F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3" creationId="{7A5D44F4-403F-6352-5911-CA5B169C2D08}"/>
          </ac:spMkLst>
        </pc:spChg>
        <pc:spChg chg="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4" creationId="{A78F923C-2FF0-6200-E7EA-A5F770A69106}"/>
          </ac:spMkLst>
        </pc:spChg>
        <pc:spChg chg="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5" creationId="{7A188A28-866E-7C2A-7A4A-9F9912E8FDC4}"/>
          </ac:spMkLst>
        </pc:spChg>
        <pc:spChg chg="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6" creationId="{84A9A769-6786-305F-23B9-5E9C85A9FA4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7" creationId="{C6EB92BE-D436-BE55-7455-BC8E1739F667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8" creationId="{81FC92ED-848A-CD3B-3739-3D174C0DAF25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9" creationId="{14929978-2F62-4298-9527-B2C1E8C61D95}"/>
          </ac:spMkLst>
        </pc:spChg>
        <pc:spChg chg="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10" creationId="{5157AA04-268E-15D3-78C1-8554B1A35D45}"/>
          </ac:spMkLst>
        </pc:spChg>
        <pc:spChg chg="mod">
          <ac:chgData name="Nikita Emtsov (Stinson Communications Inc)" userId="8e13622e-4f5c-4340-8a97-1b61f98d3e80" providerId="ADAL" clId="{A58E44C6-F5B9-5894-9F33-424F549CF034}" dt="2025-08-20T19:12:26.265" v="3816" actId="167"/>
          <ac:spMkLst>
            <pc:docMk/>
            <pc:sldMk cId="3150098569" sldId="261"/>
            <ac:spMk id="11" creationId="{650120EE-4832-B2F3-02EE-07D14AC355DF}"/>
          </ac:spMkLst>
        </pc:spChg>
      </pc:sldChg>
      <pc:sldChg chg="modSp add del mod modShow">
        <pc:chgData name="Nikita Emtsov (Stinson Communications Inc)" userId="8e13622e-4f5c-4340-8a97-1b61f98d3e80" providerId="ADAL" clId="{A58E44C6-F5B9-5894-9F33-424F549CF034}" dt="2025-08-20T18:55:24.745" v="2795" actId="2696"/>
        <pc:sldMkLst>
          <pc:docMk/>
          <pc:sldMk cId="3669183555" sldId="261"/>
        </pc:sldMkLst>
      </pc:sldChg>
      <pc:sldChg chg="modSp add del mod modAnim">
        <pc:chgData name="Nikita Emtsov (Stinson Communications Inc)" userId="8e13622e-4f5c-4340-8a97-1b61f98d3e80" providerId="ADAL" clId="{A58E44C6-F5B9-5894-9F33-424F549CF034}" dt="2025-08-20T17:59:48.231" v="2003" actId="2696"/>
        <pc:sldMkLst>
          <pc:docMk/>
          <pc:sldMk cId="4114568043" sldId="261"/>
        </pc:sldMkLst>
      </pc:sldChg>
      <pc:sldChg chg="delSp modSp add del modAnim">
        <pc:chgData name="Nikita Emtsov (Stinson Communications Inc)" userId="8e13622e-4f5c-4340-8a97-1b61f98d3e80" providerId="ADAL" clId="{A58E44C6-F5B9-5894-9F33-424F549CF034}" dt="2025-08-20T17:58:44.758" v="1993" actId="2696"/>
        <pc:sldMkLst>
          <pc:docMk/>
          <pc:sldMk cId="4161218173" sldId="261"/>
        </pc:sldMkLst>
      </pc:sldChg>
      <pc:sldChg chg="delSp modSp add del modAnim">
        <pc:chgData name="Nikita Emtsov (Stinson Communications Inc)" userId="8e13622e-4f5c-4340-8a97-1b61f98d3e80" providerId="ADAL" clId="{A58E44C6-F5B9-5894-9F33-424F549CF034}" dt="2025-08-20T17:58:44.770" v="1995" actId="2696"/>
        <pc:sldMkLst>
          <pc:docMk/>
          <pc:sldMk cId="580571515" sldId="262"/>
        </pc:sldMkLst>
      </pc:sldChg>
      <pc:sldChg chg="delSp modSp add mod ord">
        <pc:chgData name="Nikita Emtsov (Stinson Communications Inc)" userId="8e13622e-4f5c-4340-8a97-1b61f98d3e80" providerId="ADAL" clId="{A58E44C6-F5B9-5894-9F33-424F549CF034}" dt="2025-08-20T19:17:48.720" v="3956" actId="167"/>
        <pc:sldMkLst>
          <pc:docMk/>
          <pc:sldMk cId="1946561525" sldId="262"/>
        </pc:sldMkLst>
        <pc:spChg chg="mod">
          <ac:chgData name="Nikita Emtsov (Stinson Communications Inc)" userId="8e13622e-4f5c-4340-8a97-1b61f98d3e80" providerId="ADAL" clId="{A58E44C6-F5B9-5894-9F33-424F549CF034}" dt="2025-08-20T19:17:48.720" v="3956" actId="167"/>
          <ac:spMkLst>
            <pc:docMk/>
            <pc:sldMk cId="1946561525" sldId="262"/>
            <ac:spMk id="4" creationId="{748810A6-4B35-421B-4442-9593A67FE79E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48.720" v="3956" actId="167"/>
          <ac:spMkLst>
            <pc:docMk/>
            <pc:sldMk cId="1946561525" sldId="262"/>
            <ac:spMk id="7" creationId="{CBC4E8FC-1E8A-9D78-3361-5381A1A75D73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48.720" v="3956" actId="167"/>
          <ac:spMkLst>
            <pc:docMk/>
            <pc:sldMk cId="1946561525" sldId="262"/>
            <ac:spMk id="12" creationId="{3E3388B6-DE48-3535-ABE4-BF36AF119F47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48.720" v="3956" actId="167"/>
          <ac:spMkLst>
            <pc:docMk/>
            <pc:sldMk cId="1946561525" sldId="262"/>
            <ac:spMk id="14" creationId="{5E1202A1-A72B-735B-A202-A022A5009CA7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48.720" v="3956" actId="167"/>
          <ac:spMkLst>
            <pc:docMk/>
            <pc:sldMk cId="1946561525" sldId="262"/>
            <ac:spMk id="15" creationId="{795B5A81-253D-605C-F742-1D61DAD252D0}"/>
          </ac:spMkLst>
        </pc:spChg>
        <pc:grpChg chg="mod">
          <ac:chgData name="Nikita Emtsov (Stinson Communications Inc)" userId="8e13622e-4f5c-4340-8a97-1b61f98d3e80" providerId="ADAL" clId="{A58E44C6-F5B9-5894-9F33-424F549CF034}" dt="2025-08-20T19:09:19.096" v="3663" actId="962"/>
          <ac:grpSpMkLst>
            <pc:docMk/>
            <pc:sldMk cId="1946561525" sldId="262"/>
            <ac:grpSpMk id="9" creationId="{7300CED2-4004-3FC9-B0D5-8B74677802EB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9:19.096" v="3663" actId="962"/>
          <ac:grpSpMkLst>
            <pc:docMk/>
            <pc:sldMk cId="1946561525" sldId="262"/>
            <ac:grpSpMk id="18" creationId="{05BAFE08-C629-7F53-348A-E7E179ED98B2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09:19.096" v="3663" actId="962"/>
          <ac:grpSpMkLst>
            <pc:docMk/>
            <pc:sldMk cId="1946561525" sldId="262"/>
            <ac:grpSpMk id="21" creationId="{FD1EDC30-27E0-C5CC-86A1-1FAC504C8A17}"/>
          </ac:grpSpMkLst>
        </pc:grpChg>
        <pc:picChg chg="mod modCrop">
          <ac:chgData name="Nikita Emtsov (Stinson Communications Inc)" userId="8e13622e-4f5c-4340-8a97-1b61f98d3e80" providerId="ADAL" clId="{A58E44C6-F5B9-5894-9F33-424F549CF034}" dt="2025-08-20T19:17:48.720" v="3956" actId="167"/>
          <ac:picMkLst>
            <pc:docMk/>
            <pc:sldMk cId="1946561525" sldId="262"/>
            <ac:picMk id="8" creationId="{33D69F55-964C-0842-C7DD-6EFABC3F89FF}"/>
          </ac:picMkLst>
        </pc:picChg>
      </pc:sldChg>
      <pc:sldChg chg="delSp modSp add del modAnim">
        <pc:chgData name="Nikita Emtsov (Stinson Communications Inc)" userId="8e13622e-4f5c-4340-8a97-1b61f98d3e80" providerId="ADAL" clId="{A58E44C6-F5B9-5894-9F33-424F549CF034}" dt="2025-08-20T17:58:44.752" v="1992" actId="2696"/>
        <pc:sldMkLst>
          <pc:docMk/>
          <pc:sldMk cId="891059093" sldId="263"/>
        </pc:sldMkLst>
      </pc:sldChg>
      <pc:sldChg chg="modSp add mod ord">
        <pc:chgData name="Nikita Emtsov (Stinson Communications Inc)" userId="8e13622e-4f5c-4340-8a97-1b61f98d3e80" providerId="ADAL" clId="{A58E44C6-F5B9-5894-9F33-424F549CF034}" dt="2025-08-20T19:17:53.758" v="3962" actId="167"/>
        <pc:sldMkLst>
          <pc:docMk/>
          <pc:sldMk cId="1411179724" sldId="263"/>
        </pc:sldMkLst>
        <pc:spChg chg="mod">
          <ac:chgData name="Nikita Emtsov (Stinson Communications Inc)" userId="8e13622e-4f5c-4340-8a97-1b61f98d3e80" providerId="ADAL" clId="{A58E44C6-F5B9-5894-9F33-424F549CF034}" dt="2025-08-20T19:17:53.758" v="3962" actId="167"/>
          <ac:spMkLst>
            <pc:docMk/>
            <pc:sldMk cId="1411179724" sldId="263"/>
            <ac:spMk id="4" creationId="{CACB8E6E-3315-F10B-CDF0-284FD3F55B1F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53.758" v="3962" actId="167"/>
          <ac:spMkLst>
            <pc:docMk/>
            <pc:sldMk cId="1411179724" sldId="263"/>
            <ac:spMk id="7" creationId="{9FCDBFFB-45B1-3607-F71B-E5A6CE886A84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53.758" v="3962" actId="167"/>
          <ac:spMkLst>
            <pc:docMk/>
            <pc:sldMk cId="1411179724" sldId="263"/>
            <ac:spMk id="12" creationId="{72B8F973-2EA9-BCB6-ED66-A8E289C8A139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53.758" v="3962" actId="167"/>
          <ac:spMkLst>
            <pc:docMk/>
            <pc:sldMk cId="1411179724" sldId="263"/>
            <ac:spMk id="14" creationId="{75D8E81F-CFD5-05B9-8064-6E477A04631B}"/>
          </ac:spMkLst>
        </pc:spChg>
        <pc:spChg chg="mod">
          <ac:chgData name="Nikita Emtsov (Stinson Communications Inc)" userId="8e13622e-4f5c-4340-8a97-1b61f98d3e80" providerId="ADAL" clId="{A58E44C6-F5B9-5894-9F33-424F549CF034}" dt="2025-08-20T19:17:53.758" v="3962" actId="167"/>
          <ac:spMkLst>
            <pc:docMk/>
            <pc:sldMk cId="1411179724" sldId="263"/>
            <ac:spMk id="15" creationId="{BE8EE8D0-C164-D325-CAB0-4D5AF9FC6A50}"/>
          </ac:spMkLst>
        </pc:spChg>
        <pc:grpChg chg="mod">
          <ac:chgData name="Nikita Emtsov (Stinson Communications Inc)" userId="8e13622e-4f5c-4340-8a97-1b61f98d3e80" providerId="ADAL" clId="{A58E44C6-F5B9-5894-9F33-424F549CF034}" dt="2025-08-20T19:10:03.220" v="3757" actId="962"/>
          <ac:grpSpMkLst>
            <pc:docMk/>
            <pc:sldMk cId="1411179724" sldId="263"/>
            <ac:grpSpMk id="9" creationId="{A7C2E8A1-6142-C173-4791-F70323E366AC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10:03.220" v="3757" actId="962"/>
          <ac:grpSpMkLst>
            <pc:docMk/>
            <pc:sldMk cId="1411179724" sldId="263"/>
            <ac:grpSpMk id="18" creationId="{B5B4AC29-ED1B-BE2F-70EC-87FA0EA25AE1}"/>
          </ac:grpSpMkLst>
        </pc:grpChg>
        <pc:grpChg chg="mod">
          <ac:chgData name="Nikita Emtsov (Stinson Communications Inc)" userId="8e13622e-4f5c-4340-8a97-1b61f98d3e80" providerId="ADAL" clId="{A58E44C6-F5B9-5894-9F33-424F549CF034}" dt="2025-08-20T19:10:03.220" v="3757" actId="962"/>
          <ac:grpSpMkLst>
            <pc:docMk/>
            <pc:sldMk cId="1411179724" sldId="263"/>
            <ac:grpSpMk id="21" creationId="{B4C916F7-1108-28AD-EE17-834B7FC0B4AA}"/>
          </ac:grpSpMkLst>
        </pc:grpChg>
        <pc:picChg chg="mod modCrop">
          <ac:chgData name="Nikita Emtsov (Stinson Communications Inc)" userId="8e13622e-4f5c-4340-8a97-1b61f98d3e80" providerId="ADAL" clId="{A58E44C6-F5B9-5894-9F33-424F549CF034}" dt="2025-08-20T19:17:53.758" v="3962" actId="167"/>
          <ac:picMkLst>
            <pc:docMk/>
            <pc:sldMk cId="1411179724" sldId="263"/>
            <ac:picMk id="8" creationId="{4DA04986-06AD-4EE5-EB17-EF1FF5927F63}"/>
          </ac:picMkLst>
        </pc:pic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5:19:16.885" v="40" actId="14100"/>
        <pc:sldMkLst>
          <pc:docMk/>
          <pc:sldMk cId="3974984457" sldId="2147479495"/>
        </pc:sldMkLst>
        <pc:spChg chg="mod ord">
          <ac:chgData name="Nikita Emtsov (Stinson Communications Inc)" userId="8e13622e-4f5c-4340-8a97-1b61f98d3e80" providerId="ADAL" clId="{A58E44C6-F5B9-5894-9F33-424F549CF034}" dt="2025-08-20T15:19:16.885" v="40" actId="14100"/>
          <ac:spMkLst>
            <pc:docMk/>
            <pc:sldMk cId="3974984457" sldId="2147479495"/>
            <ac:spMk id="4" creationId="{00000000-0000-0000-0000-000000000000}"/>
          </ac:spMkLst>
        </pc:spChg>
        <pc:spChg chg="mod ord">
          <ac:chgData name="Nikita Emtsov (Stinson Communications Inc)" userId="8e13622e-4f5c-4340-8a97-1b61f98d3e80" providerId="ADAL" clId="{A58E44C6-F5B9-5894-9F33-424F549CF034}" dt="2025-08-20T15:18:55.630" v="37" actId="20577"/>
          <ac:spMkLst>
            <pc:docMk/>
            <pc:sldMk cId="3974984457" sldId="2147479495"/>
            <ac:spMk id="5" creationId="{00000000-0000-0000-0000-000000000000}"/>
          </ac:spMkLst>
        </pc:sp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8:58:01.542" v="2841" actId="2711"/>
        <pc:sldMkLst>
          <pc:docMk/>
          <pc:sldMk cId="1796730512" sldId="2147479523"/>
        </pc:sldMkLst>
        <pc:spChg chg="mod ord">
          <ac:chgData name="Nikita Emtsov (Stinson Communications Inc)" userId="8e13622e-4f5c-4340-8a97-1b61f98d3e80" providerId="ADAL" clId="{A58E44C6-F5B9-5894-9F33-424F549CF034}" dt="2025-08-20T18:58:01.542" v="2841" actId="2711"/>
          <ac:spMkLst>
            <pc:docMk/>
            <pc:sldMk cId="1796730512" sldId="2147479523"/>
            <ac:spMk id="3" creationId="{00000000-0000-0000-0000-000000000000}"/>
          </ac:spMkLst>
        </pc:spChg>
        <pc:spChg chg="mod ord">
          <ac:chgData name="Nikita Emtsov (Stinson Communications Inc)" userId="8e13622e-4f5c-4340-8a97-1b61f98d3e80" providerId="ADAL" clId="{A58E44C6-F5B9-5894-9F33-424F549CF034}" dt="2025-08-20T18:57:58.499" v="2840" actId="6264"/>
          <ac:spMkLst>
            <pc:docMk/>
            <pc:sldMk cId="1796730512" sldId="2147479523"/>
            <ac:spMk id="4" creationId="{00000000-0000-0000-0000-000000000000}"/>
          </ac:spMkLst>
        </pc:sp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8:28:26.849" v="2499" actId="2711"/>
        <pc:sldMkLst>
          <pc:docMk/>
          <pc:sldMk cId="3484026790" sldId="2147479524"/>
        </pc:sldMkLst>
        <pc:spChg chg="mod ord">
          <ac:chgData name="Nikita Emtsov (Stinson Communications Inc)" userId="8e13622e-4f5c-4340-8a97-1b61f98d3e80" providerId="ADAL" clId="{A58E44C6-F5B9-5894-9F33-424F549CF034}" dt="2025-08-20T18:28:26.849" v="2499" actId="2711"/>
          <ac:spMkLst>
            <pc:docMk/>
            <pc:sldMk cId="3484026790" sldId="2147479524"/>
            <ac:spMk id="2" creationId="{00000000-0000-0000-0000-000000000000}"/>
          </ac:spMkLst>
        </pc:spChg>
      </pc:sldChg>
      <pc:sldChg chg="modSp mod modClrScheme chgLayout">
        <pc:chgData name="Nikita Emtsov (Stinson Communications Inc)" userId="8e13622e-4f5c-4340-8a97-1b61f98d3e80" providerId="ADAL" clId="{A58E44C6-F5B9-5894-9F33-424F549CF034}" dt="2025-08-20T15:17:21.926" v="1" actId="700"/>
        <pc:sldMkLst>
          <pc:docMk/>
          <pc:sldMk cId="1150240675" sldId="2147479541"/>
        </pc:sldMkLst>
        <pc:spChg chg="mod ord">
          <ac:chgData name="Nikita Emtsov (Stinson Communications Inc)" userId="8e13622e-4f5c-4340-8a97-1b61f98d3e80" providerId="ADAL" clId="{A58E44C6-F5B9-5894-9F33-424F549CF034}" dt="2025-08-20T15:17:21.926" v="1" actId="700"/>
          <ac:spMkLst>
            <pc:docMk/>
            <pc:sldMk cId="1150240675" sldId="2147479541"/>
            <ac:spMk id="4" creationId="{2A810319-A1AA-7C11-749F-08396D27FD8B}"/>
          </ac:spMkLst>
        </pc:sp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8:28:38.909" v="2501" actId="2711"/>
        <pc:sldMkLst>
          <pc:docMk/>
          <pc:sldMk cId="3268515970" sldId="2147479542"/>
        </pc:sldMkLst>
        <pc:spChg chg="mod ord">
          <ac:chgData name="Nikita Emtsov (Stinson Communications Inc)" userId="8e13622e-4f5c-4340-8a97-1b61f98d3e80" providerId="ADAL" clId="{A58E44C6-F5B9-5894-9F33-424F549CF034}" dt="2025-08-20T18:28:38.909" v="2501" actId="2711"/>
          <ac:spMkLst>
            <pc:docMk/>
            <pc:sldMk cId="3268515970" sldId="2147479542"/>
            <ac:spMk id="2" creationId="{5A993602-44E8-E352-B091-31204F7D59E4}"/>
          </ac:spMkLst>
        </pc:sp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8:28:32.414" v="2500" actId="2711"/>
        <pc:sldMkLst>
          <pc:docMk/>
          <pc:sldMk cId="919518715" sldId="2147479543"/>
        </pc:sldMkLst>
        <pc:spChg chg="mod ord">
          <ac:chgData name="Nikita Emtsov (Stinson Communications Inc)" userId="8e13622e-4f5c-4340-8a97-1b61f98d3e80" providerId="ADAL" clId="{A58E44C6-F5B9-5894-9F33-424F549CF034}" dt="2025-08-20T18:28:32.414" v="2500" actId="2711"/>
          <ac:spMkLst>
            <pc:docMk/>
            <pc:sldMk cId="919518715" sldId="2147479543"/>
            <ac:spMk id="2" creationId="{88FDDCEB-87B7-967E-6623-B33E2D589C8D}"/>
          </ac:spMkLst>
        </pc:sp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9:02:42.696" v="2912" actId="33553"/>
        <pc:sldMkLst>
          <pc:docMk/>
          <pc:sldMk cId="1646715211" sldId="2147479544"/>
        </pc:sldMkLst>
        <pc:spChg chg="mod">
          <ac:chgData name="Nikita Emtsov (Stinson Communications Inc)" userId="8e13622e-4f5c-4340-8a97-1b61f98d3e80" providerId="ADAL" clId="{A58E44C6-F5B9-5894-9F33-424F549CF034}" dt="2025-08-20T19:02:42.696" v="2912" actId="33553"/>
          <ac:spMkLst>
            <pc:docMk/>
            <pc:sldMk cId="1646715211" sldId="2147479544"/>
            <ac:spMk id="2" creationId="{5F5C6EF4-72CB-A19B-AC05-F7774DA0014A}"/>
          </ac:spMkLst>
        </pc:spChg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09:56.003" v="3756" actId="962"/>
        <pc:sldMkLst>
          <pc:docMk/>
          <pc:sldMk cId="3423211025" sldId="2147482387"/>
        </pc:sldMkLst>
        <pc:spChg chg="mod">
          <ac:chgData name="Nikita Emtsov (Stinson Communications Inc)" userId="8e13622e-4f5c-4340-8a97-1b61f98d3e80" providerId="ADAL" clId="{A58E44C6-F5B9-5894-9F33-424F549CF034}" dt="2025-08-20T19:09:56.003" v="3756" actId="962"/>
          <ac:spMkLst>
            <pc:docMk/>
            <pc:sldMk cId="3423211025" sldId="2147482387"/>
            <ac:spMk id="7" creationId="{FC4A48EA-0B95-941D-FF38-E70DEC7843FD}"/>
          </ac:spMkLst>
        </pc:spChg>
        <pc:spChg chg="mod">
          <ac:chgData name="Nikita Emtsov (Stinson Communications Inc)" userId="8e13622e-4f5c-4340-8a97-1b61f98d3e80" providerId="ADAL" clId="{A58E44C6-F5B9-5894-9F33-424F549CF034}" dt="2025-08-20T19:09:56.003" v="3756" actId="962"/>
          <ac:spMkLst>
            <pc:docMk/>
            <pc:sldMk cId="3423211025" sldId="2147482387"/>
            <ac:spMk id="8" creationId="{0CDB4563-8223-FF16-24BA-6A8F95FB35BC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37:55.275" v="2608" actId="122"/>
          <ac:spMkLst>
            <pc:docMk/>
            <pc:sldMk cId="3423211025" sldId="2147482387"/>
            <ac:spMk id="11" creationId="{5540A5BA-7964-5490-2EF2-3546E72F39B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9:56.003" v="3756" actId="962"/>
          <ac:spMkLst>
            <pc:docMk/>
            <pc:sldMk cId="3423211025" sldId="2147482387"/>
            <ac:spMk id="19" creationId="{C46A121F-EF0D-F0C8-F762-ACFBD3E3568E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9:56.003" v="3756" actId="962"/>
          <ac:spMkLst>
            <pc:docMk/>
            <pc:sldMk cId="3423211025" sldId="2147482387"/>
            <ac:spMk id="20" creationId="{F40A6D0F-08A1-EB06-68E9-FD4CFDFF5D47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55:01.684" v="2791"/>
          <ac:spMkLst>
            <pc:docMk/>
            <pc:sldMk cId="3423211025" sldId="2147482387"/>
            <ac:spMk id="21" creationId="{F35D437A-5047-24BD-5D0A-001CE7356803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55:03.229" v="2792"/>
          <ac:spMkLst>
            <pc:docMk/>
            <pc:sldMk cId="3423211025" sldId="2147482387"/>
            <ac:spMk id="22" creationId="{B17025E0-D50B-6B6B-88E9-2EB0D269F24E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55:05.449" v="2793"/>
          <ac:spMkLst>
            <pc:docMk/>
            <pc:sldMk cId="3423211025" sldId="2147482387"/>
            <ac:spMk id="23" creationId="{4E5F03EA-DB20-DBDA-4392-6FED86F94C80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55:06.650" v="2794"/>
          <ac:spMkLst>
            <pc:docMk/>
            <pc:sldMk cId="3423211025" sldId="2147482387"/>
            <ac:spMk id="24" creationId="{E4F71270-F789-ECD8-7B1E-C8255B5CBA5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53:25.113" v="2773" actId="692"/>
          <ac:spMkLst>
            <pc:docMk/>
            <pc:sldMk cId="3423211025" sldId="2147482387"/>
            <ac:spMk id="26" creationId="{6DEF9406-D097-4E6C-A3C1-E6848AC22E3A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53:25.113" v="2773" actId="692"/>
          <ac:spMkLst>
            <pc:docMk/>
            <pc:sldMk cId="3423211025" sldId="2147482387"/>
            <ac:spMk id="29" creationId="{62B239B6-7146-4959-D46D-E810CDEAF49F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53:25.113" v="2773" actId="692"/>
          <ac:spMkLst>
            <pc:docMk/>
            <pc:sldMk cId="3423211025" sldId="2147482387"/>
            <ac:spMk id="30" creationId="{49D077CC-478E-7C24-F884-654D620938CA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53:25.113" v="2773" actId="692"/>
          <ac:spMkLst>
            <pc:docMk/>
            <pc:sldMk cId="3423211025" sldId="2147482387"/>
            <ac:spMk id="31" creationId="{D2CC5BA8-8800-90CB-1400-40C84F6F93B8}"/>
          </ac:spMkLst>
        </pc:spChg>
        <pc:picChg chg="add mod">
          <ac:chgData name="Nikita Emtsov (Stinson Communications Inc)" userId="8e13622e-4f5c-4340-8a97-1b61f98d3e80" providerId="ADAL" clId="{A58E44C6-F5B9-5894-9F33-424F549CF034}" dt="2025-08-20T18:46:50.778" v="2719" actId="29295"/>
          <ac:picMkLst>
            <pc:docMk/>
            <pc:sldMk cId="3423211025" sldId="2147482387"/>
            <ac:picMk id="13" creationId="{6382542C-ACEA-B364-BEDB-6B2E7ED96D8D}"/>
          </ac:picMkLst>
        </pc:picChg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16:06.024" v="3892" actId="962"/>
        <pc:sldMkLst>
          <pc:docMk/>
          <pc:sldMk cId="1670976461" sldId="2147482414"/>
        </pc:sldMkLst>
        <pc:spChg chg="add mod topLvl">
          <ac:chgData name="Nikita Emtsov (Stinson Communications Inc)" userId="8e13622e-4f5c-4340-8a97-1b61f98d3e80" providerId="ADAL" clId="{A58E44C6-F5B9-5894-9F33-424F549CF034}" dt="2025-08-20T19:16:06.024" v="3892" actId="962"/>
          <ac:spMkLst>
            <pc:docMk/>
            <pc:sldMk cId="1670976461" sldId="2147482414"/>
            <ac:spMk id="3" creationId="{4D235B19-F514-D67A-9BF8-A10F9B703959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1:15.608" v="2850" actId="33553"/>
          <ac:spMkLst>
            <pc:docMk/>
            <pc:sldMk cId="1670976461" sldId="2147482414"/>
            <ac:spMk id="5" creationId="{A4866663-3821-B7AF-ABCB-8B63E7235F46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6:18:56.384" v="1054" actId="1076"/>
          <ac:spMkLst>
            <pc:docMk/>
            <pc:sldMk cId="1670976461" sldId="2147482414"/>
            <ac:spMk id="7" creationId="{4929CE4E-054C-B319-9C02-6B521D540CC2}"/>
          </ac:spMkLst>
        </pc:spChg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19:58.949" v="3968" actId="962"/>
        <pc:sldMkLst>
          <pc:docMk/>
          <pc:sldMk cId="1304259571" sldId="2147482415"/>
        </pc:sldMkLst>
        <pc:spChg chg="add mod ord">
          <ac:chgData name="Nikita Emtsov (Stinson Communications Inc)" userId="8e13622e-4f5c-4340-8a97-1b61f98d3e80" providerId="ADAL" clId="{A58E44C6-F5B9-5894-9F33-424F549CF034}" dt="2025-08-20T19:15:46.631" v="3887" actId="167"/>
          <ac:spMkLst>
            <pc:docMk/>
            <pc:sldMk cId="1304259571" sldId="2147482415"/>
            <ac:spMk id="7" creationId="{B0F18CFD-1FA6-4DF5-57E8-560113CF799B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1:42.089" v="1079" actId="2711"/>
          <ac:spMkLst>
            <pc:docMk/>
            <pc:sldMk cId="1304259571" sldId="2147482415"/>
            <ac:spMk id="11" creationId="{0137FEDC-7EB2-2371-FEC2-A717EBDA3A24}"/>
          </ac:spMkLst>
        </pc:spChg>
        <pc:spChg chg="mod">
          <ac:chgData name="Nikita Emtsov (Stinson Communications Inc)" userId="8e13622e-4f5c-4340-8a97-1b61f98d3e80" providerId="ADAL" clId="{A58E44C6-F5B9-5894-9F33-424F549CF034}" dt="2025-08-20T16:21:32.150" v="1078" actId="108"/>
          <ac:spMkLst>
            <pc:docMk/>
            <pc:sldMk cId="1304259571" sldId="2147482415"/>
            <ac:spMk id="12" creationId="{CEC00B41-13F1-02C7-3F14-F38715EC9E2D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3:23.649" v="1107" actId="1035"/>
          <ac:spMkLst>
            <pc:docMk/>
            <pc:sldMk cId="1304259571" sldId="2147482415"/>
            <ac:spMk id="13" creationId="{BCFE794D-F0FB-DE4C-06FD-0290082167D5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3:23.649" v="1107" actId="1035"/>
          <ac:spMkLst>
            <pc:docMk/>
            <pc:sldMk cId="1304259571" sldId="2147482415"/>
            <ac:spMk id="15" creationId="{D56B4FAA-57AE-757B-98F6-BE4B8CF2597A}"/>
          </ac:spMkLst>
        </pc:spChg>
        <pc:spChg chg="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17" creationId="{2D9539A5-DAD5-7910-30BC-AD0DAA89BF89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3:23.649" v="1107" actId="1035"/>
          <ac:spMkLst>
            <pc:docMk/>
            <pc:sldMk cId="1304259571" sldId="2147482415"/>
            <ac:spMk id="18" creationId="{E7B6BB87-934F-7E8A-2854-BE59C6653717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3:23.649" v="1107" actId="1035"/>
          <ac:spMkLst>
            <pc:docMk/>
            <pc:sldMk cId="1304259571" sldId="2147482415"/>
            <ac:spMk id="19" creationId="{9689DD24-8786-A26C-4953-4FEA5B2B911A}"/>
          </ac:spMkLst>
        </pc:spChg>
        <pc:spChg chg="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21" creationId="{6ACA7438-E1F1-707A-E324-92268F4B51E0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22" creationId="{68720399-1877-F265-9B72-9D14AEE0645D}"/>
          </ac:spMkLst>
        </pc:spChg>
        <pc:spChg chg="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27" creationId="{0E95CDDA-DE56-8273-491E-141784AD17A0}"/>
          </ac:spMkLst>
        </pc:spChg>
        <pc:spChg chg="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29" creationId="{372AF1B8-7B81-79EC-D44E-227C970C5B8C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0:57.800" v="1074" actId="408"/>
          <ac:spMkLst>
            <pc:docMk/>
            <pc:sldMk cId="1304259571" sldId="2147482415"/>
            <ac:spMk id="30" creationId="{A941D3DE-E116-FBB4-C27D-DFA1052020DE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3:23.649" v="1107" actId="1035"/>
          <ac:spMkLst>
            <pc:docMk/>
            <pc:sldMk cId="1304259571" sldId="2147482415"/>
            <ac:spMk id="31" creationId="{F2464634-B712-6EC1-CB7D-1C7159F80711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33" creationId="{656FBBD5-14EA-7F92-5459-A62C62D88C9A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3:23.649" v="1107" actId="1035"/>
          <ac:spMkLst>
            <pc:docMk/>
            <pc:sldMk cId="1304259571" sldId="2147482415"/>
            <ac:spMk id="35" creationId="{81121B81-1365-7A0A-1BEA-FB39A17DA1F1}"/>
          </ac:spMkLst>
        </pc:spChg>
        <pc:spChg chg="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36" creationId="{9E887181-8B5E-1211-9E56-5EFC93A4061E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6:20:57.800" v="1074" actId="408"/>
          <ac:spMkLst>
            <pc:docMk/>
            <pc:sldMk cId="1304259571" sldId="2147482415"/>
            <ac:spMk id="37" creationId="{DD83EFE4-7E24-C18C-4BEC-E6133617BAFA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6:21:32.150" v="1078" actId="108"/>
          <ac:spMkLst>
            <pc:docMk/>
            <pc:sldMk cId="1304259571" sldId="2147482415"/>
            <ac:spMk id="41" creationId="{46667792-8A2C-CD27-F6DA-9322AAAB1A28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6:23:05.969" v="1102" actId="552"/>
          <ac:spMkLst>
            <pc:docMk/>
            <pc:sldMk cId="1304259571" sldId="2147482415"/>
            <ac:spMk id="44" creationId="{D807657F-69B6-34EF-5B38-CAF2D0BE9ABE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45" creationId="{656DA318-E8DA-28AF-C913-F4623BA35D2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47" creationId="{EF1E159F-5C96-E2AF-15F3-3F26FB3B6ED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9:58.949" v="3968" actId="962"/>
          <ac:spMkLst>
            <pc:docMk/>
            <pc:sldMk cId="1304259571" sldId="2147482415"/>
            <ac:spMk id="54" creationId="{CA9A3971-F0DC-6AF9-1F44-3B98E89C9782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5:46.631" v="3887" actId="167"/>
          <ac:spMkLst>
            <pc:docMk/>
            <pc:sldMk cId="1304259571" sldId="2147482415"/>
            <ac:spMk id="76" creationId="{64523E34-1291-434A-75EF-7FB616682113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5:46.631" v="3887" actId="167"/>
          <ac:spMkLst>
            <pc:docMk/>
            <pc:sldMk cId="1304259571" sldId="2147482415"/>
            <ac:spMk id="77" creationId="{C88F3377-B69F-9675-DBEC-288D7FE430C4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5:46.631" v="3887" actId="167"/>
          <ac:spMkLst>
            <pc:docMk/>
            <pc:sldMk cId="1304259571" sldId="2147482415"/>
            <ac:spMk id="79" creationId="{3200C969-4083-849F-54C2-64C6D5CCB0A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5:46.631" v="3887" actId="167"/>
          <ac:spMkLst>
            <pc:docMk/>
            <pc:sldMk cId="1304259571" sldId="2147482415"/>
            <ac:spMk id="81" creationId="{DACB1158-6C98-36D6-BFC1-BA072DFF2D5B}"/>
          </ac:spMkLst>
        </pc:spChg>
        <pc:grpChg chg="add mod">
          <ac:chgData name="Nikita Emtsov (Stinson Communications Inc)" userId="8e13622e-4f5c-4340-8a97-1b61f98d3e80" providerId="ADAL" clId="{A58E44C6-F5B9-5894-9F33-424F549CF034}" dt="2025-08-20T19:15:46.631" v="3887" actId="167"/>
          <ac:grpSpMkLst>
            <pc:docMk/>
            <pc:sldMk cId="1304259571" sldId="2147482415"/>
            <ac:grpSpMk id="2" creationId="{4171629C-3045-2712-65C2-AA74C2BD6102}"/>
          </ac:grpSpMkLst>
        </pc:grp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9:20:59.166" v="4205" actId="962"/>
        <pc:sldMkLst>
          <pc:docMk/>
          <pc:sldMk cId="3989037858" sldId="2147482418"/>
        </pc:sldMkLst>
        <pc:spChg chg="add mod ord">
          <ac:chgData name="Nikita Emtsov (Stinson Communications Inc)" userId="8e13622e-4f5c-4340-8a97-1b61f98d3e80" providerId="ADAL" clId="{A58E44C6-F5B9-5894-9F33-424F549CF034}" dt="2025-08-20T16:31:52.404" v="1204"/>
          <ac:spMkLst>
            <pc:docMk/>
            <pc:sldMk cId="3989037858" sldId="2147482418"/>
            <ac:spMk id="6" creationId="{C41FE46F-1265-6837-FF9B-54467D1C23A0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6:32:09.290" v="1208" actId="1076"/>
          <ac:spMkLst>
            <pc:docMk/>
            <pc:sldMk cId="3989037858" sldId="2147482418"/>
            <ac:spMk id="7" creationId="{1725C811-9CC4-AFB0-1386-5B3971C8FFAE}"/>
          </ac:spMkLst>
        </pc:spChg>
        <pc:picChg chg="add mod">
          <ac:chgData name="Nikita Emtsov (Stinson Communications Inc)" userId="8e13622e-4f5c-4340-8a97-1b61f98d3e80" providerId="ADAL" clId="{A58E44C6-F5B9-5894-9F33-424F549CF034}" dt="2025-08-20T19:20:59.166" v="4205" actId="962"/>
          <ac:picMkLst>
            <pc:docMk/>
            <pc:sldMk cId="3989037858" sldId="2147482418"/>
            <ac:picMk id="8" creationId="{C5A6A9A3-F98C-3675-87C2-3AE0155AAAA6}"/>
          </ac:picMkLst>
        </pc:picChg>
      </pc:sldChg>
      <pc:sldChg chg="del mod modShow">
        <pc:chgData name="Nikita Emtsov (Stinson Communications Inc)" userId="8e13622e-4f5c-4340-8a97-1b61f98d3e80" providerId="ADAL" clId="{A58E44C6-F5B9-5894-9F33-424F549CF034}" dt="2025-08-20T17:20:11.472" v="1403" actId="2696"/>
        <pc:sldMkLst>
          <pc:docMk/>
          <pc:sldMk cId="1240275874" sldId="2147482423"/>
        </pc:sldMkLst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16:38.217" v="3915" actId="167"/>
        <pc:sldMkLst>
          <pc:docMk/>
          <pc:sldMk cId="4224854078" sldId="2147482425"/>
        </pc:sldMkLst>
        <pc:spChg chg="add mod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11" creationId="{0F2FFA3F-F2D4-CAC6-0593-5FF25CBC22C5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6:33.281" v="3909" actId="167"/>
          <ac:spMkLst>
            <pc:docMk/>
            <pc:sldMk cId="4224854078" sldId="2147482425"/>
            <ac:spMk id="12" creationId="{3E695731-A1DA-523C-1B78-3A36A4604830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13" creationId="{B0DD8248-0ACE-1C45-54A0-22FB2A4F0DB9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14" creationId="{61422660-4316-F61C-7D67-98968558E53A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17" creationId="{392F7668-C40A-6574-6A1F-39A468E4564B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18" creationId="{BC3ECD7A-474F-0234-B610-3FFF223E878F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6:35.921" v="3912" actId="167"/>
          <ac:spMkLst>
            <pc:docMk/>
            <pc:sldMk cId="4224854078" sldId="2147482425"/>
            <ac:spMk id="20" creationId="{C4356F52-09B6-012B-6F9A-08BC6429569B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21" creationId="{D155CBBF-34E6-ABC4-1B59-3E89A39FBC10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7:27:43.089" v="1538" actId="1076"/>
          <ac:spMkLst>
            <pc:docMk/>
            <pc:sldMk cId="4224854078" sldId="2147482425"/>
            <ac:spMk id="23" creationId="{411E0EE8-1366-039B-A00F-437F82A18301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24" creationId="{B14E23B7-8A08-E895-F76D-E3D460C7BEA9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7:24:59.288" v="1491" actId="12789"/>
          <ac:spMkLst>
            <pc:docMk/>
            <pc:sldMk cId="4224854078" sldId="2147482425"/>
            <ac:spMk id="26" creationId="{9622E206-B854-5A50-0891-71DCA8A88C73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7:24:19.720" v="1471" actId="14100"/>
          <ac:spMkLst>
            <pc:docMk/>
            <pc:sldMk cId="4224854078" sldId="2147482425"/>
            <ac:spMk id="27" creationId="{CAF21463-5F37-1A55-DFDB-6384FAE4FC3F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6:30.971" v="3907" actId="167"/>
          <ac:spMkLst>
            <pc:docMk/>
            <pc:sldMk cId="4224854078" sldId="2147482425"/>
            <ac:spMk id="29" creationId="{A07E71BC-A7C3-D9C2-C122-3E6B4C0B05CC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30" creationId="{4CC7DBFF-7842-CC0D-72F7-50B8A912555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6:34.631" v="3911" actId="167"/>
          <ac:spMkLst>
            <pc:docMk/>
            <pc:sldMk cId="4224854078" sldId="2147482425"/>
            <ac:spMk id="31" creationId="{A58A856D-8DED-F522-FB2A-AF33069D459E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32" creationId="{8788425B-825A-FC41-C7F7-763041A35B87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7:25:12.241" v="1498" actId="20577"/>
          <ac:spMkLst>
            <pc:docMk/>
            <pc:sldMk cId="4224854078" sldId="2147482425"/>
            <ac:spMk id="33" creationId="{A7A6DBBF-D94D-82EE-E85B-A6CB56C5B959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6:32.328" v="3908" actId="167"/>
          <ac:spMkLst>
            <pc:docMk/>
            <pc:sldMk cId="4224854078" sldId="2147482425"/>
            <ac:spMk id="34" creationId="{54CE7DC4-57C4-FD2F-AF93-AF617426E2C1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27:43.089" v="1538" actId="1076"/>
          <ac:spMkLst>
            <pc:docMk/>
            <pc:sldMk cId="4224854078" sldId="2147482425"/>
            <ac:spMk id="35" creationId="{4FA19A3B-FF6E-93CC-9A43-2C9FA2ABDD4A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6:38.217" v="3915" actId="167"/>
          <ac:spMkLst>
            <pc:docMk/>
            <pc:sldMk cId="4224854078" sldId="2147482425"/>
            <ac:spMk id="36" creationId="{C74FF97F-FFBD-6B4D-12E3-191FB4D3C806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7:45.552" v="3600" actId="962"/>
          <ac:spMkLst>
            <pc:docMk/>
            <pc:sldMk cId="4224854078" sldId="2147482425"/>
            <ac:spMk id="37" creationId="{38DF7845-AA01-2613-041E-63D0DA240D09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7:29:28.542" v="1559" actId="20577"/>
          <ac:spMkLst>
            <pc:docMk/>
            <pc:sldMk cId="4224854078" sldId="2147482425"/>
            <ac:spMk id="39" creationId="{A9D169B1-E41E-D023-3006-18D606237A7C}"/>
          </ac:spMkLst>
        </pc:spChg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19:36.088" v="3967" actId="962"/>
        <pc:sldMkLst>
          <pc:docMk/>
          <pc:sldMk cId="3287539430" sldId="2147482428"/>
        </pc:sldMkLst>
        <pc:spChg chg="add mod ord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8" creationId="{3F6E7852-6D7A-FA94-BA25-2AD6506079C8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14" creationId="{CE5FB4BD-32FF-5D20-CDD1-99661A6FDD7F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2:47.614" v="3828" actId="167"/>
          <ac:spMkLst>
            <pc:docMk/>
            <pc:sldMk cId="3287539430" sldId="2147482428"/>
            <ac:spMk id="15" creationId="{0380CF10-85C9-7789-FB47-AA0C339FD91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18" creationId="{2E97AB4C-9F63-9DFB-523D-95B5D32D0DCE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19" creationId="{49262B24-2675-7423-EABB-0DC22622F202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2:48.446" v="3829" actId="167"/>
          <ac:spMkLst>
            <pc:docMk/>
            <pc:sldMk cId="3287539430" sldId="2147482428"/>
            <ac:spMk id="40" creationId="{A64808AE-5C36-68D4-C40C-58DAA82BBD79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42" creationId="{7638713C-3C19-2165-EA65-2EA2796FBF43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43" creationId="{6ED4355F-2F03-A52D-9CEA-D01485DB2391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44" creationId="{9FBCFA10-D92D-97C9-3E41-A3C49DE327E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51" creationId="{6A8956E5-D648-B31C-8E62-653FD7FD9ED4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53" creationId="{C6812586-9FBE-EC30-7204-54E67A278482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49.725" v="3831" actId="167"/>
          <ac:spMkLst>
            <pc:docMk/>
            <pc:sldMk cId="3287539430" sldId="2147482428"/>
            <ac:spMk id="54" creationId="{C96E70B8-85A2-E64B-AAE0-0935E10B86E0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2:50.560" v="3832" actId="167"/>
          <ac:spMkLst>
            <pc:docMk/>
            <pc:sldMk cId="3287539430" sldId="2147482428"/>
            <ac:spMk id="55" creationId="{0C145479-2D39-F75D-E38D-777F8195DD18}"/>
          </ac:spMkLst>
        </pc:spChg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15:25.461" v="3874" actId="167"/>
        <pc:sldMkLst>
          <pc:docMk/>
          <pc:sldMk cId="2631811471" sldId="2147482452"/>
        </pc:sldMkLst>
        <pc:spChg chg="add mod">
          <ac:chgData name="Nikita Emtsov (Stinson Communications Inc)" userId="8e13622e-4f5c-4340-8a97-1b61f98d3e80" providerId="ADAL" clId="{A58E44C6-F5B9-5894-9F33-424F549CF034}" dt="2025-08-20T19:15:25.461" v="3874" actId="167"/>
          <ac:spMkLst>
            <pc:docMk/>
            <pc:sldMk cId="2631811471" sldId="2147482452"/>
            <ac:spMk id="2" creationId="{05D90822-4283-9C35-DC2C-FF79EA4D9E6C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3:27.361" v="3841" actId="167"/>
          <ac:spMkLst>
            <pc:docMk/>
            <pc:sldMk cId="2631811471" sldId="2147482452"/>
            <ac:spMk id="3" creationId="{DE79B0A6-1662-EAB5-39BE-77D355F2A950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3:27.361" v="3841" actId="167"/>
          <ac:spMkLst>
            <pc:docMk/>
            <pc:sldMk cId="2631811471" sldId="2147482452"/>
            <ac:spMk id="4" creationId="{74ADC4C3-BA1B-4E08-B29E-397002C3E182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3:27.361" v="3841" actId="167"/>
          <ac:spMkLst>
            <pc:docMk/>
            <pc:sldMk cId="2631811471" sldId="2147482452"/>
            <ac:spMk id="6" creationId="{DC0B840E-7D9F-8468-8144-726AA016D8A0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5:10.627" v="3871" actId="33553"/>
          <ac:spMkLst>
            <pc:docMk/>
            <pc:sldMk cId="2631811471" sldId="2147482452"/>
            <ac:spMk id="11" creationId="{46143519-BEA0-8A49-60FF-0AAE864EE085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06:06.403" v="3379" actId="962"/>
          <ac:spMkLst>
            <pc:docMk/>
            <pc:sldMk cId="2631811471" sldId="2147482452"/>
            <ac:spMk id="16" creationId="{8D7EF8F6-31E2-3932-47BF-D7BEECCD0370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06:06.403" v="3379" actId="962"/>
          <ac:spMkLst>
            <pc:docMk/>
            <pc:sldMk cId="2631811471" sldId="2147482452"/>
            <ac:spMk id="17" creationId="{287B3483-9E49-825E-22F3-8557D351D930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06:06.403" v="3379" actId="962"/>
          <ac:spMkLst>
            <pc:docMk/>
            <pc:sldMk cId="2631811471" sldId="2147482452"/>
            <ac:spMk id="18" creationId="{44D5AA5B-4001-A61D-DD4D-F35442FE9D76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06:06.403" v="3379" actId="962"/>
          <ac:spMkLst>
            <pc:docMk/>
            <pc:sldMk cId="2631811471" sldId="2147482452"/>
            <ac:spMk id="21" creationId="{7136E84C-C8EA-F6F7-3147-7B054D99A840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06:06.403" v="3379" actId="962"/>
          <ac:spMkLst>
            <pc:docMk/>
            <pc:sldMk cId="2631811471" sldId="2147482452"/>
            <ac:spMk id="22" creationId="{AE18F7F3-351C-FDD1-872D-D88D6D487A9D}"/>
          </ac:spMkLst>
        </pc:spChg>
        <pc:spChg chg="mod topLvl">
          <ac:chgData name="Nikita Emtsov (Stinson Communications Inc)" userId="8e13622e-4f5c-4340-8a97-1b61f98d3e80" providerId="ADAL" clId="{A58E44C6-F5B9-5894-9F33-424F549CF034}" dt="2025-08-20T19:06:06.403" v="3379" actId="962"/>
          <ac:spMkLst>
            <pc:docMk/>
            <pc:sldMk cId="2631811471" sldId="2147482452"/>
            <ac:spMk id="23" creationId="{0F777D4D-DB5D-1A25-1409-64D4B3BE115F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6:06.403" v="3379" actId="962"/>
          <ac:spMkLst>
            <pc:docMk/>
            <pc:sldMk cId="2631811471" sldId="2147482452"/>
            <ac:spMk id="78" creationId="{696F41B2-703E-7C0A-37B0-2861248BFB05}"/>
          </ac:spMkLst>
        </pc:spChg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15:52.498" v="3888" actId="167"/>
        <pc:sldMkLst>
          <pc:docMk/>
          <pc:sldMk cId="184097499" sldId="2147482453"/>
        </pc:sldMkLst>
        <pc:spChg chg="add mod">
          <ac:chgData name="Nikita Emtsov (Stinson Communications Inc)" userId="8e13622e-4f5c-4340-8a97-1b61f98d3e80" providerId="ADAL" clId="{A58E44C6-F5B9-5894-9F33-424F549CF034}" dt="2025-08-20T19:15:52.498" v="3888" actId="167"/>
          <ac:spMkLst>
            <pc:docMk/>
            <pc:sldMk cId="184097499" sldId="2147482453"/>
            <ac:spMk id="2" creationId="{1A469944-F9E4-7747-2615-5F9F146C3544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3:08.592" v="2915" actId="33553"/>
          <ac:spMkLst>
            <pc:docMk/>
            <pc:sldMk cId="184097499" sldId="2147482453"/>
            <ac:spMk id="6" creationId="{1286363D-5986-E082-4BD7-5015C101B262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11" creationId="{B5D075E8-24F6-C081-6E3C-637645E3628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12" creationId="{0839FFFA-E9D6-7708-6934-08B54819733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13" creationId="{77D36877-A4D2-C737-3785-71CC6ACC0D16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15" creationId="{143DD7C1-1DCF-2C17-4FD3-175D8AB4F481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6:28:19.425" v="1174"/>
          <ac:spMkLst>
            <pc:docMk/>
            <pc:sldMk cId="184097499" sldId="2147482453"/>
            <ac:spMk id="16" creationId="{6FF8F230-AA88-4E14-CFD9-3BE681907EAE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5:16.589" v="3872" actId="33553"/>
          <ac:spMkLst>
            <pc:docMk/>
            <pc:sldMk cId="184097499" sldId="2147482453"/>
            <ac:spMk id="17" creationId="{4FD5B992-574E-2DBB-F936-461228621659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18" creationId="{B42C660B-2B4F-E783-29F8-9CDF3517284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19" creationId="{F6321BB4-B06B-1596-2370-D667DEA6EE24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21" creationId="{5B373D8C-8CC0-D2B6-374C-FE654A734AE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22" creationId="{6118A691-5501-8774-5956-996D00E9B89E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07:24.127" v="3597" actId="962"/>
          <ac:spMkLst>
            <pc:docMk/>
            <pc:sldMk cId="184097499" sldId="2147482453"/>
            <ac:spMk id="23" creationId="{915616AB-BBDC-5749-07A9-B986611DF45A}"/>
          </ac:spMkLst>
        </pc:spChg>
      </pc:sldChg>
      <pc:sldChg chg="del">
        <pc:chgData name="Nikita Emtsov (Stinson Communications Inc)" userId="8e13622e-4f5c-4340-8a97-1b61f98d3e80" providerId="ADAL" clId="{A58E44C6-F5B9-5894-9F33-424F549CF034}" dt="2025-08-20T17:16:06.614" v="1356" actId="2696"/>
        <pc:sldMkLst>
          <pc:docMk/>
          <pc:sldMk cId="1882090872" sldId="2147482454"/>
        </pc:sldMkLst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27:34.488" v="4391" actId="478"/>
        <pc:sldMkLst>
          <pc:docMk/>
          <pc:sldMk cId="1324689201" sldId="2147482455"/>
        </pc:sldMkLst>
        <pc:spChg chg="add mod ord">
          <ac:chgData name="Nikita Emtsov (Stinson Communications Inc)" userId="8e13622e-4f5c-4340-8a97-1b61f98d3e80" providerId="ADAL" clId="{A58E44C6-F5B9-5894-9F33-424F549CF034}" dt="2025-08-20T17:14:39.523" v="1334" actId="552"/>
          <ac:spMkLst>
            <pc:docMk/>
            <pc:sldMk cId="1324689201" sldId="2147482455"/>
            <ac:spMk id="19" creationId="{373B5584-2AB6-80B5-C16C-4BC75B0E9CF8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7:30.109" v="3598" actId="962"/>
          <ac:spMkLst>
            <pc:docMk/>
            <pc:sldMk cId="1324689201" sldId="2147482455"/>
            <ac:spMk id="21" creationId="{4E469EE0-AFCB-1091-F297-BAB122041107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12:31.947" v="1315" actId="165"/>
          <ac:spMkLst>
            <pc:docMk/>
            <pc:sldMk cId="1324689201" sldId="2147482455"/>
            <ac:spMk id="23" creationId="{7FA73AA2-DD29-60C0-B4F4-10F02E8CB784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12:33.530" v="1316" actId="165"/>
          <ac:spMkLst>
            <pc:docMk/>
            <pc:sldMk cId="1324689201" sldId="2147482455"/>
            <ac:spMk id="24" creationId="{E7CE69A0-96A6-DA6C-62D1-3C9D16613454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12:33.530" v="1316" actId="165"/>
          <ac:spMkLst>
            <pc:docMk/>
            <pc:sldMk cId="1324689201" sldId="2147482455"/>
            <ac:spMk id="25" creationId="{F99F5534-EC77-5ECC-B9B9-EF9DE86A39E8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12:33.530" v="1316" actId="165"/>
          <ac:spMkLst>
            <pc:docMk/>
            <pc:sldMk cId="1324689201" sldId="2147482455"/>
            <ac:spMk id="27" creationId="{56805960-BBE8-D267-46DA-76DB240F0814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12:33.530" v="1316" actId="165"/>
          <ac:spMkLst>
            <pc:docMk/>
            <pc:sldMk cId="1324689201" sldId="2147482455"/>
            <ac:spMk id="28" creationId="{FD430724-B569-26FA-BC16-C30DE5022A40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12:33.530" v="1316" actId="165"/>
          <ac:spMkLst>
            <pc:docMk/>
            <pc:sldMk cId="1324689201" sldId="2147482455"/>
            <ac:spMk id="29" creationId="{6C309938-D56B-71A1-FD76-B884DE4D7316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7:12:33.530" v="1316" actId="165"/>
          <ac:spMkLst>
            <pc:docMk/>
            <pc:sldMk cId="1324689201" sldId="2147482455"/>
            <ac:spMk id="30" creationId="{D501D886-D338-A6C6-6E49-5C002FC699F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7:15:24.275" v="1348" actId="207"/>
          <ac:spMkLst>
            <pc:docMk/>
            <pc:sldMk cId="1324689201" sldId="2147482455"/>
            <ac:spMk id="41" creationId="{B1223E03-CDEE-0609-ECE9-EA7D24688162}"/>
          </ac:spMkLst>
        </pc:spChg>
        <pc:cxnChg chg="add mod topLvl">
          <ac:chgData name="Nikita Emtsov (Stinson Communications Inc)" userId="8e13622e-4f5c-4340-8a97-1b61f98d3e80" providerId="ADAL" clId="{A58E44C6-F5B9-5894-9F33-424F549CF034}" dt="2025-08-20T19:07:30.109" v="3598" actId="962"/>
          <ac:cxnSpMkLst>
            <pc:docMk/>
            <pc:sldMk cId="1324689201" sldId="2147482455"/>
            <ac:cxnSpMk id="33" creationId="{4D292369-FAD2-3488-E18B-C74C914A95BF}"/>
          </ac:cxnSpMkLst>
        </pc:cxnChg>
        <pc:cxnChg chg="add mod topLvl">
          <ac:chgData name="Nikita Emtsov (Stinson Communications Inc)" userId="8e13622e-4f5c-4340-8a97-1b61f98d3e80" providerId="ADAL" clId="{A58E44C6-F5B9-5894-9F33-424F549CF034}" dt="2025-08-20T19:07:30.109" v="3598" actId="962"/>
          <ac:cxnSpMkLst>
            <pc:docMk/>
            <pc:sldMk cId="1324689201" sldId="2147482455"/>
            <ac:cxnSpMk id="36" creationId="{B7A72578-6D5B-26B6-B7D2-E9007CFA1402}"/>
          </ac:cxnSpMkLst>
        </pc:cxnChg>
      </pc:sldChg>
      <pc:sldChg chg="addSp delSp modSp del mod modClrScheme delAnim modAnim chgLayout">
        <pc:chgData name="Nikita Emtsov (Stinson Communications Inc)" userId="8e13622e-4f5c-4340-8a97-1b61f98d3e80" providerId="ADAL" clId="{A58E44C6-F5B9-5894-9F33-424F549CF034}" dt="2025-08-20T17:58:44.764" v="1994" actId="2696"/>
        <pc:sldMkLst>
          <pc:docMk/>
          <pc:sldMk cId="708752407" sldId="2147482462"/>
        </pc:sldMkLst>
      </pc:sldChg>
      <pc:sldChg chg="del">
        <pc:chgData name="Nikita Emtsov (Stinson Communications Inc)" userId="8e13622e-4f5c-4340-8a97-1b61f98d3e80" providerId="ADAL" clId="{A58E44C6-F5B9-5894-9F33-424F549CF034}" dt="2025-08-20T17:54:15.029" v="1933" actId="2696"/>
        <pc:sldMkLst>
          <pc:docMk/>
          <pc:sldMk cId="2905856033" sldId="2147482463"/>
        </pc:sldMkLst>
      </pc:sldChg>
      <pc:sldChg chg="del">
        <pc:chgData name="Nikita Emtsov (Stinson Communications Inc)" userId="8e13622e-4f5c-4340-8a97-1b61f98d3e80" providerId="ADAL" clId="{A58E44C6-F5B9-5894-9F33-424F549CF034}" dt="2025-08-20T17:55:24.954" v="1952" actId="2696"/>
        <pc:sldMkLst>
          <pc:docMk/>
          <pc:sldMk cId="3130524820" sldId="2147482464"/>
        </pc:sldMkLst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08:47.520" v="3605" actId="962"/>
        <pc:sldMkLst>
          <pc:docMk/>
          <pc:sldMk cId="540148062" sldId="2147482465"/>
        </pc:sldMkLst>
        <pc:spChg chg="add mod">
          <ac:chgData name="Nikita Emtsov (Stinson Communications Inc)" userId="8e13622e-4f5c-4340-8a97-1b61f98d3e80" providerId="ADAL" clId="{A58E44C6-F5B9-5894-9F33-424F549CF034}" dt="2025-08-20T18:02:13.969" v="2028" actId="20577"/>
          <ac:spMkLst>
            <pc:docMk/>
            <pc:sldMk cId="540148062" sldId="2147482465"/>
            <ac:spMk id="4" creationId="{EF1578FC-3033-4CB6-4181-A2A5E35F8F3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02:22.301" v="2031"/>
          <ac:spMkLst>
            <pc:docMk/>
            <pc:sldMk cId="540148062" sldId="2147482465"/>
            <ac:spMk id="5" creationId="{1FE05D44-9C7A-9FDB-9A60-E0DB5E1DFF7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02:38.655" v="2043" actId="20577"/>
          <ac:spMkLst>
            <pc:docMk/>
            <pc:sldMk cId="540148062" sldId="2147482465"/>
            <ac:spMk id="6" creationId="{45AD6F06-4463-A5A4-3C8A-44DD244F71F0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8:47.520" v="3605" actId="962"/>
          <ac:spMkLst>
            <pc:docMk/>
            <pc:sldMk cId="540148062" sldId="2147482465"/>
            <ac:spMk id="7" creationId="{85CADA70-B7D2-52B9-470B-AB61EC526417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8:47.520" v="3605" actId="962"/>
          <ac:spMkLst>
            <pc:docMk/>
            <pc:sldMk cId="540148062" sldId="2147482465"/>
            <ac:spMk id="8" creationId="{6271A550-9C7C-3DC4-F055-0D96680E4D75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06:15.637" v="2094" actId="1076"/>
          <ac:spMkLst>
            <pc:docMk/>
            <pc:sldMk cId="540148062" sldId="2147482465"/>
            <ac:spMk id="9" creationId="{14576F57-77F1-F5D6-E76A-47AE10648C05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06:15.637" v="2094" actId="1076"/>
          <ac:spMkLst>
            <pc:docMk/>
            <pc:sldMk cId="540148062" sldId="2147482465"/>
            <ac:spMk id="18" creationId="{52C23375-449F-287A-80B3-5E34A3A0120E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8:47.520" v="3605" actId="962"/>
          <ac:spMkLst>
            <pc:docMk/>
            <pc:sldMk cId="540148062" sldId="2147482465"/>
            <ac:spMk id="24" creationId="{67CAF08A-C4B7-2AC7-A061-E7647000058B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8:47.520" v="3605" actId="962"/>
          <ac:spMkLst>
            <pc:docMk/>
            <pc:sldMk cId="540148062" sldId="2147482465"/>
            <ac:spMk id="25" creationId="{382086FA-9CAF-2E56-13D5-8376A579829B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06:15.637" v="2094" actId="1076"/>
          <ac:spMkLst>
            <pc:docMk/>
            <pc:sldMk cId="540148062" sldId="2147482465"/>
            <ac:spMk id="26" creationId="{2E0364CF-2AF6-9A9C-05DB-40B6E6027C24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8:07:35.007" v="2115"/>
          <ac:spMkLst>
            <pc:docMk/>
            <pc:sldMk cId="540148062" sldId="2147482465"/>
            <ac:spMk id="27" creationId="{531459B5-B11A-C0C4-0B7B-6845DA488739}"/>
          </ac:spMkLst>
        </pc:spChg>
      </pc:sldChg>
      <pc:sldChg chg="addSp delSp modSp mod modClrScheme chgLayout">
        <pc:chgData name="Nikita Emtsov (Stinson Communications Inc)" userId="8e13622e-4f5c-4340-8a97-1b61f98d3e80" providerId="ADAL" clId="{A58E44C6-F5B9-5894-9F33-424F549CF034}" dt="2025-08-20T19:24:03.432" v="4390" actId="167"/>
        <pc:sldMkLst>
          <pc:docMk/>
          <pc:sldMk cId="1135483647" sldId="2147482466"/>
        </pc:sldMkLst>
        <pc:spChg chg="add mod ord">
          <ac:chgData name="Nikita Emtsov (Stinson Communications Inc)" userId="8e13622e-4f5c-4340-8a97-1b61f98d3e80" providerId="ADAL" clId="{A58E44C6-F5B9-5894-9F33-424F549CF034}" dt="2025-08-20T19:24:03.432" v="4390" actId="167"/>
          <ac:spMkLst>
            <pc:docMk/>
            <pc:sldMk cId="1135483647" sldId="2147482466"/>
            <ac:spMk id="12" creationId="{1A0836B3-3B65-B21A-3866-B8048D0B0C2F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37.313" v="4381" actId="962"/>
          <ac:spMkLst>
            <pc:docMk/>
            <pc:sldMk cId="1135483647" sldId="2147482466"/>
            <ac:spMk id="13" creationId="{AB567631-F004-E494-CF87-68CF39EFF8C6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37.313" v="4381" actId="962"/>
          <ac:spMkLst>
            <pc:docMk/>
            <pc:sldMk cId="1135483647" sldId="2147482466"/>
            <ac:spMk id="14" creationId="{1D6BC8A5-977F-C573-F448-87552FBA2626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37.313" v="4381" actId="962"/>
          <ac:spMkLst>
            <pc:docMk/>
            <pc:sldMk cId="1135483647" sldId="2147482466"/>
            <ac:spMk id="15" creationId="{284C7BB5-5062-0992-43DE-012C748231B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23:37.313" v="4381" actId="962"/>
          <ac:spMkLst>
            <pc:docMk/>
            <pc:sldMk cId="1135483647" sldId="2147482466"/>
            <ac:spMk id="16" creationId="{99BCD8FE-A615-BE20-72C0-FB2F45717E15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20:51.800" v="2328" actId="1076"/>
          <ac:spMkLst>
            <pc:docMk/>
            <pc:sldMk cId="1135483647" sldId="2147482466"/>
            <ac:spMk id="17" creationId="{1BF96B95-D305-5065-A657-F772F3BEF30E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61" creationId="{49384E53-6859-FFA8-6976-33A620FC7EC3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62" creationId="{B865041E-B1B7-2AD5-BB34-FD0CEE58218D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63" creationId="{13DE11CB-DD30-D89E-D45C-03D1F96CF6D8}"/>
          </ac:spMkLst>
        </pc:spChg>
        <pc:spChg chg="mod">
          <ac:chgData name="Nikita Emtsov (Stinson Communications Inc)" userId="8e13622e-4f5c-4340-8a97-1b61f98d3e80" providerId="ADAL" clId="{A58E44C6-F5B9-5894-9F33-424F549CF034}" dt="2025-08-20T18:20:51.800" v="2328" actId="1076"/>
          <ac:spMkLst>
            <pc:docMk/>
            <pc:sldMk cId="1135483647" sldId="2147482466"/>
            <ac:spMk id="64" creationId="{8CD27322-81C4-E11F-9C90-18AF84919D39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65" creationId="{77C03A55-D128-6058-AFD2-382218FB1CD7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66" creationId="{73AEAF70-D6D3-FB45-2BE0-7E4BCC68CF5A}"/>
          </ac:spMkLst>
        </pc:spChg>
        <pc:spChg chg="mod">
          <ac:chgData name="Nikita Emtsov (Stinson Communications Inc)" userId="8e13622e-4f5c-4340-8a97-1b61f98d3e80" providerId="ADAL" clId="{A58E44C6-F5B9-5894-9F33-424F549CF034}" dt="2025-08-20T18:20:51.800" v="2328" actId="1076"/>
          <ac:spMkLst>
            <pc:docMk/>
            <pc:sldMk cId="1135483647" sldId="2147482466"/>
            <ac:spMk id="67" creationId="{3C58E7AF-454F-9BF2-024A-07923B0CA08D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68" creationId="{8B02D63A-7FA0-A6C2-9BDA-40F77081E6C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69" creationId="{340924CD-3119-8622-E895-0BD6E68AFB59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70" creationId="{9C8FCF37-F43C-5AF4-85EA-63C5CCBF2729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71" creationId="{06D02C8D-D8B9-4126-FC85-3D5C1EE24977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51.502" v="4383" actId="962"/>
          <ac:spMkLst>
            <pc:docMk/>
            <pc:sldMk cId="1135483647" sldId="2147482466"/>
            <ac:spMk id="72" creationId="{986845BE-EC26-DF89-79DB-FD77EF838641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73" creationId="{C5A80FB9-7A14-B695-CF8C-9EBCE6A6267C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74" creationId="{6D7687DE-2717-5402-80E6-E267EC0A6763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75" creationId="{E56BD541-4C8C-6FB0-889D-DD9D2A8074DF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16:30.200" v="2224" actId="692"/>
          <ac:spMkLst>
            <pc:docMk/>
            <pc:sldMk cId="1135483647" sldId="2147482466"/>
            <ac:spMk id="76" creationId="{84063947-745D-DA27-01A0-F0041221C882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77" creationId="{4F361ED4-41AC-3759-86C6-2299271A735F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78" creationId="{2BDEC7D6-D4A9-CD56-B78B-2F894A7466B4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20:31.350" v="2327" actId="692"/>
          <ac:spMkLst>
            <pc:docMk/>
            <pc:sldMk cId="1135483647" sldId="2147482466"/>
            <ac:spMk id="79" creationId="{C65B4363-AF3E-1EEE-D280-B5C762215FFB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80" creationId="{6CFDE5B2-47DA-5C7E-5D5A-70D9CE59F1A8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81" creationId="{54899A51-5368-CC9B-6629-B3DCA9350FDF}"/>
          </ac:spMkLst>
        </pc:spChg>
        <pc:spChg chg="mod">
          <ac:chgData name="Nikita Emtsov (Stinson Communications Inc)" userId="8e13622e-4f5c-4340-8a97-1b61f98d3e80" providerId="ADAL" clId="{A58E44C6-F5B9-5894-9F33-424F549CF034}" dt="2025-08-20T18:20:31.350" v="2327" actId="692"/>
          <ac:spMkLst>
            <pc:docMk/>
            <pc:sldMk cId="1135483647" sldId="2147482466"/>
            <ac:spMk id="82" creationId="{F7E0E618-F6B2-CAFC-9CED-8929107DB3CE}"/>
          </ac:spMkLst>
        </pc:spChg>
        <pc:spChg chg="mod">
          <ac:chgData name="Nikita Emtsov (Stinson Communications Inc)" userId="8e13622e-4f5c-4340-8a97-1b61f98d3e80" providerId="ADAL" clId="{A58E44C6-F5B9-5894-9F33-424F549CF034}" dt="2025-08-20T18:20:31.350" v="2327" actId="692"/>
          <ac:spMkLst>
            <pc:docMk/>
            <pc:sldMk cId="1135483647" sldId="2147482466"/>
            <ac:spMk id="83" creationId="{995933F0-8014-ED1C-B33B-CB9BE7CF28D0}"/>
          </ac:spMkLst>
        </pc:spChg>
        <pc:spChg chg="mod">
          <ac:chgData name="Nikita Emtsov (Stinson Communications Inc)" userId="8e13622e-4f5c-4340-8a97-1b61f98d3e80" providerId="ADAL" clId="{A58E44C6-F5B9-5894-9F33-424F549CF034}" dt="2025-08-20T18:20:31.350" v="2327" actId="692"/>
          <ac:spMkLst>
            <pc:docMk/>
            <pc:sldMk cId="1135483647" sldId="2147482466"/>
            <ac:spMk id="84" creationId="{D5018378-2B5E-943E-E523-9519FACC4EDC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86" creationId="{335DCE4C-99DA-49D5-C3B3-6A4B38E9EA7E}"/>
          </ac:spMkLst>
        </pc:spChg>
        <pc:spChg chg="mod">
          <ac:chgData name="Nikita Emtsov (Stinson Communications Inc)" userId="8e13622e-4f5c-4340-8a97-1b61f98d3e80" providerId="ADAL" clId="{A58E44C6-F5B9-5894-9F33-424F549CF034}" dt="2025-08-20T18:16:49.994" v="2236"/>
          <ac:spMkLst>
            <pc:docMk/>
            <pc:sldMk cId="1135483647" sldId="2147482466"/>
            <ac:spMk id="87" creationId="{D34273D1-5EAF-01A0-283C-7A1ABAAFFE80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88" creationId="{D9EB7ED3-2B1F-9597-25FB-C4AF76D46C0B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20:31.350" v="2327" actId="692"/>
          <ac:spMkLst>
            <pc:docMk/>
            <pc:sldMk cId="1135483647" sldId="2147482466"/>
            <ac:spMk id="89" creationId="{DEC1FE94-C52E-9E9A-B8DE-810147BE48E0}"/>
          </ac:spMkLst>
        </pc:spChg>
        <pc:spChg chg="mod">
          <ac:chgData name="Nikita Emtsov (Stinson Communications Inc)" userId="8e13622e-4f5c-4340-8a97-1b61f98d3e80" providerId="ADAL" clId="{A58E44C6-F5B9-5894-9F33-424F549CF034}" dt="2025-08-20T18:16:37.364" v="2229" actId="692"/>
          <ac:spMkLst>
            <pc:docMk/>
            <pc:sldMk cId="1135483647" sldId="2147482466"/>
            <ac:spMk id="90" creationId="{1C08AB9D-4D70-8D38-498A-935047D63F12}"/>
          </ac:spMkLst>
        </pc:spChg>
        <pc:spChg chg="mod">
          <ac:chgData name="Nikita Emtsov (Stinson Communications Inc)" userId="8e13622e-4f5c-4340-8a97-1b61f98d3e80" providerId="ADAL" clId="{A58E44C6-F5B9-5894-9F33-424F549CF034}" dt="2025-08-20T18:17:26.007" v="2245" actId="207"/>
          <ac:spMkLst>
            <pc:docMk/>
            <pc:sldMk cId="1135483647" sldId="2147482466"/>
            <ac:spMk id="93" creationId="{28034EE3-5AA4-9071-CD0E-E13828E251F5}"/>
          </ac:spMkLst>
        </pc:spChg>
        <pc:spChg chg="mod">
          <ac:chgData name="Nikita Emtsov (Stinson Communications Inc)" userId="8e13622e-4f5c-4340-8a97-1b61f98d3e80" providerId="ADAL" clId="{A58E44C6-F5B9-5894-9F33-424F549CF034}" dt="2025-08-20T18:13:20.344" v="2175"/>
          <ac:spMkLst>
            <pc:docMk/>
            <pc:sldMk cId="1135483647" sldId="2147482466"/>
            <ac:spMk id="95" creationId="{419E88AC-646C-4869-D82D-1C8E07C83546}"/>
          </ac:spMkLst>
        </pc:spChg>
        <pc:spChg chg="mod">
          <ac:chgData name="Nikita Emtsov (Stinson Communications Inc)" userId="8e13622e-4f5c-4340-8a97-1b61f98d3e80" providerId="ADAL" clId="{A58E44C6-F5B9-5894-9F33-424F549CF034}" dt="2025-08-20T18:13:27.674" v="2176" actId="692"/>
          <ac:spMkLst>
            <pc:docMk/>
            <pc:sldMk cId="1135483647" sldId="2147482466"/>
            <ac:spMk id="96" creationId="{284B5CB3-509A-4150-7412-C0BDD730CB0D}"/>
          </ac:spMkLst>
        </pc:spChg>
        <pc:spChg chg="mod">
          <ac:chgData name="Nikita Emtsov (Stinson Communications Inc)" userId="8e13622e-4f5c-4340-8a97-1b61f98d3e80" providerId="ADAL" clId="{A58E44C6-F5B9-5894-9F33-424F549CF034}" dt="2025-08-20T18:15:34.995" v="2213" actId="688"/>
          <ac:spMkLst>
            <pc:docMk/>
            <pc:sldMk cId="1135483647" sldId="2147482466"/>
            <ac:spMk id="97" creationId="{C552C95E-2BDF-A83D-D435-20B06C24252C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8:13:47.180" v="2180"/>
          <ac:spMkLst>
            <pc:docMk/>
            <pc:sldMk cId="1135483647" sldId="2147482466"/>
            <ac:spMk id="98" creationId="{C5570261-BEB2-AD94-B3EA-74E6FA8858E9}"/>
          </ac:spMkLst>
        </pc:spChg>
        <pc:spChg chg="mod">
          <ac:chgData name="Nikita Emtsov (Stinson Communications Inc)" userId="8e13622e-4f5c-4340-8a97-1b61f98d3e80" providerId="ADAL" clId="{A58E44C6-F5B9-5894-9F33-424F549CF034}" dt="2025-08-20T19:23:28.030" v="4379" actId="962"/>
          <ac:spMkLst>
            <pc:docMk/>
            <pc:sldMk cId="1135483647" sldId="2147482466"/>
            <ac:spMk id="99" creationId="{81225836-2C91-D2CD-330F-0FFDF55551E1}"/>
          </ac:spMkLst>
        </pc:spChg>
        <pc:spChg chg="mod">
          <ac:chgData name="Nikita Emtsov (Stinson Communications Inc)" userId="8e13622e-4f5c-4340-8a97-1b61f98d3e80" providerId="ADAL" clId="{A58E44C6-F5B9-5894-9F33-424F549CF034}" dt="2025-08-20T18:13:47.180" v="2180"/>
          <ac:spMkLst>
            <pc:docMk/>
            <pc:sldMk cId="1135483647" sldId="2147482466"/>
            <ac:spMk id="100" creationId="{324457D0-E4DC-6D68-C717-ACAE9EF45277}"/>
          </ac:spMkLst>
        </pc:spChg>
        <pc:spChg chg="mod">
          <ac:chgData name="Nikita Emtsov (Stinson Communications Inc)" userId="8e13622e-4f5c-4340-8a97-1b61f98d3e80" providerId="ADAL" clId="{A58E44C6-F5B9-5894-9F33-424F549CF034}" dt="2025-08-20T19:24:03.432" v="4390" actId="167"/>
          <ac:spMkLst>
            <pc:docMk/>
            <pc:sldMk cId="1135483647" sldId="2147482466"/>
            <ac:spMk id="101" creationId="{7EF602B0-CBA7-917A-4427-476EDA856C6E}"/>
          </ac:spMkLst>
        </pc:spChg>
        <pc:spChg chg="mod">
          <ac:chgData name="Nikita Emtsov (Stinson Communications Inc)" userId="8e13622e-4f5c-4340-8a97-1b61f98d3e80" providerId="ADAL" clId="{A58E44C6-F5B9-5894-9F33-424F549CF034}" dt="2025-08-20T19:24:03.432" v="4390" actId="167"/>
          <ac:spMkLst>
            <pc:docMk/>
            <pc:sldMk cId="1135483647" sldId="2147482466"/>
            <ac:spMk id="102" creationId="{A8080A2E-AB97-15BB-1024-B6F46442F2EC}"/>
          </ac:spMkLst>
        </pc:spChg>
        <pc:spChg chg="mod">
          <ac:chgData name="Nikita Emtsov (Stinson Communications Inc)" userId="8e13622e-4f5c-4340-8a97-1b61f98d3e80" providerId="ADAL" clId="{A58E44C6-F5B9-5894-9F33-424F549CF034}" dt="2025-08-20T19:24:03.432" v="4390" actId="167"/>
          <ac:spMkLst>
            <pc:docMk/>
            <pc:sldMk cId="1135483647" sldId="2147482466"/>
            <ac:spMk id="103" creationId="{F70C378C-26F0-4B08-3DC9-B447EC16031F}"/>
          </ac:spMkLst>
        </pc:spChg>
        <pc:grpChg chg="add mod">
          <ac:chgData name="Nikita Emtsov (Stinson Communications Inc)" userId="8e13622e-4f5c-4340-8a97-1b61f98d3e80" providerId="ADAL" clId="{A58E44C6-F5B9-5894-9F33-424F549CF034}" dt="2025-08-20T19:24:03.432" v="4390" actId="167"/>
          <ac:grpSpMkLst>
            <pc:docMk/>
            <pc:sldMk cId="1135483647" sldId="2147482466"/>
            <ac:grpSpMk id="2" creationId="{D2E90D92-36F4-4800-79DE-F0568097A263}"/>
          </ac:grpSpMkLst>
        </pc:grpChg>
        <pc:grpChg chg="add mod">
          <ac:chgData name="Nikita Emtsov (Stinson Communications Inc)" userId="8e13622e-4f5c-4340-8a97-1b61f98d3e80" providerId="ADAL" clId="{A58E44C6-F5B9-5894-9F33-424F549CF034}" dt="2025-08-20T19:24:03.432" v="4390" actId="167"/>
          <ac:grpSpMkLst>
            <pc:docMk/>
            <pc:sldMk cId="1135483647" sldId="2147482466"/>
            <ac:grpSpMk id="3" creationId="{F198A616-031C-63AA-7C96-5999D0D8E36F}"/>
          </ac:grpSpMkLst>
        </pc:grpChg>
        <pc:grpChg chg="add mod">
          <ac:chgData name="Nikita Emtsov (Stinson Communications Inc)" userId="8e13622e-4f5c-4340-8a97-1b61f98d3e80" providerId="ADAL" clId="{A58E44C6-F5B9-5894-9F33-424F549CF034}" dt="2025-08-20T19:24:03.432" v="4390" actId="167"/>
          <ac:grpSpMkLst>
            <pc:docMk/>
            <pc:sldMk cId="1135483647" sldId="2147482466"/>
            <ac:grpSpMk id="4" creationId="{2807E4C5-4AF2-E2E7-B646-EA463AD79C29}"/>
          </ac:grpSpMkLst>
        </pc:grpChg>
      </pc:sldChg>
      <pc:sldChg chg="del">
        <pc:chgData name="Nikita Emtsov (Stinson Communications Inc)" userId="8e13622e-4f5c-4340-8a97-1b61f98d3e80" providerId="ADAL" clId="{A58E44C6-F5B9-5894-9F33-424F549CF034}" dt="2025-08-20T18:55:37.793" v="2798" actId="2696"/>
        <pc:sldMkLst>
          <pc:docMk/>
          <pc:sldMk cId="2584422069" sldId="2147482467"/>
        </pc:sldMkLst>
      </pc:sldChg>
      <pc:sldChg chg="del">
        <pc:chgData name="Nikita Emtsov (Stinson Communications Inc)" userId="8e13622e-4f5c-4340-8a97-1b61f98d3e80" providerId="ADAL" clId="{A58E44C6-F5B9-5894-9F33-424F549CF034}" dt="2025-08-20T18:29:12.966" v="2506" actId="2696"/>
        <pc:sldMkLst>
          <pc:docMk/>
          <pc:sldMk cId="1101289663" sldId="2147482468"/>
        </pc:sldMkLst>
      </pc:sldChg>
      <pc:sldChg chg="addSp delSp modSp mod modClrScheme delAnim modAnim chgLayout">
        <pc:chgData name="Nikita Emtsov (Stinson Communications Inc)" userId="8e13622e-4f5c-4340-8a97-1b61f98d3e80" providerId="ADAL" clId="{A58E44C6-F5B9-5894-9F33-424F549CF034}" dt="2025-08-20T19:17:43.083" v="3950" actId="167"/>
        <pc:sldMkLst>
          <pc:docMk/>
          <pc:sldMk cId="1080332176" sldId="2147482469"/>
        </pc:sldMkLst>
        <pc:spChg chg="add mod">
          <ac:chgData name="Nikita Emtsov (Stinson Communications Inc)" userId="8e13622e-4f5c-4340-8a97-1b61f98d3e80" providerId="ADAL" clId="{A58E44C6-F5B9-5894-9F33-424F549CF034}" dt="2025-08-20T19:17:43.083" v="3950" actId="167"/>
          <ac:spMkLst>
            <pc:docMk/>
            <pc:sldMk cId="1080332176" sldId="2147482469"/>
            <ac:spMk id="4" creationId="{4ABED70D-7CE9-6FC6-83A5-C28BE7E8633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7:43.083" v="3950" actId="167"/>
          <ac:spMkLst>
            <pc:docMk/>
            <pc:sldMk cId="1080332176" sldId="2147482469"/>
            <ac:spMk id="7" creationId="{70A3198C-59DF-56B5-6915-755658DB9771}"/>
          </ac:spMkLst>
        </pc:spChg>
        <pc:spChg chg="mod">
          <ac:chgData name="Nikita Emtsov (Stinson Communications Inc)" userId="8e13622e-4f5c-4340-8a97-1b61f98d3e80" providerId="ADAL" clId="{A58E44C6-F5B9-5894-9F33-424F549CF034}" dt="2025-08-20T18:23:49.034" v="2359"/>
          <ac:spMkLst>
            <pc:docMk/>
            <pc:sldMk cId="1080332176" sldId="2147482469"/>
            <ac:spMk id="10" creationId="{C47F602B-80DE-5CF7-57AF-8C14C8773829}"/>
          </ac:spMkLst>
        </pc:spChg>
        <pc:spChg chg="mod">
          <ac:chgData name="Nikita Emtsov (Stinson Communications Inc)" userId="8e13622e-4f5c-4340-8a97-1b61f98d3e80" providerId="ADAL" clId="{A58E44C6-F5B9-5894-9F33-424F549CF034}" dt="2025-08-20T18:23:49.034" v="2359"/>
          <ac:spMkLst>
            <pc:docMk/>
            <pc:sldMk cId="1080332176" sldId="2147482469"/>
            <ac:spMk id="11" creationId="{3B3D1D42-E983-79EE-7E8D-411285929B6D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7:43.083" v="3950" actId="167"/>
          <ac:spMkLst>
            <pc:docMk/>
            <pc:sldMk cId="1080332176" sldId="2147482469"/>
            <ac:spMk id="12" creationId="{F753AA8E-496F-28B5-49E5-A4E0A8799689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7:43.083" v="3950" actId="167"/>
          <ac:spMkLst>
            <pc:docMk/>
            <pc:sldMk cId="1080332176" sldId="2147482469"/>
            <ac:spMk id="14" creationId="{E6452798-D5F8-761B-6552-7E857773C104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7:43.083" v="3950" actId="167"/>
          <ac:spMkLst>
            <pc:docMk/>
            <pc:sldMk cId="1080332176" sldId="2147482469"/>
            <ac:spMk id="15" creationId="{2DF28304-01EF-E43E-F359-B77DD89C0BC6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17:43.083" v="3950" actId="167"/>
          <ac:spMkLst>
            <pc:docMk/>
            <pc:sldMk cId="1080332176" sldId="2147482469"/>
            <ac:spMk id="16" creationId="{386645D5-8EF2-F197-FD77-BBE803D20889}"/>
          </ac:spMkLst>
        </pc:spChg>
        <pc:spChg chg="mod">
          <ac:chgData name="Nikita Emtsov (Stinson Communications Inc)" userId="8e13622e-4f5c-4340-8a97-1b61f98d3e80" providerId="ADAL" clId="{A58E44C6-F5B9-5894-9F33-424F549CF034}" dt="2025-08-20T18:26:27.011" v="2423" actId="571"/>
          <ac:spMkLst>
            <pc:docMk/>
            <pc:sldMk cId="1080332176" sldId="2147482469"/>
            <ac:spMk id="19" creationId="{5AFBCF80-DC8D-230B-1F17-7012A9551BF5}"/>
          </ac:spMkLst>
        </pc:spChg>
        <pc:spChg chg="mod">
          <ac:chgData name="Nikita Emtsov (Stinson Communications Inc)" userId="8e13622e-4f5c-4340-8a97-1b61f98d3e80" providerId="ADAL" clId="{A58E44C6-F5B9-5894-9F33-424F549CF034}" dt="2025-08-20T18:26:27.011" v="2423" actId="571"/>
          <ac:spMkLst>
            <pc:docMk/>
            <pc:sldMk cId="1080332176" sldId="2147482469"/>
            <ac:spMk id="20" creationId="{D72306C8-6F89-F4B5-B4CE-95111A9CA2A3}"/>
          </ac:spMkLst>
        </pc:spChg>
        <pc:spChg chg="mod">
          <ac:chgData name="Nikita Emtsov (Stinson Communications Inc)" userId="8e13622e-4f5c-4340-8a97-1b61f98d3e80" providerId="ADAL" clId="{A58E44C6-F5B9-5894-9F33-424F549CF034}" dt="2025-08-20T18:26:30.338" v="2424" actId="571"/>
          <ac:spMkLst>
            <pc:docMk/>
            <pc:sldMk cId="1080332176" sldId="2147482469"/>
            <ac:spMk id="22" creationId="{AC0125B7-EE90-35E1-BF8F-8556D73E75A6}"/>
          </ac:spMkLst>
        </pc:spChg>
        <pc:spChg chg="mod">
          <ac:chgData name="Nikita Emtsov (Stinson Communications Inc)" userId="8e13622e-4f5c-4340-8a97-1b61f98d3e80" providerId="ADAL" clId="{A58E44C6-F5B9-5894-9F33-424F549CF034}" dt="2025-08-20T18:26:30.338" v="2424" actId="571"/>
          <ac:spMkLst>
            <pc:docMk/>
            <pc:sldMk cId="1080332176" sldId="2147482469"/>
            <ac:spMk id="23" creationId="{BBDB3073-B078-3C58-069F-2BAA53A500AD}"/>
          </ac:spMkLst>
        </pc:spChg>
        <pc:spChg chg="mod">
          <ac:chgData name="Nikita Emtsov (Stinson Communications Inc)" userId="8e13622e-4f5c-4340-8a97-1b61f98d3e80" providerId="ADAL" clId="{A58E44C6-F5B9-5894-9F33-424F549CF034}" dt="2025-08-20T18:26:32.716" v="2425" actId="571"/>
          <ac:spMkLst>
            <pc:docMk/>
            <pc:sldMk cId="1080332176" sldId="2147482469"/>
            <ac:spMk id="25" creationId="{0B3A51E5-24DF-B0A9-1F1C-A37740E3254C}"/>
          </ac:spMkLst>
        </pc:spChg>
        <pc:spChg chg="mod">
          <ac:chgData name="Nikita Emtsov (Stinson Communications Inc)" userId="8e13622e-4f5c-4340-8a97-1b61f98d3e80" providerId="ADAL" clId="{A58E44C6-F5B9-5894-9F33-424F549CF034}" dt="2025-08-20T18:26:32.716" v="2425" actId="571"/>
          <ac:spMkLst>
            <pc:docMk/>
            <pc:sldMk cId="1080332176" sldId="2147482469"/>
            <ac:spMk id="26" creationId="{73507708-2BA9-C494-882E-264A75969157}"/>
          </ac:spMkLst>
        </pc:spChg>
        <pc:grpChg chg="add mod">
          <ac:chgData name="Nikita Emtsov (Stinson Communications Inc)" userId="8e13622e-4f5c-4340-8a97-1b61f98d3e80" providerId="ADAL" clId="{A58E44C6-F5B9-5894-9F33-424F549CF034}" dt="2025-08-20T19:08:52.024" v="3606" actId="962"/>
          <ac:grpSpMkLst>
            <pc:docMk/>
            <pc:sldMk cId="1080332176" sldId="2147482469"/>
            <ac:grpSpMk id="9" creationId="{0F839D68-6ED1-D83C-1EE8-C2E883D4D6F8}"/>
          </ac:grpSpMkLst>
        </pc:grpChg>
        <pc:grpChg chg="add mod">
          <ac:chgData name="Nikita Emtsov (Stinson Communications Inc)" userId="8e13622e-4f5c-4340-8a97-1b61f98d3e80" providerId="ADAL" clId="{A58E44C6-F5B9-5894-9F33-424F549CF034}" dt="2025-08-20T19:08:52.024" v="3606" actId="962"/>
          <ac:grpSpMkLst>
            <pc:docMk/>
            <pc:sldMk cId="1080332176" sldId="2147482469"/>
            <ac:grpSpMk id="18" creationId="{D876C703-74BB-7297-A921-20AF43579B03}"/>
          </ac:grpSpMkLst>
        </pc:grpChg>
        <pc:grpChg chg="add mod">
          <ac:chgData name="Nikita Emtsov (Stinson Communications Inc)" userId="8e13622e-4f5c-4340-8a97-1b61f98d3e80" providerId="ADAL" clId="{A58E44C6-F5B9-5894-9F33-424F549CF034}" dt="2025-08-20T19:08:52.024" v="3606" actId="962"/>
          <ac:grpSpMkLst>
            <pc:docMk/>
            <pc:sldMk cId="1080332176" sldId="2147482469"/>
            <ac:grpSpMk id="21" creationId="{D6032C06-C186-5D18-E468-9AF8B4E38E82}"/>
          </ac:grpSpMkLst>
        </pc:grpChg>
        <pc:grpChg chg="add mod">
          <ac:chgData name="Nikita Emtsov (Stinson Communications Inc)" userId="8e13622e-4f5c-4340-8a97-1b61f98d3e80" providerId="ADAL" clId="{A58E44C6-F5B9-5894-9F33-424F549CF034}" dt="2025-08-20T19:08:52.024" v="3606" actId="962"/>
          <ac:grpSpMkLst>
            <pc:docMk/>
            <pc:sldMk cId="1080332176" sldId="2147482469"/>
            <ac:grpSpMk id="24" creationId="{6E300098-98A3-0B88-9528-2D18FF8FE521}"/>
          </ac:grpSpMkLst>
        </pc:grpChg>
        <pc:picChg chg="add mod modCrop">
          <ac:chgData name="Nikita Emtsov (Stinson Communications Inc)" userId="8e13622e-4f5c-4340-8a97-1b61f98d3e80" providerId="ADAL" clId="{A58E44C6-F5B9-5894-9F33-424F549CF034}" dt="2025-08-20T19:09:12.177" v="3662" actId="962"/>
          <ac:picMkLst>
            <pc:docMk/>
            <pc:sldMk cId="1080332176" sldId="2147482469"/>
            <ac:picMk id="8" creationId="{3F22B938-C1E0-73DC-7135-6964B7CF4E45}"/>
          </ac:picMkLst>
        </pc:picChg>
      </pc:sldChg>
      <pc:sldChg chg="addSp delSp modSp del mod modClrScheme delAnim modAnim chgLayout">
        <pc:chgData name="Nikita Emtsov (Stinson Communications Inc)" userId="8e13622e-4f5c-4340-8a97-1b61f98d3e80" providerId="ADAL" clId="{A58E44C6-F5B9-5894-9F33-424F549CF034}" dt="2025-08-20T19:12:15.913" v="3806" actId="2696"/>
        <pc:sldMkLst>
          <pc:docMk/>
          <pc:sldMk cId="1204247253" sldId="2147482470"/>
        </pc:sldMkLst>
      </pc:sldChg>
      <pc:sldChg chg="del">
        <pc:chgData name="Nikita Emtsov (Stinson Communications Inc)" userId="8e13622e-4f5c-4340-8a97-1b61f98d3e80" providerId="ADAL" clId="{A58E44C6-F5B9-5894-9F33-424F549CF034}" dt="2025-08-20T15:22:45.100" v="63" actId="2696"/>
        <pc:sldMkLst>
          <pc:docMk/>
          <pc:sldMk cId="681708980" sldId="2147482471"/>
        </pc:sldMkLst>
      </pc:sldChg>
      <pc:sldChg chg="add del">
        <pc:chgData name="Nikita Emtsov (Stinson Communications Inc)" userId="8e13622e-4f5c-4340-8a97-1b61f98d3e80" providerId="ADAL" clId="{A58E44C6-F5B9-5894-9F33-424F549CF034}" dt="2025-08-20T16:17:22.333" v="1022" actId="2696"/>
        <pc:sldMkLst>
          <pc:docMk/>
          <pc:sldMk cId="376493177" sldId="2147482756"/>
        </pc:sldMkLst>
      </pc:sldChg>
      <pc:sldChg chg="addSp delSp modSp mod delAnim modAnim chgLayout">
        <pc:chgData name="Nikita Emtsov (Stinson Communications Inc)" userId="8e13622e-4f5c-4340-8a97-1b61f98d3e80" providerId="ADAL" clId="{A58E44C6-F5B9-5894-9F33-424F549CF034}" dt="2025-08-20T19:04:21.439" v="3141" actId="962"/>
        <pc:sldMkLst>
          <pc:docMk/>
          <pc:sldMk cId="2791115817" sldId="2147483645"/>
        </pc:sldMkLst>
        <pc:spChg chg="add mod">
          <ac:chgData name="Nikita Emtsov (Stinson Communications Inc)" userId="8e13622e-4f5c-4340-8a97-1b61f98d3e80" providerId="ADAL" clId="{A58E44C6-F5B9-5894-9F33-424F549CF034}" dt="2025-08-20T15:40:23.613" v="439" actId="1076"/>
          <ac:spMkLst>
            <pc:docMk/>
            <pc:sldMk cId="2791115817" sldId="2147483645"/>
            <ac:spMk id="2" creationId="{202B34BD-4B0B-B2A5-6D6B-EB740510D5BD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5:40:23.613" v="439" actId="1076"/>
          <ac:spMkLst>
            <pc:docMk/>
            <pc:sldMk cId="2791115817" sldId="2147483645"/>
            <ac:spMk id="3" creationId="{5E230C42-8B58-D975-FB7A-4031E43CFB75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5:43:50.894" v="519" actId="12789"/>
          <ac:spMkLst>
            <pc:docMk/>
            <pc:sldMk cId="2791115817" sldId="2147483645"/>
            <ac:spMk id="17" creationId="{FB074699-0B75-E02C-033C-78056837C0AF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5:44:08.037" v="523" actId="12789"/>
          <ac:spMkLst>
            <pc:docMk/>
            <pc:sldMk cId="2791115817" sldId="2147483645"/>
            <ac:spMk id="18" creationId="{73C80911-9084-C68A-55BC-706A5C424594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5:44:10.860" v="526" actId="12789"/>
          <ac:spMkLst>
            <pc:docMk/>
            <pc:sldMk cId="2791115817" sldId="2147483645"/>
            <ac:spMk id="19" creationId="{0D377277-1BF2-7CD7-9A1A-A053097E341C}"/>
          </ac:spMkLst>
        </pc:spChg>
        <pc:spChg chg="mod">
          <ac:chgData name="Nikita Emtsov (Stinson Communications Inc)" userId="8e13622e-4f5c-4340-8a97-1b61f98d3e80" providerId="ADAL" clId="{A58E44C6-F5B9-5894-9F33-424F549CF034}" dt="2025-08-20T15:43:32.654" v="513" actId="12789"/>
          <ac:spMkLst>
            <pc:docMk/>
            <pc:sldMk cId="2791115817" sldId="2147483645"/>
            <ac:spMk id="27" creationId="{0792A8BB-5BF1-099B-AE83-C02CBE2A9F97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5:43:32.654" v="513" actId="12789"/>
          <ac:spMkLst>
            <pc:docMk/>
            <pc:sldMk cId="2791115817" sldId="2147483645"/>
            <ac:spMk id="30" creationId="{0B759A71-F345-C055-6CD6-B2B517CEC05D}"/>
          </ac:spMkLst>
        </pc:spChg>
        <pc:spChg chg="mod">
          <ac:chgData name="Nikita Emtsov (Stinson Communications Inc)" userId="8e13622e-4f5c-4340-8a97-1b61f98d3e80" providerId="ADAL" clId="{A58E44C6-F5B9-5894-9F33-424F549CF034}" dt="2025-08-20T15:44:07.438" v="522" actId="571"/>
          <ac:spMkLst>
            <pc:docMk/>
            <pc:sldMk cId="2791115817" sldId="2147483645"/>
            <ac:spMk id="33" creationId="{66FE53DE-EE15-086C-891F-CA5C44517A0F}"/>
          </ac:spMkLst>
        </pc:spChg>
        <pc:spChg chg="mod">
          <ac:chgData name="Nikita Emtsov (Stinson Communications Inc)" userId="8e13622e-4f5c-4340-8a97-1b61f98d3e80" providerId="ADAL" clId="{A58E44C6-F5B9-5894-9F33-424F549CF034}" dt="2025-08-20T15:44:07.438" v="522" actId="571"/>
          <ac:spMkLst>
            <pc:docMk/>
            <pc:sldMk cId="2791115817" sldId="2147483645"/>
            <ac:spMk id="34" creationId="{743CEEA3-F396-9015-E8D2-2C32FBFD776F}"/>
          </ac:spMkLst>
        </pc:spChg>
        <pc:spChg chg="mod">
          <ac:chgData name="Nikita Emtsov (Stinson Communications Inc)" userId="8e13622e-4f5c-4340-8a97-1b61f98d3e80" providerId="ADAL" clId="{A58E44C6-F5B9-5894-9F33-424F549CF034}" dt="2025-08-20T15:44:09.743" v="524" actId="571"/>
          <ac:spMkLst>
            <pc:docMk/>
            <pc:sldMk cId="2791115817" sldId="2147483645"/>
            <ac:spMk id="36" creationId="{DA9342FC-8DEF-B7F4-5E74-3C5895394F5A}"/>
          </ac:spMkLst>
        </pc:spChg>
        <pc:spChg chg="mod">
          <ac:chgData name="Nikita Emtsov (Stinson Communications Inc)" userId="8e13622e-4f5c-4340-8a97-1b61f98d3e80" providerId="ADAL" clId="{A58E44C6-F5B9-5894-9F33-424F549CF034}" dt="2025-08-20T15:44:09.743" v="524" actId="571"/>
          <ac:spMkLst>
            <pc:docMk/>
            <pc:sldMk cId="2791115817" sldId="2147483645"/>
            <ac:spMk id="37" creationId="{F948BFD6-59C7-F0F0-9FDE-0F412D478BD3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4:21.439" v="3141" actId="962"/>
          <ac:spMkLst>
            <pc:docMk/>
            <pc:sldMk cId="2791115817" sldId="2147483645"/>
            <ac:spMk id="38" creationId="{03DB0D2F-4D22-0FFF-ACC7-A8C24C58CF91}"/>
          </ac:spMkLst>
        </pc:spChg>
        <pc:spChg chg="add mod topLvl">
          <ac:chgData name="Nikita Emtsov (Stinson Communications Inc)" userId="8e13622e-4f5c-4340-8a97-1b61f98d3e80" providerId="ADAL" clId="{A58E44C6-F5B9-5894-9F33-424F549CF034}" dt="2025-08-20T19:03:47.326" v="2921" actId="962"/>
          <ac:spMkLst>
            <pc:docMk/>
            <pc:sldMk cId="2791115817" sldId="2147483645"/>
            <ac:spMk id="39" creationId="{4C49A313-C6BA-C889-25EC-82AD93E15804}"/>
          </ac:spMkLst>
        </pc:spChg>
        <pc:grpChg chg="add mod">
          <ac:chgData name="Nikita Emtsov (Stinson Communications Inc)" userId="8e13622e-4f5c-4340-8a97-1b61f98d3e80" providerId="ADAL" clId="{A58E44C6-F5B9-5894-9F33-424F549CF034}" dt="2025-08-20T19:03:34.768" v="2919" actId="962"/>
          <ac:grpSpMkLst>
            <pc:docMk/>
            <pc:sldMk cId="2791115817" sldId="2147483645"/>
            <ac:grpSpMk id="31" creationId="{546A33C3-FA0E-598B-1A13-042D949A3BBC}"/>
          </ac:grpSpMkLst>
        </pc:grpChg>
        <pc:grpChg chg="add mod">
          <ac:chgData name="Nikita Emtsov (Stinson Communications Inc)" userId="8e13622e-4f5c-4340-8a97-1b61f98d3e80" providerId="ADAL" clId="{A58E44C6-F5B9-5894-9F33-424F549CF034}" dt="2025-08-20T19:03:34.768" v="2919" actId="962"/>
          <ac:grpSpMkLst>
            <pc:docMk/>
            <pc:sldMk cId="2791115817" sldId="2147483645"/>
            <ac:grpSpMk id="32" creationId="{30882604-84F3-5A66-EEFB-30CE50B7DEEE}"/>
          </ac:grpSpMkLst>
        </pc:grpChg>
        <pc:grpChg chg="add mod">
          <ac:chgData name="Nikita Emtsov (Stinson Communications Inc)" userId="8e13622e-4f5c-4340-8a97-1b61f98d3e80" providerId="ADAL" clId="{A58E44C6-F5B9-5894-9F33-424F549CF034}" dt="2025-08-20T19:03:34.768" v="2919" actId="962"/>
          <ac:grpSpMkLst>
            <pc:docMk/>
            <pc:sldMk cId="2791115817" sldId="2147483645"/>
            <ac:grpSpMk id="35" creationId="{05420AD5-C57E-28CF-B38B-FEC91D5A69B8}"/>
          </ac:grpSpMkLst>
        </pc:grpChg>
      </pc:sldChg>
      <pc:sldChg chg="addSp delSp modSp add mod ord addAnim delAnim">
        <pc:chgData name="Nikita Emtsov (Stinson Communications Inc)" userId="8e13622e-4f5c-4340-8a97-1b61f98d3e80" providerId="ADAL" clId="{A58E44C6-F5B9-5894-9F33-424F549CF034}" dt="2025-08-20T19:15:54.474" v="3889" actId="167"/>
        <pc:sldMkLst>
          <pc:docMk/>
          <pc:sldMk cId="44422868" sldId="2147483646"/>
        </pc:sldMkLst>
        <pc:spChg chg="add mod">
          <ac:chgData name="Nikita Emtsov (Stinson Communications Inc)" userId="8e13622e-4f5c-4340-8a97-1b61f98d3e80" providerId="ADAL" clId="{A58E44C6-F5B9-5894-9F33-424F549CF034}" dt="2025-08-20T19:15:54.474" v="3889" actId="167"/>
          <ac:spMkLst>
            <pc:docMk/>
            <pc:sldMk cId="44422868" sldId="2147483646"/>
            <ac:spMk id="2" creationId="{89C059A6-C5D9-8655-B77E-4A5C5D0E4044}"/>
          </ac:spMkLst>
        </pc:spChg>
        <pc:spChg chg="mod">
          <ac:chgData name="Nikita Emtsov (Stinson Communications Inc)" userId="8e13622e-4f5c-4340-8a97-1b61f98d3e80" providerId="ADAL" clId="{A58E44C6-F5B9-5894-9F33-424F549CF034}" dt="2025-08-20T19:03:15.157" v="2916" actId="33553"/>
          <ac:spMkLst>
            <pc:docMk/>
            <pc:sldMk cId="44422868" sldId="2147483646"/>
            <ac:spMk id="6" creationId="{E9D42225-3574-FCF1-2C42-E3FB27D940E0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11" creationId="{AF49931B-4012-C64B-14E4-AD03377D1EFB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12" creationId="{BC19584F-F9E4-239C-2B5F-D595A84E6335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13" creationId="{17B86BB5-BEFE-9F1F-CB03-A270A87D8E8C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15" creationId="{4B3A5C25-97FD-FF42-C681-4DCDC959DF98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16" creationId="{BC1B66A0-4AF7-1E2B-0108-BD156B2FE981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17" creationId="{08790D5B-9613-B266-132E-D7E0C0992836}"/>
          </ac:spMkLst>
        </pc:spChg>
        <pc:spChg chg="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18" creationId="{B6917F97-43A8-6013-70DC-08AF78794EDC}"/>
          </ac:spMkLst>
        </pc:spChg>
        <pc:spChg chg="mod">
          <ac:chgData name="Nikita Emtsov (Stinson Communications Inc)" userId="8e13622e-4f5c-4340-8a97-1b61f98d3e80" providerId="ADAL" clId="{A58E44C6-F5B9-5894-9F33-424F549CF034}" dt="2025-08-20T19:15:20.754" v="3873" actId="33553"/>
          <ac:spMkLst>
            <pc:docMk/>
            <pc:sldMk cId="44422868" sldId="2147483646"/>
            <ac:spMk id="21" creationId="{294C78BF-2FA0-BFC0-325D-9ED3281DCE4E}"/>
          </ac:spMkLst>
        </pc:spChg>
        <pc:spChg chg="add del mod">
          <ac:chgData name="Nikita Emtsov (Stinson Communications Inc)" userId="8e13622e-4f5c-4340-8a97-1b61f98d3e80" providerId="ADAL" clId="{A58E44C6-F5B9-5894-9F33-424F549CF034}" dt="2025-08-20T19:07:34.860" v="3599" actId="962"/>
          <ac:spMkLst>
            <pc:docMk/>
            <pc:sldMk cId="44422868" sldId="2147483646"/>
            <ac:spMk id="22" creationId="{34A600F7-FE73-094B-D84C-08D3D3AECD81}"/>
          </ac:spMkLst>
        </pc:spChg>
      </pc:sldChg>
      <pc:sldChg chg="add del mod modShow">
        <pc:chgData name="Nikita Emtsov (Stinson Communications Inc)" userId="8e13622e-4f5c-4340-8a97-1b61f98d3e80" providerId="ADAL" clId="{A58E44C6-F5B9-5894-9F33-424F549CF034}" dt="2025-08-20T16:19:10.641" v="1055" actId="2696"/>
        <pc:sldMkLst>
          <pc:docMk/>
          <pc:sldMk cId="153740603" sldId="2147483646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5:32:39.783" v="288" actId="2696"/>
        <pc:sldMkLst>
          <pc:docMk/>
          <pc:sldMk cId="550740370" sldId="2147483646"/>
        </pc:sldMkLst>
      </pc:sldChg>
      <pc:sldChg chg="new del">
        <pc:chgData name="Nikita Emtsov (Stinson Communications Inc)" userId="8e13622e-4f5c-4340-8a97-1b61f98d3e80" providerId="ADAL" clId="{A58E44C6-F5B9-5894-9F33-424F549CF034}" dt="2025-08-20T15:19:26.538" v="41" actId="2696"/>
        <pc:sldMkLst>
          <pc:docMk/>
          <pc:sldMk cId="854305499" sldId="2147483646"/>
        </pc:sldMkLst>
      </pc:sldChg>
      <pc:sldChg chg="modSp add del mod modShow">
        <pc:chgData name="Nikita Emtsov (Stinson Communications Inc)" userId="8e13622e-4f5c-4340-8a97-1b61f98d3e80" providerId="ADAL" clId="{A58E44C6-F5B9-5894-9F33-424F549CF034}" dt="2025-08-20T16:33:03.285" v="1217" actId="2696"/>
        <pc:sldMkLst>
          <pc:docMk/>
          <pc:sldMk cId="1189950816" sldId="2147483646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6:14:15.456" v="1013" actId="2696"/>
        <pc:sldMkLst>
          <pc:docMk/>
          <pc:sldMk cId="1303931958" sldId="2147483646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6:27:48.656" v="1170" actId="2696"/>
        <pc:sldMkLst>
          <pc:docMk/>
          <pc:sldMk cId="1688887363" sldId="2147483646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5:48:17.517" v="570" actId="2696"/>
        <pc:sldMkLst>
          <pc:docMk/>
          <pc:sldMk cId="4029806073" sldId="2147483646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6:06:07.795" v="842" actId="2696"/>
        <pc:sldMkLst>
          <pc:docMk/>
          <pc:sldMk cId="4077416128" sldId="2147483646"/>
        </pc:sldMkLst>
      </pc:sldChg>
      <pc:sldChg chg="add del mod modShow">
        <pc:chgData name="Nikita Emtsov (Stinson Communications Inc)" userId="8e13622e-4f5c-4340-8a97-1b61f98d3e80" providerId="ADAL" clId="{A58E44C6-F5B9-5894-9F33-424F549CF034}" dt="2025-08-20T17:15:34.480" v="1349" actId="2696"/>
        <pc:sldMkLst>
          <pc:docMk/>
          <pc:sldMk cId="4146453096" sldId="2147483646"/>
        </pc:sldMkLst>
      </pc:sldChg>
      <pc:sldChg chg="addSp modSp add mod ord modAnim modNotesTx">
        <pc:chgData name="Nikita Emtsov (Stinson Communications Inc)" userId="8e13622e-4f5c-4340-8a97-1b61f98d3e80" providerId="ADAL" clId="{A58E44C6-F5B9-5894-9F33-424F549CF034}" dt="2025-08-20T19:16:13.616" v="3897" actId="167"/>
        <pc:sldMkLst>
          <pc:docMk/>
          <pc:sldMk cId="187391250" sldId="2147483647"/>
        </pc:sldMkLst>
        <pc:spChg chg="add mod">
          <ac:chgData name="Nikita Emtsov (Stinson Communications Inc)" userId="8e13622e-4f5c-4340-8a97-1b61f98d3e80" providerId="ADAL" clId="{A58E44C6-F5B9-5894-9F33-424F549CF034}" dt="2025-08-20T19:16:13.616" v="3897" actId="167"/>
          <ac:spMkLst>
            <pc:docMk/>
            <pc:sldMk cId="187391250" sldId="2147483647"/>
            <ac:spMk id="2" creationId="{0292285A-9E49-2503-BCAF-DB217C2FCD40}"/>
          </ac:spMkLst>
        </pc:spChg>
        <pc:spChg chg="mod">
          <ac:chgData name="Nikita Emtsov (Stinson Communications Inc)" userId="8e13622e-4f5c-4340-8a97-1b61f98d3e80" providerId="ADAL" clId="{A58E44C6-F5B9-5894-9F33-424F549CF034}" dt="2025-08-20T19:16:13.616" v="3897" actId="167"/>
          <ac:spMkLst>
            <pc:docMk/>
            <pc:sldMk cId="187391250" sldId="2147483647"/>
            <ac:spMk id="3" creationId="{C258C04C-5A9E-9E70-0605-C48A75048853}"/>
          </ac:spMkLst>
        </pc:spChg>
        <pc:spChg chg="add mod">
          <ac:chgData name="Nikita Emtsov (Stinson Communications Inc)" userId="8e13622e-4f5c-4340-8a97-1b61f98d3e80" providerId="ADAL" clId="{A58E44C6-F5B9-5894-9F33-424F549CF034}" dt="2025-08-20T19:16:13.616" v="3897" actId="167"/>
          <ac:spMkLst>
            <pc:docMk/>
            <pc:sldMk cId="187391250" sldId="2147483647"/>
            <ac:spMk id="4" creationId="{702662D9-7B1C-8472-ED2A-0371A9C67741}"/>
          </ac:spMkLst>
        </pc:spChg>
        <pc:spChg chg="mod">
          <ac:chgData name="Nikita Emtsov (Stinson Communications Inc)" userId="8e13622e-4f5c-4340-8a97-1b61f98d3e80" providerId="ADAL" clId="{A58E44C6-F5B9-5894-9F33-424F549CF034}" dt="2025-08-20T19:16:13.616" v="3897" actId="167"/>
          <ac:spMkLst>
            <pc:docMk/>
            <pc:sldMk cId="187391250" sldId="2147483647"/>
            <ac:spMk id="5" creationId="{28FE83F4-AF25-F81E-0408-9A8F81CC9E36}"/>
          </ac:spMkLst>
        </pc:spChg>
        <pc:spChg chg="mod">
          <ac:chgData name="Nikita Emtsov (Stinson Communications Inc)" userId="8e13622e-4f5c-4340-8a97-1b61f98d3e80" providerId="ADAL" clId="{A58E44C6-F5B9-5894-9F33-424F549CF034}" dt="2025-08-20T19:16:13.616" v="3897" actId="167"/>
          <ac:spMkLst>
            <pc:docMk/>
            <pc:sldMk cId="187391250" sldId="2147483647"/>
            <ac:spMk id="7" creationId="{028FF792-72A9-A526-9B9A-6F7318B86E2C}"/>
          </ac:spMkLst>
        </pc:spChg>
      </pc:sldChg>
      <pc:sldChg chg="add del">
        <pc:chgData name="Nikita Emtsov (Stinson Communications Inc)" userId="8e13622e-4f5c-4340-8a97-1b61f98d3e80" providerId="ADAL" clId="{A58E44C6-F5B9-5894-9F33-424F549CF034}" dt="2025-08-20T16:11:34.885" v="926" actId="2890"/>
        <pc:sldMkLst>
          <pc:docMk/>
          <pc:sldMk cId="1033807081" sldId="2147483647"/>
        </pc:sldMkLst>
      </pc:sldChg>
      <pc:sldChg chg="add del">
        <pc:chgData name="Nikita Emtsov (Stinson Communications Inc)" userId="8e13622e-4f5c-4340-8a97-1b61f98d3e80" providerId="ADAL" clId="{A58E44C6-F5B9-5894-9F33-424F549CF034}" dt="2025-08-20T17:16:32.266" v="1358" actId="2890"/>
        <pc:sldMkLst>
          <pc:docMk/>
          <pc:sldMk cId="3812028490" sldId="2147483647"/>
        </pc:sldMkLst>
      </pc:sldChg>
      <pc:sldMasterChg chg="del delSldLayout">
        <pc:chgData name="Nikita Emtsov (Stinson Communications Inc)" userId="8e13622e-4f5c-4340-8a97-1b61f98d3e80" providerId="ADAL" clId="{A58E44C6-F5B9-5894-9F33-424F549CF034}" dt="2025-08-20T18:57:56.132" v="2836" actId="700"/>
        <pc:sldMasterMkLst>
          <pc:docMk/>
          <pc:sldMasterMk cId="4108814859" sldId="2147483660"/>
        </pc:sldMasterMkLst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3159290300" sldId="2147483661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887762371" sldId="2147483662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3319788449" sldId="2147483663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4173923181" sldId="2147483664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956104596" sldId="2147483665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1689611522" sldId="2147483666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3889044358" sldId="2147483667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1639463058" sldId="2147483668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4220485133" sldId="2147483669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1123577768" sldId="2147483670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4015193407" sldId="2147483671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3443454085" sldId="2147483774"/>
          </pc:sldLayoutMkLst>
        </pc:sldLayoutChg>
        <pc:sldLayoutChg chg="del">
          <pc:chgData name="Nikita Emtsov (Stinson Communications Inc)" userId="8e13622e-4f5c-4340-8a97-1b61f98d3e80" providerId="ADAL" clId="{A58E44C6-F5B9-5894-9F33-424F549CF034}" dt="2025-08-20T18:57:56.132" v="2836" actId="700"/>
          <pc:sldLayoutMkLst>
            <pc:docMk/>
            <pc:sldMasterMk cId="4108814859" sldId="2147483660"/>
            <pc:sldLayoutMk cId="3608861773" sldId="2147483775"/>
          </pc:sldLayoutMkLst>
        </pc:sldLayoutChg>
      </pc:sldMasterChg>
      <pc:sldMasterChg chg="del">
        <pc:chgData name="Nikita Emtsov (Stinson Communications Inc)" userId="8e13622e-4f5c-4340-8a97-1b61f98d3e80" providerId="ADAL" clId="{A58E44C6-F5B9-5894-9F33-424F549CF034}" dt="2025-08-20T18:59:05.846" v="2848" actId="2696"/>
        <pc:sldMasterMkLst>
          <pc:docMk/>
          <pc:sldMasterMk cId="3520526072" sldId="2147483674"/>
        </pc:sldMasterMkLst>
      </pc:sldMasterChg>
      <pc:sldMasterChg chg="del">
        <pc:chgData name="Nikita Emtsov (Stinson Communications Inc)" userId="8e13622e-4f5c-4340-8a97-1b61f98d3e80" providerId="ADAL" clId="{A58E44C6-F5B9-5894-9F33-424F549CF034}" dt="2025-08-20T18:59:00.569" v="2847" actId="2696"/>
        <pc:sldMasterMkLst>
          <pc:docMk/>
          <pc:sldMasterMk cId="3157626005" sldId="2147483724"/>
        </pc:sldMasterMkLst>
      </pc:sldMasterChg>
      <pc:sldMasterChg chg="del">
        <pc:chgData name="Nikita Emtsov (Stinson Communications Inc)" userId="8e13622e-4f5c-4340-8a97-1b61f98d3e80" providerId="ADAL" clId="{A58E44C6-F5B9-5894-9F33-424F549CF034}" dt="2025-08-20T15:16:49.941" v="0" actId="2696"/>
        <pc:sldMasterMkLst>
          <pc:docMk/>
          <pc:sldMasterMk cId="3275732821" sldId="2147483776"/>
        </pc:sldMasterMkLst>
      </pc:sldMasterChg>
      <pc:sldMasterChg chg="del">
        <pc:chgData name="Nikita Emtsov (Stinson Communications Inc)" userId="8e13622e-4f5c-4340-8a97-1b61f98d3e80" providerId="ADAL" clId="{A58E44C6-F5B9-5894-9F33-424F549CF034}" dt="2025-08-20T18:58:54.988" v="2846" actId="2696"/>
        <pc:sldMasterMkLst>
          <pc:docMk/>
          <pc:sldMasterMk cId="4285840996" sldId="2147483829"/>
        </pc:sldMasterMkLst>
      </pc:sldMasterChg>
    </pc:docChg>
  </pc:docChgLst>
  <pc:docChgLst>
    <pc:chgData name="Janet Choi (Stinson Communications Inc)" userId="06879060-1dfb-448d-9a49-6512d48ad4e4" providerId="ADAL" clId="{5A6289B4-78F9-4858-BFBA-CDB5697894BF}"/>
    <pc:docChg chg="undo custSel addSld modSld modSection">
      <pc:chgData name="Janet Choi (Stinson Communications Inc)" userId="06879060-1dfb-448d-9a49-6512d48ad4e4" providerId="ADAL" clId="{5A6289B4-78F9-4858-BFBA-CDB5697894BF}" dt="2025-08-29T17:44:44.278" v="41"/>
      <pc:docMkLst>
        <pc:docMk/>
      </pc:docMkLst>
      <pc:sldChg chg="add mod modShow">
        <pc:chgData name="Janet Choi (Stinson Communications Inc)" userId="06879060-1dfb-448d-9a49-6512d48ad4e4" providerId="ADAL" clId="{5A6289B4-78F9-4858-BFBA-CDB5697894BF}" dt="2025-08-27T22:34:53.399" v="1" actId="729"/>
        <pc:sldMkLst>
          <pc:docMk/>
          <pc:sldMk cId="697981605" sldId="265"/>
        </pc:sldMkLst>
      </pc:sldChg>
      <pc:sldChg chg="modSp add">
        <pc:chgData name="Janet Choi (Stinson Communications Inc)" userId="06879060-1dfb-448d-9a49-6512d48ad4e4" providerId="ADAL" clId="{5A6289B4-78F9-4858-BFBA-CDB5697894BF}" dt="2025-08-29T17:44:44.278" v="41"/>
        <pc:sldMkLst>
          <pc:docMk/>
          <pc:sldMk cId="3550236186" sldId="2147481724"/>
        </pc:sldMkLst>
        <pc:spChg chg="mod">
          <ac:chgData name="Janet Choi (Stinson Communications Inc)" userId="06879060-1dfb-448d-9a49-6512d48ad4e4" providerId="ADAL" clId="{5A6289B4-78F9-4858-BFBA-CDB5697894BF}" dt="2025-08-29T17:44:44.278" v="41"/>
          <ac:spMkLst>
            <pc:docMk/>
            <pc:sldMk cId="3550236186" sldId="2147481724"/>
            <ac:spMk id="10" creationId="{16C1F746-9148-B552-C4F8-CB1C952F13EA}"/>
          </ac:spMkLst>
        </pc:spChg>
        <pc:picChg chg="mod">
          <ac:chgData name="Janet Choi (Stinson Communications Inc)" userId="06879060-1dfb-448d-9a49-6512d48ad4e4" providerId="ADAL" clId="{5A6289B4-78F9-4858-BFBA-CDB5697894BF}" dt="2025-08-29T17:09:51.097" v="39" actId="14826"/>
          <ac:picMkLst>
            <pc:docMk/>
            <pc:sldMk cId="3550236186" sldId="2147481724"/>
            <ac:picMk id="4" creationId="{783E6ADA-8C62-F807-CD72-9263F196F3EB}"/>
          </ac:picMkLst>
        </pc:picChg>
      </pc:sldChg>
      <pc:sldChg chg="addSp delSp modSp mod delAnim modAnim">
        <pc:chgData name="Janet Choi (Stinson Communications Inc)" userId="06879060-1dfb-448d-9a49-6512d48ad4e4" providerId="ADAL" clId="{5A6289B4-78F9-4858-BFBA-CDB5697894BF}" dt="2025-08-27T22:38:54.354" v="37" actId="1036"/>
        <pc:sldMkLst>
          <pc:docMk/>
          <pc:sldMk cId="3287539430" sldId="2147482428"/>
        </pc:sldMkLst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5" creationId="{384348EE-1692-38D1-47E6-CFE7018083D3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7" creationId="{8C38A1DC-F4EA-1060-70BA-B4B732B4DA0F}"/>
          </ac:spMkLst>
        </pc:spChg>
        <pc:spChg chg="mod">
          <ac:chgData name="Janet Choi (Stinson Communications Inc)" userId="06879060-1dfb-448d-9a49-6512d48ad4e4" providerId="ADAL" clId="{5A6289B4-78F9-4858-BFBA-CDB5697894BF}" dt="2025-08-27T22:38:54.354" v="37" actId="1036"/>
          <ac:spMkLst>
            <pc:docMk/>
            <pc:sldMk cId="3287539430" sldId="2147482428"/>
            <ac:spMk id="14" creationId="{CE5FB4BD-32FF-5D20-CDD1-99661A6FDD7F}"/>
          </ac:spMkLst>
        </pc:spChg>
        <pc:spChg chg="mod">
          <ac:chgData name="Janet Choi (Stinson Communications Inc)" userId="06879060-1dfb-448d-9a49-6512d48ad4e4" providerId="ADAL" clId="{5A6289B4-78F9-4858-BFBA-CDB5697894BF}" dt="2025-08-27T22:35:34.238" v="19" actId="1076"/>
          <ac:spMkLst>
            <pc:docMk/>
            <pc:sldMk cId="3287539430" sldId="2147482428"/>
            <ac:spMk id="15" creationId="{0380CF10-85C9-7789-FB47-AA0C339FD91D}"/>
          </ac:spMkLst>
        </pc:spChg>
        <pc:spChg chg="mod">
          <ac:chgData name="Janet Choi (Stinson Communications Inc)" userId="06879060-1dfb-448d-9a49-6512d48ad4e4" providerId="ADAL" clId="{5A6289B4-78F9-4858-BFBA-CDB5697894BF}" dt="2025-08-27T22:38:37.320" v="33"/>
          <ac:spMkLst>
            <pc:docMk/>
            <pc:sldMk cId="3287539430" sldId="2147482428"/>
            <ac:spMk id="18" creationId="{2E97AB4C-9F63-9DFB-523D-95B5D32D0DCE}"/>
          </ac:spMkLst>
        </pc:spChg>
        <pc:spChg chg="mod">
          <ac:chgData name="Janet Choi (Stinson Communications Inc)" userId="06879060-1dfb-448d-9a49-6512d48ad4e4" providerId="ADAL" clId="{5A6289B4-78F9-4858-BFBA-CDB5697894BF}" dt="2025-08-27T22:35:34.238" v="19" actId="1076"/>
          <ac:spMkLst>
            <pc:docMk/>
            <pc:sldMk cId="3287539430" sldId="2147482428"/>
            <ac:spMk id="19" creationId="{49262B24-2675-7423-EABB-0DC22622F202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24" creationId="{9EDE4133-4EEE-A65B-D2E0-DFBED2D633C6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30" creationId="{FA9B72BE-4F73-B382-434F-378C228AE941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39" creationId="{BD6A8D51-4A9B-9A64-D64C-34FAD99390D0}"/>
          </ac:spMkLst>
        </pc:spChg>
        <pc:spChg chg="mod">
          <ac:chgData name="Janet Choi (Stinson Communications Inc)" userId="06879060-1dfb-448d-9a49-6512d48ad4e4" providerId="ADAL" clId="{5A6289B4-78F9-4858-BFBA-CDB5697894BF}" dt="2025-08-27T22:38:43.855" v="36" actId="408"/>
          <ac:spMkLst>
            <pc:docMk/>
            <pc:sldMk cId="3287539430" sldId="2147482428"/>
            <ac:spMk id="40" creationId="{A64808AE-5C36-68D4-C40C-58DAA82BBD79}"/>
          </ac:spMkLst>
        </pc:spChg>
        <pc:spChg chg="mod">
          <ac:chgData name="Janet Choi (Stinson Communications Inc)" userId="06879060-1dfb-448d-9a49-6512d48ad4e4" providerId="ADAL" clId="{5A6289B4-78F9-4858-BFBA-CDB5697894BF}" dt="2025-08-27T22:38:54.354" v="37" actId="1036"/>
          <ac:spMkLst>
            <pc:docMk/>
            <pc:sldMk cId="3287539430" sldId="2147482428"/>
            <ac:spMk id="42" creationId="{7638713C-3C19-2165-EA65-2EA2796FBF43}"/>
          </ac:spMkLst>
        </pc:spChg>
        <pc:spChg chg="mod">
          <ac:chgData name="Janet Choi (Stinson Communications Inc)" userId="06879060-1dfb-448d-9a49-6512d48ad4e4" providerId="ADAL" clId="{5A6289B4-78F9-4858-BFBA-CDB5697894BF}" dt="2025-08-27T22:35:23.310" v="16" actId="1076"/>
          <ac:spMkLst>
            <pc:docMk/>
            <pc:sldMk cId="3287539430" sldId="2147482428"/>
            <ac:spMk id="43" creationId="{6ED4355F-2F03-A52D-9CEA-D01485DB2391}"/>
          </ac:spMkLst>
        </pc:spChg>
        <pc:spChg chg="mod">
          <ac:chgData name="Janet Choi (Stinson Communications Inc)" userId="06879060-1dfb-448d-9a49-6512d48ad4e4" providerId="ADAL" clId="{5A6289B4-78F9-4858-BFBA-CDB5697894BF}" dt="2025-08-27T22:35:30.960" v="18" actId="1076"/>
          <ac:spMkLst>
            <pc:docMk/>
            <pc:sldMk cId="3287539430" sldId="2147482428"/>
            <ac:spMk id="44" creationId="{9FBCFA10-D92D-97C9-3E41-A3C49DE327E3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46" creationId="{A4F5C63E-3021-40C3-83C9-BDAE0B134829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48" creationId="{48B96F19-27E5-2298-7060-9B8F66682146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50" creationId="{6E0B2535-EE3F-33C3-ED8F-2D2D5172DA8D}"/>
          </ac:spMkLst>
        </pc:spChg>
        <pc:spChg chg="mod">
          <ac:chgData name="Janet Choi (Stinson Communications Inc)" userId="06879060-1dfb-448d-9a49-6512d48ad4e4" providerId="ADAL" clId="{5A6289B4-78F9-4858-BFBA-CDB5697894BF}" dt="2025-08-27T22:38:39.254" v="35"/>
          <ac:spMkLst>
            <pc:docMk/>
            <pc:sldMk cId="3287539430" sldId="2147482428"/>
            <ac:spMk id="51" creationId="{6A8956E5-D648-B31C-8E62-653FD7FD9ED4}"/>
          </ac:spMkLst>
        </pc:spChg>
        <pc:spChg chg="mod">
          <ac:chgData name="Janet Choi (Stinson Communications Inc)" userId="06879060-1dfb-448d-9a49-6512d48ad4e4" providerId="ADAL" clId="{5A6289B4-78F9-4858-BFBA-CDB5697894BF}" dt="2025-08-27T22:38:54.354" v="37" actId="1036"/>
          <ac:spMkLst>
            <pc:docMk/>
            <pc:sldMk cId="3287539430" sldId="2147482428"/>
            <ac:spMk id="53" creationId="{C6812586-9FBE-EC30-7204-54E67A278482}"/>
          </ac:spMkLst>
        </pc:spChg>
        <pc:spChg chg="mod">
          <ac:chgData name="Janet Choi (Stinson Communications Inc)" userId="06879060-1dfb-448d-9a49-6512d48ad4e4" providerId="ADAL" clId="{5A6289B4-78F9-4858-BFBA-CDB5697894BF}" dt="2025-08-27T22:35:41.071" v="20" actId="1076"/>
          <ac:spMkLst>
            <pc:docMk/>
            <pc:sldMk cId="3287539430" sldId="2147482428"/>
            <ac:spMk id="54" creationId="{C96E70B8-85A2-E64B-AAE0-0935E10B86E0}"/>
          </ac:spMkLst>
        </pc:spChg>
        <pc:spChg chg="mod">
          <ac:chgData name="Janet Choi (Stinson Communications Inc)" userId="06879060-1dfb-448d-9a49-6512d48ad4e4" providerId="ADAL" clId="{5A6289B4-78F9-4858-BFBA-CDB5697894BF}" dt="2025-08-27T22:35:41.071" v="20" actId="1076"/>
          <ac:spMkLst>
            <pc:docMk/>
            <pc:sldMk cId="3287539430" sldId="2147482428"/>
            <ac:spMk id="55" creationId="{0C145479-2D39-F75D-E38D-777F8195DD18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57" creationId="{168B814A-FF5B-673E-596D-7EDCEDCEE28B}"/>
          </ac:spMkLst>
        </pc:spChg>
        <pc:spChg chg="mod">
          <ac:chgData name="Janet Choi (Stinson Communications Inc)" userId="06879060-1dfb-448d-9a49-6512d48ad4e4" providerId="ADAL" clId="{5A6289B4-78F9-4858-BFBA-CDB5697894BF}" dt="2025-08-27T22:35:05.262" v="3"/>
          <ac:spMkLst>
            <pc:docMk/>
            <pc:sldMk cId="3287539430" sldId="2147482428"/>
            <ac:spMk id="59" creationId="{A3DE3E61-F0E5-D597-98AA-E650C9202E54}"/>
          </ac:spMkLst>
        </pc:spChg>
        <pc:grpChg chg="mod">
          <ac:chgData name="Janet Choi (Stinson Communications Inc)" userId="06879060-1dfb-448d-9a49-6512d48ad4e4" providerId="ADAL" clId="{5A6289B4-78F9-4858-BFBA-CDB5697894BF}" dt="2025-08-27T22:37:40.841" v="25" actId="962"/>
          <ac:grpSpMkLst>
            <pc:docMk/>
            <pc:sldMk cId="3287539430" sldId="2147482428"/>
            <ac:grpSpMk id="2" creationId="{52128D74-9983-BBEB-D13A-DA561690F422}"/>
          </ac:grpSpMkLst>
        </pc:grpChg>
        <pc:grpChg chg="mod">
          <ac:chgData name="Janet Choi (Stinson Communications Inc)" userId="06879060-1dfb-448d-9a49-6512d48ad4e4" providerId="ADAL" clId="{5A6289B4-78F9-4858-BFBA-CDB5697894BF}" dt="2025-08-27T22:37:47.295" v="27" actId="962"/>
          <ac:grpSpMkLst>
            <pc:docMk/>
            <pc:sldMk cId="3287539430" sldId="2147482428"/>
            <ac:grpSpMk id="10" creationId="{67745CDC-8BF9-73B3-20FC-6CC8165CE5FA}"/>
          </ac:grpSpMkLst>
        </pc:grpChg>
        <pc:grpChg chg="mod">
          <ac:chgData name="Janet Choi (Stinson Communications Inc)" userId="06879060-1dfb-448d-9a49-6512d48ad4e4" providerId="ADAL" clId="{5A6289B4-78F9-4858-BFBA-CDB5697894BF}" dt="2025-08-27T22:37:54.378" v="29" actId="962"/>
          <ac:grpSpMkLst>
            <pc:docMk/>
            <pc:sldMk cId="3287539430" sldId="2147482428"/>
            <ac:grpSpMk id="28" creationId="{3D19A250-CA70-760D-7C73-CE8589BE3C8E}"/>
          </ac:grpSpMkLst>
        </pc:grpChg>
      </pc:sldChg>
      <pc:sldChg chg="modSp mod">
        <pc:chgData name="Janet Choi (Stinson Communications Inc)" userId="06879060-1dfb-448d-9a49-6512d48ad4e4" providerId="ADAL" clId="{5A6289B4-78F9-4858-BFBA-CDB5697894BF}" dt="2025-08-27T22:38:34.291" v="31" actId="1076"/>
        <pc:sldMkLst>
          <pc:docMk/>
          <pc:sldMk cId="2631811471" sldId="2147482452"/>
        </pc:sldMkLst>
        <pc:spChg chg="mod">
          <ac:chgData name="Janet Choi (Stinson Communications Inc)" userId="06879060-1dfb-448d-9a49-6512d48ad4e4" providerId="ADAL" clId="{5A6289B4-78F9-4858-BFBA-CDB5697894BF}" dt="2025-08-27T22:38:34.291" v="31" actId="1076"/>
          <ac:spMkLst>
            <pc:docMk/>
            <pc:sldMk cId="2631811471" sldId="2147482452"/>
            <ac:spMk id="4" creationId="{74ADC4C3-BA1B-4E08-B29E-397002C3E182}"/>
          </ac:spMkLst>
        </pc:spChg>
      </pc:sldChg>
    </pc:docChg>
  </pc:docChgLst>
  <pc:docChgLst>
    <pc:chgData name="Alisa Baez" userId="S::alisabaez@microsoft.com::5b65f9bc-eebc-4a38-838e-321fc0e1aabc" providerId="AD" clId="Web-{F07027A9-59FB-AD0B-282D-7A355DBA4554}"/>
    <pc:docChg chg="modSld">
      <pc:chgData name="Alisa Baez" userId="S::alisabaez@microsoft.com::5b65f9bc-eebc-4a38-838e-321fc0e1aabc" providerId="AD" clId="Web-{F07027A9-59FB-AD0B-282D-7A355DBA4554}" dt="2025-08-27T19:08:40.372" v="7" actId="1076"/>
      <pc:docMkLst>
        <pc:docMk/>
      </pc:docMkLst>
      <pc:sldChg chg="modSp">
        <pc:chgData name="Alisa Baez" userId="S::alisabaez@microsoft.com::5b65f9bc-eebc-4a38-838e-321fc0e1aabc" providerId="AD" clId="Web-{F07027A9-59FB-AD0B-282D-7A355DBA4554}" dt="2025-08-27T19:08:40.372" v="7" actId="1076"/>
        <pc:sldMkLst>
          <pc:docMk/>
          <pc:sldMk cId="449545953" sldId="258"/>
        </pc:sldMkLst>
        <pc:spChg chg="mod">
          <ac:chgData name="Alisa Baez" userId="S::alisabaez@microsoft.com::5b65f9bc-eebc-4a38-838e-321fc0e1aabc" providerId="AD" clId="Web-{F07027A9-59FB-AD0B-282D-7A355DBA4554}" dt="2025-08-27T19:08:40.372" v="7" actId="1076"/>
          <ac:spMkLst>
            <pc:docMk/>
            <pc:sldMk cId="449545953" sldId="258"/>
            <ac:spMk id="2" creationId="{E5B6B413-7EC1-D043-C295-B0CC8C43B03C}"/>
          </ac:spMkLst>
        </pc:spChg>
      </pc:sldChg>
      <pc:sldChg chg="modSp">
        <pc:chgData name="Alisa Baez" userId="S::alisabaez@microsoft.com::5b65f9bc-eebc-4a38-838e-321fc0e1aabc" providerId="AD" clId="Web-{F07027A9-59FB-AD0B-282D-7A355DBA4554}" dt="2025-08-27T19:08:13.136" v="5" actId="20577"/>
        <pc:sldMkLst>
          <pc:docMk/>
          <pc:sldMk cId="3974984457" sldId="2147479495"/>
        </pc:sldMkLst>
        <pc:spChg chg="mod">
          <ac:chgData name="Alisa Baez" userId="S::alisabaez@microsoft.com::5b65f9bc-eebc-4a38-838e-321fc0e1aabc" providerId="AD" clId="Web-{F07027A9-59FB-AD0B-282D-7A355DBA4554}" dt="2025-08-27T19:08:13.136" v="5" actId="20577"/>
          <ac:spMkLst>
            <pc:docMk/>
            <pc:sldMk cId="3974984457" sldId="2147479495"/>
            <ac:spMk id="4" creationId="{00000000-0000-0000-0000-000000000000}"/>
          </ac:spMkLst>
        </pc:spChg>
      </pc:sldChg>
    </pc:docChg>
  </pc:docChgLst>
  <pc:docChgLst>
    <pc:chgData name="Arba Bardhi" userId="S::arba_stinson.co#ext#@microsoft.onmicrosoft.com::74076ea0-4313-4aa1-a0fa-9deb523a689b" providerId="AD" clId="Web-{280D3522-BBE9-E57B-CBDD-9F1EFFC1FD44}"/>
    <pc:docChg chg="delSld modSld modSection">
      <pc:chgData name="Arba Bardhi" userId="S::arba_stinson.co#ext#@microsoft.onmicrosoft.com::74076ea0-4313-4aa1-a0fa-9deb523a689b" providerId="AD" clId="Web-{280D3522-BBE9-E57B-CBDD-9F1EFFC1FD44}" dt="2025-08-29T19:56:59.571" v="26"/>
      <pc:docMkLst>
        <pc:docMk/>
      </pc:docMkLst>
      <pc:sldChg chg="del">
        <pc:chgData name="Arba Bardhi" userId="S::arba_stinson.co#ext#@microsoft.onmicrosoft.com::74076ea0-4313-4aa1-a0fa-9deb523a689b" providerId="AD" clId="Web-{280D3522-BBE9-E57B-CBDD-9F1EFFC1FD44}" dt="2025-08-29T19:55:41.883" v="1"/>
        <pc:sldMkLst>
          <pc:docMk/>
          <pc:sldMk cId="2150566160" sldId="256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5:53.884" v="5"/>
        <pc:sldMkLst>
          <pc:docMk/>
          <pc:sldMk cId="449545953" sldId="258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5:55.993" v="6"/>
        <pc:sldMkLst>
          <pc:docMk/>
          <pc:sldMk cId="3150098569" sldId="261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54.149" v="24"/>
        <pc:sldMkLst>
          <pc:docMk/>
          <pc:sldMk cId="1946561525" sldId="262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59.571" v="26"/>
        <pc:sldMkLst>
          <pc:docMk/>
          <pc:sldMk cId="1411179724" sldId="263"/>
        </pc:sldMkLst>
      </pc:sldChg>
      <pc:sldChg chg="del">
        <pc:chgData name="Arba Bardhi" userId="S::arba_stinson.co#ext#@microsoft.onmicrosoft.com::74076ea0-4313-4aa1-a0fa-9deb523a689b" providerId="AD" clId="Web-{280D3522-BBE9-E57B-CBDD-9F1EFFC1FD44}" dt="2025-08-29T19:55:44.087" v="2"/>
        <pc:sldMkLst>
          <pc:docMk/>
          <pc:sldMk cId="232133931" sldId="264"/>
        </pc:sldMkLst>
      </pc:sldChg>
      <pc:sldChg chg="del">
        <pc:chgData name="Arba Bardhi" userId="S::arba_stinson.co#ext#@microsoft.onmicrosoft.com::74076ea0-4313-4aa1-a0fa-9deb523a689b" providerId="AD" clId="Web-{280D3522-BBE9-E57B-CBDD-9F1EFFC1FD44}" dt="2025-08-29T19:55:05.160" v="0"/>
        <pc:sldMkLst>
          <pc:docMk/>
          <pc:sldMk cId="697981605" sldId="265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5:50.477" v="4"/>
        <pc:sldMkLst>
          <pc:docMk/>
          <pc:sldMk cId="3974984457" sldId="2147479495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50.040" v="23"/>
        <pc:sldMkLst>
          <pc:docMk/>
          <pc:sldMk cId="3484026790" sldId="2147479524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5:47.821" v="3"/>
        <pc:sldMkLst>
          <pc:docMk/>
          <pc:sldMk cId="1150240675" sldId="2147479541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5:58.587" v="7"/>
        <pc:sldMkLst>
          <pc:docMk/>
          <pc:sldMk cId="3268515970" sldId="2147479542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39.978" v="19"/>
        <pc:sldMkLst>
          <pc:docMk/>
          <pc:sldMk cId="919518715" sldId="2147479543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56.634" v="25"/>
        <pc:sldMkLst>
          <pc:docMk/>
          <pc:sldMk cId="3423211025" sldId="2147482387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18.071" v="11"/>
        <pc:sldMkLst>
          <pc:docMk/>
          <pc:sldMk cId="1670976461" sldId="2147482414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20.509" v="12"/>
        <pc:sldMkLst>
          <pc:docMk/>
          <pc:sldMk cId="1304259571" sldId="2147482415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26.290" v="14"/>
        <pc:sldMkLst>
          <pc:docMk/>
          <pc:sldMk cId="3989037858" sldId="2147482418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33.540" v="18"/>
        <pc:sldMkLst>
          <pc:docMk/>
          <pc:sldMk cId="4224854078" sldId="2147482425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12.462" v="9"/>
        <pc:sldMkLst>
          <pc:docMk/>
          <pc:sldMk cId="3287539430" sldId="2147482428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15.696" v="10"/>
        <pc:sldMkLst>
          <pc:docMk/>
          <pc:sldMk cId="2631811471" sldId="2147482452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22.431" v="13"/>
        <pc:sldMkLst>
          <pc:docMk/>
          <pc:sldMk cId="184097499" sldId="2147482453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27.290" v="15"/>
        <pc:sldMkLst>
          <pc:docMk/>
          <pc:sldMk cId="1324689201" sldId="2147482455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41.962" v="20"/>
        <pc:sldMkLst>
          <pc:docMk/>
          <pc:sldMk cId="540148062" sldId="2147482465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44.181" v="21"/>
        <pc:sldMkLst>
          <pc:docMk/>
          <pc:sldMk cId="1135483647" sldId="2147482466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47.524" v="22"/>
        <pc:sldMkLst>
          <pc:docMk/>
          <pc:sldMk cId="1080332176" sldId="2147482469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09.993" v="8"/>
        <pc:sldMkLst>
          <pc:docMk/>
          <pc:sldMk cId="2791115817" sldId="2147483645"/>
        </pc:sldMkLst>
      </pc:sldChg>
      <pc:sldChg chg="modNotes">
        <pc:chgData name="Arba Bardhi" userId="S::arba_stinson.co#ext#@microsoft.onmicrosoft.com::74076ea0-4313-4aa1-a0fa-9deb523a689b" providerId="AD" clId="Web-{280D3522-BBE9-E57B-CBDD-9F1EFFC1FD44}" dt="2025-08-29T19:56:30.446" v="17"/>
        <pc:sldMkLst>
          <pc:docMk/>
          <pc:sldMk cId="44422868" sldId="2147483646"/>
        </pc:sldMkLst>
      </pc:sldChg>
    </pc:docChg>
  </pc:docChgLst>
  <pc:docChgLst>
    <pc:chgData name="Alisa Baez" userId="5b65f9bc-eebc-4a38-838e-321fc0e1aabc" providerId="ADAL" clId="{E2AD67BD-C883-4CE8-BB00-F09BE82F4D8E}"/>
    <pc:docChg chg="undo custSel addSld delSld modSld sldOrd modMainMaster addSection modSection">
      <pc:chgData name="Alisa Baez" userId="5b65f9bc-eebc-4a38-838e-321fc0e1aabc" providerId="ADAL" clId="{E2AD67BD-C883-4CE8-BB00-F09BE82F4D8E}" dt="2025-08-12T21:19:53.434" v="2914" actId="20577"/>
      <pc:docMkLst>
        <pc:docMk/>
      </pc:docMkLst>
      <pc:sldChg chg="add del">
        <pc:chgData name="Alisa Baez" userId="5b65f9bc-eebc-4a38-838e-321fc0e1aabc" providerId="ADAL" clId="{E2AD67BD-C883-4CE8-BB00-F09BE82F4D8E}" dt="2025-08-12T21:07:22.232" v="2812"/>
        <pc:sldMkLst>
          <pc:docMk/>
          <pc:sldMk cId="2150566160" sldId="256"/>
        </pc:sldMkLst>
      </pc:sldChg>
      <pc:sldChg chg="add del modNotesTx">
        <pc:chgData name="Alisa Baez" userId="5b65f9bc-eebc-4a38-838e-321fc0e1aabc" providerId="ADAL" clId="{E2AD67BD-C883-4CE8-BB00-F09BE82F4D8E}" dt="2025-08-12T21:16:19.690" v="2909" actId="20577"/>
        <pc:sldMkLst>
          <pc:docMk/>
          <pc:sldMk cId="232133931" sldId="264"/>
        </pc:sldMkLst>
      </pc:sldChg>
      <pc:sldChg chg="modSp add del mod">
        <pc:chgData name="Alisa Baez" userId="5b65f9bc-eebc-4a38-838e-321fc0e1aabc" providerId="ADAL" clId="{E2AD67BD-C883-4CE8-BB00-F09BE82F4D8E}" dt="2025-08-12T19:28:39.968" v="1810" actId="47"/>
        <pc:sldMkLst>
          <pc:docMk/>
          <pc:sldMk cId="2309511086" sldId="321"/>
        </pc:sldMkLst>
      </pc:sldChg>
      <pc:sldChg chg="modSp add del mod">
        <pc:chgData name="Alisa Baez" userId="5b65f9bc-eebc-4a38-838e-321fc0e1aabc" providerId="ADAL" clId="{E2AD67BD-C883-4CE8-BB00-F09BE82F4D8E}" dt="2025-08-12T20:04:04.725" v="2702" actId="47"/>
        <pc:sldMkLst>
          <pc:docMk/>
          <pc:sldMk cId="803944014" sldId="356"/>
        </pc:sldMkLst>
      </pc:sldChg>
      <pc:sldChg chg="modSp add del mod">
        <pc:chgData name="Alisa Baez" userId="5b65f9bc-eebc-4a38-838e-321fc0e1aabc" providerId="ADAL" clId="{E2AD67BD-C883-4CE8-BB00-F09BE82F4D8E}" dt="2025-08-12T19:35:07.181" v="1838" actId="47"/>
        <pc:sldMkLst>
          <pc:docMk/>
          <pc:sldMk cId="1872364881" sldId="384"/>
        </pc:sldMkLst>
      </pc:sldChg>
      <pc:sldChg chg="modSp add del mod">
        <pc:chgData name="Alisa Baez" userId="5b65f9bc-eebc-4a38-838e-321fc0e1aabc" providerId="ADAL" clId="{E2AD67BD-C883-4CE8-BB00-F09BE82F4D8E}" dt="2025-08-12T19:31:00.495" v="1827" actId="47"/>
        <pc:sldMkLst>
          <pc:docMk/>
          <pc:sldMk cId="2469806572" sldId="385"/>
        </pc:sldMkLst>
      </pc:sldChg>
      <pc:sldChg chg="modSp add del mod">
        <pc:chgData name="Alisa Baez" userId="5b65f9bc-eebc-4a38-838e-321fc0e1aabc" providerId="ADAL" clId="{E2AD67BD-C883-4CE8-BB00-F09BE82F4D8E}" dt="2025-08-12T19:28:52.496" v="1811" actId="47"/>
        <pc:sldMkLst>
          <pc:docMk/>
          <pc:sldMk cId="2929772436" sldId="479"/>
        </pc:sldMkLst>
      </pc:sldChg>
      <pc:sldChg chg="del ord modNotesTx">
        <pc:chgData name="Alisa Baez" userId="5b65f9bc-eebc-4a38-838e-321fc0e1aabc" providerId="ADAL" clId="{E2AD67BD-C883-4CE8-BB00-F09BE82F4D8E}" dt="2025-08-12T17:01:57.942" v="1729" actId="47"/>
        <pc:sldMkLst>
          <pc:docMk/>
          <pc:sldMk cId="1811665972" sldId="1524"/>
        </pc:sldMkLst>
      </pc:sldChg>
      <pc:sldChg chg="add del modNotesTx">
        <pc:chgData name="Alisa Baez" userId="5b65f9bc-eebc-4a38-838e-321fc0e1aabc" providerId="ADAL" clId="{E2AD67BD-C883-4CE8-BB00-F09BE82F4D8E}" dt="2025-08-12T19:40:53.813" v="1879" actId="47"/>
        <pc:sldMkLst>
          <pc:docMk/>
          <pc:sldMk cId="4178565498" sldId="2051"/>
        </pc:sldMkLst>
      </pc:sldChg>
      <pc:sldChg chg="del modNotesTx">
        <pc:chgData name="Alisa Baez" userId="5b65f9bc-eebc-4a38-838e-321fc0e1aabc" providerId="ADAL" clId="{E2AD67BD-C883-4CE8-BB00-F09BE82F4D8E}" dt="2025-08-12T19:29:10.818" v="1814" actId="47"/>
        <pc:sldMkLst>
          <pc:docMk/>
          <pc:sldMk cId="2139631544" sldId="2568"/>
        </pc:sldMkLst>
      </pc:sldChg>
      <pc:sldChg chg="del ord modNotesTx">
        <pc:chgData name="Alisa Baez" userId="5b65f9bc-eebc-4a38-838e-321fc0e1aabc" providerId="ADAL" clId="{E2AD67BD-C883-4CE8-BB00-F09BE82F4D8E}" dt="2025-08-12T19:39:19.279" v="1861" actId="47"/>
        <pc:sldMkLst>
          <pc:docMk/>
          <pc:sldMk cId="3465278267" sldId="2569"/>
        </pc:sldMkLst>
      </pc:sldChg>
      <pc:sldChg chg="del modNotesTx">
        <pc:chgData name="Alisa Baez" userId="5b65f9bc-eebc-4a38-838e-321fc0e1aabc" providerId="ADAL" clId="{E2AD67BD-C883-4CE8-BB00-F09BE82F4D8E}" dt="2025-08-12T19:29:14.441" v="1815" actId="47"/>
        <pc:sldMkLst>
          <pc:docMk/>
          <pc:sldMk cId="3147074580" sldId="2570"/>
        </pc:sldMkLst>
      </pc:sldChg>
      <pc:sldChg chg="del modNotesTx">
        <pc:chgData name="Alisa Baez" userId="5b65f9bc-eebc-4a38-838e-321fc0e1aabc" providerId="ADAL" clId="{E2AD67BD-C883-4CE8-BB00-F09BE82F4D8E}" dt="2025-08-12T19:38:47.079" v="1855" actId="47"/>
        <pc:sldMkLst>
          <pc:docMk/>
          <pc:sldMk cId="875694270" sldId="2572"/>
        </pc:sldMkLst>
      </pc:sldChg>
      <pc:sldChg chg="del modNotesTx">
        <pc:chgData name="Alisa Baez" userId="5b65f9bc-eebc-4a38-838e-321fc0e1aabc" providerId="ADAL" clId="{E2AD67BD-C883-4CE8-BB00-F09BE82F4D8E}" dt="2025-08-12T19:38:20.775" v="1849" actId="47"/>
        <pc:sldMkLst>
          <pc:docMk/>
          <pc:sldMk cId="4232003121" sldId="2573"/>
        </pc:sldMkLst>
      </pc:sldChg>
      <pc:sldChg chg="add del ord modNotesTx">
        <pc:chgData name="Alisa Baez" userId="5b65f9bc-eebc-4a38-838e-321fc0e1aabc" providerId="ADAL" clId="{E2AD67BD-C883-4CE8-BB00-F09BE82F4D8E}" dt="2025-08-12T19:20:29.503" v="1789" actId="47"/>
        <pc:sldMkLst>
          <pc:docMk/>
          <pc:sldMk cId="1225075969" sldId="2574"/>
        </pc:sldMkLst>
      </pc:sldChg>
      <pc:sldChg chg="del">
        <pc:chgData name="Alisa Baez" userId="5b65f9bc-eebc-4a38-838e-321fc0e1aabc" providerId="ADAL" clId="{E2AD67BD-C883-4CE8-BB00-F09BE82F4D8E}" dt="2025-08-08T17:23:11.366" v="33" actId="47"/>
        <pc:sldMkLst>
          <pc:docMk/>
          <pc:sldMk cId="613183267" sldId="2575"/>
        </pc:sldMkLst>
      </pc:sldChg>
      <pc:sldChg chg="modSp del mod ord">
        <pc:chgData name="Alisa Baez" userId="5b65f9bc-eebc-4a38-838e-321fc0e1aabc" providerId="ADAL" clId="{E2AD67BD-C883-4CE8-BB00-F09BE82F4D8E}" dt="2025-08-12T20:17:04.666" v="2760" actId="47"/>
        <pc:sldMkLst>
          <pc:docMk/>
          <pc:sldMk cId="1237815889" sldId="2076138188"/>
        </pc:sldMkLst>
      </pc:sldChg>
      <pc:sldChg chg="addSp delSp modSp del mod modNotesTx">
        <pc:chgData name="Alisa Baez" userId="5b65f9bc-eebc-4a38-838e-321fc0e1aabc" providerId="ADAL" clId="{E2AD67BD-C883-4CE8-BB00-F09BE82F4D8E}" dt="2025-08-12T17:01:37.418" v="1726" actId="47"/>
        <pc:sldMkLst>
          <pc:docMk/>
          <pc:sldMk cId="2334745238" sldId="2076138189"/>
        </pc:sldMkLst>
      </pc:sldChg>
      <pc:sldChg chg="addSp delSp modSp mod addAnim delAnim modAnim modNotesTx">
        <pc:chgData name="Alisa Baez" userId="5b65f9bc-eebc-4a38-838e-321fc0e1aabc" providerId="ADAL" clId="{E2AD67BD-C883-4CE8-BB00-F09BE82F4D8E}" dt="2025-08-12T19:40:02.101" v="1867"/>
        <pc:sldMkLst>
          <pc:docMk/>
          <pc:sldMk cId="3974984457" sldId="2147479495"/>
        </pc:sldMkLst>
        <pc:spChg chg="add del">
          <ac:chgData name="Alisa Baez" userId="5b65f9bc-eebc-4a38-838e-321fc0e1aabc" providerId="ADAL" clId="{E2AD67BD-C883-4CE8-BB00-F09BE82F4D8E}" dt="2025-08-12T19:40:01.110" v="1866" actId="478"/>
          <ac:spMkLst>
            <pc:docMk/>
            <pc:sldMk cId="3974984457" sldId="2147479495"/>
            <ac:spMk id="4" creationId="{00000000-0000-0000-0000-000000000000}"/>
          </ac:spMkLst>
        </pc:spChg>
        <pc:spChg chg="add del">
          <ac:chgData name="Alisa Baez" userId="5b65f9bc-eebc-4a38-838e-321fc0e1aabc" providerId="ADAL" clId="{E2AD67BD-C883-4CE8-BB00-F09BE82F4D8E}" dt="2025-08-12T19:40:01.110" v="1866" actId="478"/>
          <ac:spMkLst>
            <pc:docMk/>
            <pc:sldMk cId="3974984457" sldId="2147479495"/>
            <ac:spMk id="5" creationId="{00000000-0000-0000-0000-000000000000}"/>
          </ac:spMkLst>
        </pc:spChg>
      </pc:sldChg>
      <pc:sldChg chg="addSp delSp mod">
        <pc:chgData name="Alisa Baez" userId="5b65f9bc-eebc-4a38-838e-321fc0e1aabc" providerId="ADAL" clId="{E2AD67BD-C883-4CE8-BB00-F09BE82F4D8E}" dt="2025-08-12T21:03:03.542" v="2807" actId="478"/>
        <pc:sldMkLst>
          <pc:docMk/>
          <pc:sldMk cId="1796730512" sldId="2147479523"/>
        </pc:sldMkLst>
      </pc:sldChg>
      <pc:sldChg chg="modNotesTx">
        <pc:chgData name="Alisa Baez" userId="5b65f9bc-eebc-4a38-838e-321fc0e1aabc" providerId="ADAL" clId="{E2AD67BD-C883-4CE8-BB00-F09BE82F4D8E}" dt="2025-08-08T18:05:33.351" v="1266" actId="20577"/>
        <pc:sldMkLst>
          <pc:docMk/>
          <pc:sldMk cId="3484026790" sldId="2147479524"/>
        </pc:sldMkLst>
      </pc:sldChg>
      <pc:sldChg chg="addSp delSp modSp del mod ord modNotesTx">
        <pc:chgData name="Alisa Baez" userId="5b65f9bc-eebc-4a38-838e-321fc0e1aabc" providerId="ADAL" clId="{E2AD67BD-C883-4CE8-BB00-F09BE82F4D8E}" dt="2025-08-12T19:40:56.206" v="1880" actId="47"/>
        <pc:sldMkLst>
          <pc:docMk/>
          <pc:sldMk cId="4061082036" sldId="2147479528"/>
        </pc:sldMkLst>
      </pc:sldChg>
      <pc:sldChg chg="modNotesTx">
        <pc:chgData name="Alisa Baez" userId="5b65f9bc-eebc-4a38-838e-321fc0e1aabc" providerId="ADAL" clId="{E2AD67BD-C883-4CE8-BB00-F09BE82F4D8E}" dt="2025-08-08T17:55:19.846" v="418" actId="20577"/>
        <pc:sldMkLst>
          <pc:docMk/>
          <pc:sldMk cId="1150240675" sldId="2147479541"/>
        </pc:sldMkLst>
      </pc:sldChg>
      <pc:sldChg chg="modNotesTx">
        <pc:chgData name="Alisa Baez" userId="5b65f9bc-eebc-4a38-838e-321fc0e1aabc" providerId="ADAL" clId="{E2AD67BD-C883-4CE8-BB00-F09BE82F4D8E}" dt="2025-08-08T17:58:37.791" v="559" actId="20577"/>
        <pc:sldMkLst>
          <pc:docMk/>
          <pc:sldMk cId="3268515970" sldId="2147479542"/>
        </pc:sldMkLst>
      </pc:sldChg>
      <pc:sldChg chg="modNotesTx">
        <pc:chgData name="Alisa Baez" userId="5b65f9bc-eebc-4a38-838e-321fc0e1aabc" providerId="ADAL" clId="{E2AD67BD-C883-4CE8-BB00-F09BE82F4D8E}" dt="2025-08-12T21:19:53.434" v="2914" actId="20577"/>
        <pc:sldMkLst>
          <pc:docMk/>
          <pc:sldMk cId="919518715" sldId="2147479543"/>
        </pc:sldMkLst>
      </pc:sldChg>
      <pc:sldChg chg="delSp modSp add mod ord">
        <pc:chgData name="Alisa Baez" userId="5b65f9bc-eebc-4a38-838e-321fc0e1aabc" providerId="ADAL" clId="{E2AD67BD-C883-4CE8-BB00-F09BE82F4D8E}" dt="2025-08-08T17:23:09.071" v="32" actId="1076"/>
        <pc:sldMkLst>
          <pc:docMk/>
          <pc:sldMk cId="1646715211" sldId="2147479544"/>
        </pc:sldMkLst>
        <pc:spChg chg="mod">
          <ac:chgData name="Alisa Baez" userId="5b65f9bc-eebc-4a38-838e-321fc0e1aabc" providerId="ADAL" clId="{E2AD67BD-C883-4CE8-BB00-F09BE82F4D8E}" dt="2025-08-08T17:23:09.071" v="32" actId="1076"/>
          <ac:spMkLst>
            <pc:docMk/>
            <pc:sldMk cId="1646715211" sldId="2147479544"/>
            <ac:spMk id="2" creationId="{5F5C6EF4-72CB-A19B-AC05-F7774DA0014A}"/>
          </ac:spMkLst>
        </pc:spChg>
      </pc:sldChg>
      <pc:sldChg chg="add del">
        <pc:chgData name="Alisa Baez" userId="5b65f9bc-eebc-4a38-838e-321fc0e1aabc" providerId="ADAL" clId="{E2AD67BD-C883-4CE8-BB00-F09BE82F4D8E}" dt="2025-08-12T19:28:17.144" v="1809" actId="47"/>
        <pc:sldMkLst>
          <pc:docMk/>
          <pc:sldMk cId="1434557580" sldId="2147479695"/>
        </pc:sldMkLst>
      </pc:sldChg>
      <pc:sldChg chg="add del">
        <pc:chgData name="Alisa Baez" userId="5b65f9bc-eebc-4a38-838e-321fc0e1aabc" providerId="ADAL" clId="{E2AD67BD-C883-4CE8-BB00-F09BE82F4D8E}" dt="2025-08-12T19:17:50.649" v="1732" actId="47"/>
        <pc:sldMkLst>
          <pc:docMk/>
          <pc:sldMk cId="2418858766" sldId="2147482387"/>
        </pc:sldMkLst>
      </pc:sldChg>
      <pc:sldChg chg="modSp add del mod">
        <pc:chgData name="Alisa Baez" userId="5b65f9bc-eebc-4a38-838e-321fc0e1aabc" providerId="ADAL" clId="{E2AD67BD-C883-4CE8-BB00-F09BE82F4D8E}" dt="2025-08-12T19:18:08.029" v="1738"/>
        <pc:sldMkLst>
          <pc:docMk/>
          <pc:sldMk cId="3217967826" sldId="2147482387"/>
        </pc:sldMkLst>
      </pc:sldChg>
      <pc:sldChg chg="modSp add mod modNotesTx">
        <pc:chgData name="Alisa Baez" userId="5b65f9bc-eebc-4a38-838e-321fc0e1aabc" providerId="ADAL" clId="{E2AD67BD-C883-4CE8-BB00-F09BE82F4D8E}" dt="2025-08-12T21:13:02.457" v="2831" actId="255"/>
        <pc:sldMkLst>
          <pc:docMk/>
          <pc:sldMk cId="3423211025" sldId="2147482387"/>
        </pc:sldMkLst>
      </pc:sldChg>
      <pc:sldChg chg="add modNotesTx">
        <pc:chgData name="Alisa Baez" userId="5b65f9bc-eebc-4a38-838e-321fc0e1aabc" providerId="ADAL" clId="{E2AD67BD-C883-4CE8-BB00-F09BE82F4D8E}" dt="2025-08-12T19:48:19.731" v="2433" actId="6549"/>
        <pc:sldMkLst>
          <pc:docMk/>
          <pc:sldMk cId="1670976461" sldId="2147482414"/>
        </pc:sldMkLst>
      </pc:sldChg>
      <pc:sldChg chg="add modNotesTx">
        <pc:chgData name="Alisa Baez" userId="5b65f9bc-eebc-4a38-838e-321fc0e1aabc" providerId="ADAL" clId="{E2AD67BD-C883-4CE8-BB00-F09BE82F4D8E}" dt="2025-08-12T19:49:23.553" v="2443" actId="6549"/>
        <pc:sldMkLst>
          <pc:docMk/>
          <pc:sldMk cId="1304259571" sldId="2147482415"/>
        </pc:sldMkLst>
      </pc:sldChg>
      <pc:sldChg chg="add modNotesTx">
        <pc:chgData name="Alisa Baez" userId="5b65f9bc-eebc-4a38-838e-321fc0e1aabc" providerId="ADAL" clId="{E2AD67BD-C883-4CE8-BB00-F09BE82F4D8E}" dt="2025-08-12T19:53:08.728" v="2504" actId="6549"/>
        <pc:sldMkLst>
          <pc:docMk/>
          <pc:sldMk cId="3989037858" sldId="2147482418"/>
        </pc:sldMkLst>
      </pc:sldChg>
      <pc:sldChg chg="add modNotesTx">
        <pc:chgData name="Alisa Baez" userId="5b65f9bc-eebc-4a38-838e-321fc0e1aabc" providerId="ADAL" clId="{E2AD67BD-C883-4CE8-BB00-F09BE82F4D8E}" dt="2025-08-12T19:58:15.287" v="2695" actId="6549"/>
        <pc:sldMkLst>
          <pc:docMk/>
          <pc:sldMk cId="1240275874" sldId="2147482423"/>
        </pc:sldMkLst>
      </pc:sldChg>
      <pc:sldChg chg="add modNotesTx">
        <pc:chgData name="Alisa Baez" userId="5b65f9bc-eebc-4a38-838e-321fc0e1aabc" providerId="ADAL" clId="{E2AD67BD-C883-4CE8-BB00-F09BE82F4D8E}" dt="2025-08-12T21:15:32.133" v="2907" actId="6549"/>
        <pc:sldMkLst>
          <pc:docMk/>
          <pc:sldMk cId="4224854078" sldId="2147482425"/>
        </pc:sldMkLst>
      </pc:sldChg>
      <pc:sldChg chg="modSp add del mod modNotesTx">
        <pc:chgData name="Alisa Baez" userId="5b65f9bc-eebc-4a38-838e-321fc0e1aabc" providerId="ADAL" clId="{E2AD67BD-C883-4CE8-BB00-F09BE82F4D8E}" dt="2025-08-12T21:14:35.250" v="2906" actId="6549"/>
        <pc:sldMkLst>
          <pc:docMk/>
          <pc:sldMk cId="3287539430" sldId="2147482428"/>
        </pc:sldMkLst>
      </pc:sldChg>
      <pc:sldChg chg="add modNotesTx">
        <pc:chgData name="Alisa Baez" userId="5b65f9bc-eebc-4a38-838e-321fc0e1aabc" providerId="ADAL" clId="{E2AD67BD-C883-4CE8-BB00-F09BE82F4D8E}" dt="2025-08-12T19:48:06.924" v="2428" actId="20577"/>
        <pc:sldMkLst>
          <pc:docMk/>
          <pc:sldMk cId="2631811471" sldId="2147482452"/>
        </pc:sldMkLst>
      </pc:sldChg>
      <pc:sldChg chg="add modNotesTx">
        <pc:chgData name="Alisa Baez" userId="5b65f9bc-eebc-4a38-838e-321fc0e1aabc" providerId="ADAL" clId="{E2AD67BD-C883-4CE8-BB00-F09BE82F4D8E}" dt="2025-08-12T19:52:30.191" v="2493" actId="6549"/>
        <pc:sldMkLst>
          <pc:docMk/>
          <pc:sldMk cId="184097499" sldId="2147482453"/>
        </pc:sldMkLst>
      </pc:sldChg>
      <pc:sldChg chg="add modNotesTx">
        <pc:chgData name="Alisa Baez" userId="5b65f9bc-eebc-4a38-838e-321fc0e1aabc" providerId="ADAL" clId="{E2AD67BD-C883-4CE8-BB00-F09BE82F4D8E}" dt="2025-08-12T19:57:35.202" v="2690" actId="6549"/>
        <pc:sldMkLst>
          <pc:docMk/>
          <pc:sldMk cId="1882090872" sldId="2147482454"/>
        </pc:sldMkLst>
      </pc:sldChg>
      <pc:sldChg chg="delSp add modNotesTx">
        <pc:chgData name="Alisa Baez" userId="5b65f9bc-eebc-4a38-838e-321fc0e1aabc" providerId="ADAL" clId="{E2AD67BD-C883-4CE8-BB00-F09BE82F4D8E}" dt="2025-08-12T20:39:44.946" v="2802" actId="478"/>
        <pc:sldMkLst>
          <pc:docMk/>
          <pc:sldMk cId="1324689201" sldId="2147482455"/>
        </pc:sldMkLst>
      </pc:sldChg>
      <pc:sldChg chg="add setBg modNotesTx">
        <pc:chgData name="Alisa Baez" userId="5b65f9bc-eebc-4a38-838e-321fc0e1aabc" providerId="ADAL" clId="{E2AD67BD-C883-4CE8-BB00-F09BE82F4D8E}" dt="2025-08-12T19:59:14.346" v="2699" actId="6549"/>
        <pc:sldMkLst>
          <pc:docMk/>
          <pc:sldMk cId="708752407" sldId="2147482462"/>
        </pc:sldMkLst>
      </pc:sldChg>
      <pc:sldChg chg="add setBg modNotesTx">
        <pc:chgData name="Alisa Baez" userId="5b65f9bc-eebc-4a38-838e-321fc0e1aabc" providerId="ADAL" clId="{E2AD67BD-C883-4CE8-BB00-F09BE82F4D8E}" dt="2025-08-12T19:59:10.130" v="2698" actId="6549"/>
        <pc:sldMkLst>
          <pc:docMk/>
          <pc:sldMk cId="2905856033" sldId="2147482463"/>
        </pc:sldMkLst>
      </pc:sldChg>
      <pc:sldChg chg="add setBg modNotesTx">
        <pc:chgData name="Alisa Baez" userId="5b65f9bc-eebc-4a38-838e-321fc0e1aabc" providerId="ADAL" clId="{E2AD67BD-C883-4CE8-BB00-F09BE82F4D8E}" dt="2025-08-12T19:59:05.716" v="2697" actId="6549"/>
        <pc:sldMkLst>
          <pc:docMk/>
          <pc:sldMk cId="3130524820" sldId="2147482464"/>
        </pc:sldMkLst>
      </pc:sldChg>
      <pc:sldChg chg="addSp delSp modSp add mod ord addAnim delAnim modAnim modNotesTx">
        <pc:chgData name="Alisa Baez" userId="5b65f9bc-eebc-4a38-838e-321fc0e1aabc" providerId="ADAL" clId="{E2AD67BD-C883-4CE8-BB00-F09BE82F4D8E}" dt="2025-08-12T21:18:46.095" v="2911" actId="20577"/>
        <pc:sldMkLst>
          <pc:docMk/>
          <pc:sldMk cId="540148062" sldId="2147482465"/>
        </pc:sldMkLst>
      </pc:sldChg>
      <pc:sldChg chg="addSp delSp modSp add mod delAnim modNotesTx">
        <pc:chgData name="Alisa Baez" userId="5b65f9bc-eebc-4a38-838e-321fc0e1aabc" providerId="ADAL" clId="{E2AD67BD-C883-4CE8-BB00-F09BE82F4D8E}" dt="2025-08-12T21:17:56.506" v="2910" actId="20577"/>
        <pc:sldMkLst>
          <pc:docMk/>
          <pc:sldMk cId="1135483647" sldId="2147482466"/>
        </pc:sldMkLst>
      </pc:sldChg>
      <pc:sldChg chg="addSp delSp modSp add mod ord modAnim">
        <pc:chgData name="Alisa Baez" userId="5b65f9bc-eebc-4a38-838e-321fc0e1aabc" providerId="ADAL" clId="{E2AD67BD-C883-4CE8-BB00-F09BE82F4D8E}" dt="2025-08-12T21:10:08.764" v="2817" actId="1076"/>
        <pc:sldMkLst>
          <pc:docMk/>
          <pc:sldMk cId="2584422069" sldId="2147482467"/>
        </pc:sldMkLst>
      </pc:sldChg>
      <pc:sldChg chg="addSp delSp modSp add mod ord delAnim modAnim">
        <pc:chgData name="Alisa Baez" userId="5b65f9bc-eebc-4a38-838e-321fc0e1aabc" providerId="ADAL" clId="{E2AD67BD-C883-4CE8-BB00-F09BE82F4D8E}" dt="2025-08-12T19:38:42.991" v="1854"/>
        <pc:sldMkLst>
          <pc:docMk/>
          <pc:sldMk cId="1101289663" sldId="2147482468"/>
        </pc:sldMkLst>
      </pc:sldChg>
      <pc:sldChg chg="addSp delSp modSp add mod ord delAnim modAnim">
        <pc:chgData name="Alisa Baez" userId="5b65f9bc-eebc-4a38-838e-321fc0e1aabc" providerId="ADAL" clId="{E2AD67BD-C883-4CE8-BB00-F09BE82F4D8E}" dt="2025-08-12T21:09:53.069" v="2816" actId="1076"/>
        <pc:sldMkLst>
          <pc:docMk/>
          <pc:sldMk cId="1080332176" sldId="2147482469"/>
        </pc:sldMkLst>
      </pc:sldChg>
      <pc:sldChg chg="add ord setBg">
        <pc:chgData name="Alisa Baez" userId="5b65f9bc-eebc-4a38-838e-321fc0e1aabc" providerId="ADAL" clId="{E2AD67BD-C883-4CE8-BB00-F09BE82F4D8E}" dt="2025-08-12T20:18:06.568" v="2761"/>
        <pc:sldMkLst>
          <pc:docMk/>
          <pc:sldMk cId="1204247253" sldId="2147482470"/>
        </pc:sldMkLst>
      </pc:sldChg>
      <pc:sldChg chg="add del">
        <pc:chgData name="Alisa Baez" userId="5b65f9bc-eebc-4a38-838e-321fc0e1aabc" providerId="ADAL" clId="{E2AD67BD-C883-4CE8-BB00-F09BE82F4D8E}" dt="2025-08-12T19:40:45.544" v="1875"/>
        <pc:sldMkLst>
          <pc:docMk/>
          <pc:sldMk cId="499900524" sldId="2147482471"/>
        </pc:sldMkLst>
      </pc:sldChg>
      <pc:sldChg chg="add del setBg">
        <pc:chgData name="Alisa Baez" userId="5b65f9bc-eebc-4a38-838e-321fc0e1aabc" providerId="ADAL" clId="{E2AD67BD-C883-4CE8-BB00-F09BE82F4D8E}" dt="2025-08-12T20:18:06.568" v="2761"/>
        <pc:sldMkLst>
          <pc:docMk/>
          <pc:sldMk cId="681708980" sldId="2147482471"/>
        </pc:sldMkLst>
      </pc:sldChg>
      <pc:sldChg chg="add del">
        <pc:chgData name="Alisa Baez" userId="5b65f9bc-eebc-4a38-838e-321fc0e1aabc" providerId="ADAL" clId="{E2AD67BD-C883-4CE8-BB00-F09BE82F4D8E}" dt="2025-08-12T19:40:50.952" v="1877"/>
        <pc:sldMkLst>
          <pc:docMk/>
          <pc:sldMk cId="703537303" sldId="2147482471"/>
        </pc:sldMkLst>
      </pc:sldChg>
      <pc:sldChg chg="delSp modSp add del mod setBg modNotesTx">
        <pc:chgData name="Alisa Baez" userId="5b65f9bc-eebc-4a38-838e-321fc0e1aabc" providerId="ADAL" clId="{E2AD67BD-C883-4CE8-BB00-F09BE82F4D8E}" dt="2025-08-12T21:14:06.425" v="2896" actId="14100"/>
        <pc:sldMkLst>
          <pc:docMk/>
          <pc:sldMk cId="2791115817" sldId="2147483645"/>
        </pc:sldMkLst>
      </pc:sldChg>
      <pc:sldChg chg="addSp delSp modSp add del mod setBg">
        <pc:chgData name="Alisa Baez" userId="5b65f9bc-eebc-4a38-838e-321fc0e1aabc" providerId="ADAL" clId="{E2AD67BD-C883-4CE8-BB00-F09BE82F4D8E}" dt="2025-08-12T20:12:45.917" v="2746" actId="47"/>
        <pc:sldMkLst>
          <pc:docMk/>
          <pc:sldMk cId="58386902" sldId="2147483646"/>
        </pc:sldMkLst>
      </pc:sldChg>
      <pc:sldMasterChg chg="setBg delSldLayout modSldLayout">
        <pc:chgData name="Alisa Baez" userId="5b65f9bc-eebc-4a38-838e-321fc0e1aabc" providerId="ADAL" clId="{E2AD67BD-C883-4CE8-BB00-F09BE82F4D8E}" dt="2025-08-12T20:18:06.568" v="2761"/>
        <pc:sldMasterMkLst>
          <pc:docMk/>
          <pc:sldMasterMk cId="4108814859" sldId="2147483660"/>
        </pc:sldMasterMkLst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3159290300" sldId="214748366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887762371" sldId="214748366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3319788449" sldId="214748366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4173923181" sldId="214748366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956104596" sldId="214748366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1689611522" sldId="214748366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3889044358" sldId="214748366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1639463058" sldId="214748366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4220485133" sldId="214748366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1123577768" sldId="214748367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4015193407" sldId="214748367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3443454085" sldId="214748377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3608861773" sldId="214748377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108814859" sldId="2147483660"/>
            <pc:sldLayoutMk cId="4095207263" sldId="2147483859"/>
          </pc:sldLayoutMkLst>
        </pc:sldLayoutChg>
        <pc:sldLayoutChg chg="del">
          <pc:chgData name="Alisa Baez" userId="5b65f9bc-eebc-4a38-838e-321fc0e1aabc" providerId="ADAL" clId="{E2AD67BD-C883-4CE8-BB00-F09BE82F4D8E}" dt="2025-08-12T19:35:07.181" v="1838" actId="47"/>
          <pc:sldLayoutMkLst>
            <pc:docMk/>
            <pc:sldMasterMk cId="4108814859" sldId="2147483660"/>
            <pc:sldLayoutMk cId="723782135" sldId="2147483860"/>
          </pc:sldLayoutMkLst>
        </pc:sldLayoutChg>
      </pc:sldMasterChg>
      <pc:sldMasterChg chg="setBg modSldLayout">
        <pc:chgData name="Alisa Baez" userId="5b65f9bc-eebc-4a38-838e-321fc0e1aabc" providerId="ADAL" clId="{E2AD67BD-C883-4CE8-BB00-F09BE82F4D8E}" dt="2025-08-12T20:18:06.568" v="2761"/>
        <pc:sldMasterMkLst>
          <pc:docMk/>
          <pc:sldMasterMk cId="3520526072" sldId="2147483674"/>
        </pc:sldMasterMkLst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374194348" sldId="214748367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174429963" sldId="214748367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132490588" sldId="214748367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785376494" sldId="214748367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139652503" sldId="214748367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788282788" sldId="214748368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568112583" sldId="214748368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487211845" sldId="214748368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93518994" sldId="214748368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527116564" sldId="214748368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694126080" sldId="214748368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091119499" sldId="214748368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03569030" sldId="214748368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412246772" sldId="214748368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51518688" sldId="214748368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70313561" sldId="214748369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060325352" sldId="214748369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711591844" sldId="214748369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88009523" sldId="214748369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21227079" sldId="214748369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377110921" sldId="214748369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44207224" sldId="214748369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5178510" sldId="214748369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709442193" sldId="214748369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243253355" sldId="214748369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867509942" sldId="214748370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352567980" sldId="214748370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390410805" sldId="214748370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033264526" sldId="214748370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329223557" sldId="214748370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785127974" sldId="214748370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441707445" sldId="214748370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853557107" sldId="214748370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504026483" sldId="214748370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814038730" sldId="214748370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386747634" sldId="214748371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4026276055" sldId="214748371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613025423" sldId="214748371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24297801" sldId="214748371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3503361982" sldId="214748371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541238515" sldId="214748371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903937510" sldId="214748371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302076985" sldId="214748371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099871466" sldId="214748371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2342121841" sldId="214748371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990186556" sldId="214748372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76465308" sldId="214748372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1372781691" sldId="214748372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520526072" sldId="2147483674"/>
            <pc:sldLayoutMk cId="946493679" sldId="2147483723"/>
          </pc:sldLayoutMkLst>
        </pc:sldLayoutChg>
      </pc:sldMasterChg>
      <pc:sldMasterChg chg="setBg modSldLayout">
        <pc:chgData name="Alisa Baez" userId="5b65f9bc-eebc-4a38-838e-321fc0e1aabc" providerId="ADAL" clId="{E2AD67BD-C883-4CE8-BB00-F09BE82F4D8E}" dt="2025-08-12T20:18:06.568" v="2761"/>
        <pc:sldMasterMkLst>
          <pc:docMk/>
          <pc:sldMasterMk cId="3157626005" sldId="2147483724"/>
        </pc:sldMasterMkLst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11654129" sldId="214748372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272400874" sldId="214748372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86239433" sldId="214748372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939719059" sldId="214748372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612875273" sldId="214748372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065289650" sldId="214748373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529982184" sldId="214748373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031694965" sldId="214748373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273962945" sldId="214748373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286651313" sldId="214748373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483399470" sldId="214748373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722078046" sldId="214748373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64380786" sldId="214748373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310104178" sldId="214748373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411681191" sldId="214748373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152620307" sldId="214748374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571775826" sldId="214748374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605365244" sldId="214748374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356267672" sldId="214748374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933270381" sldId="214748374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741096312" sldId="214748374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022065739" sldId="214748374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902190470" sldId="214748374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246127815" sldId="214748374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839461373" sldId="214748374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662482346" sldId="214748375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748146775" sldId="214748375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235117475" sldId="214748375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608288485" sldId="214748375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262963990" sldId="214748375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035871822" sldId="214748375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609764693" sldId="214748375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711190264" sldId="214748375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052654688" sldId="214748375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762782362" sldId="214748375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414671637" sldId="214748376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524082524" sldId="214748376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294387755" sldId="214748376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530417964" sldId="214748376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840007904" sldId="214748376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676867355" sldId="214748376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599111047" sldId="214748376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1549135721" sldId="214748376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022042019" sldId="214748376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489181259" sldId="214748376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824730000" sldId="214748377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268405261" sldId="214748377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4062749883" sldId="214748377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157626005" sldId="2147483724"/>
            <pc:sldLayoutMk cId="3598633530" sldId="2147483773"/>
          </pc:sldLayoutMkLst>
        </pc:sldLayoutChg>
      </pc:sldMasterChg>
      <pc:sldMasterChg chg="setBg modSldLayout">
        <pc:chgData name="Alisa Baez" userId="5b65f9bc-eebc-4a38-838e-321fc0e1aabc" providerId="ADAL" clId="{E2AD67BD-C883-4CE8-BB00-F09BE82F4D8E}" dt="2025-08-12T20:18:06.568" v="2761"/>
        <pc:sldMasterMkLst>
          <pc:docMk/>
          <pc:sldMasterMk cId="3275732821" sldId="2147483776"/>
        </pc:sldMasterMkLst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402566036" sldId="214748377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698728098" sldId="214748377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059540756" sldId="214748377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166179850" sldId="214748378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693149410" sldId="214748378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334093773" sldId="214748378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846850935" sldId="214748378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552027419" sldId="214748378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895089752" sldId="214748378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823686685" sldId="214748378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055147071" sldId="214748378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673388306" sldId="214748378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304002318" sldId="214748378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795072284" sldId="214748379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629687420" sldId="214748379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353708069" sldId="214748379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036430088" sldId="214748379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320325088" sldId="214748379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551870934" sldId="214748379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763773980" sldId="214748379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607452808" sldId="214748379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4166915069" sldId="214748379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236572835" sldId="214748379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809522795" sldId="214748380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021302140" sldId="214748380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324158715" sldId="214748380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734569859" sldId="214748380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973103820" sldId="214748380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134991544" sldId="214748380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300093345" sldId="214748380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319845599" sldId="214748380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463022047" sldId="214748380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440758134" sldId="214748380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974387044" sldId="214748381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130109877" sldId="214748381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719767779" sldId="214748381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536438038" sldId="214748381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34836743" sldId="214748381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55708398" sldId="214748381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003548282" sldId="214748381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035568387" sldId="214748381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627016907" sldId="214748381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454069110" sldId="214748381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566457547" sldId="214748382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3297545654" sldId="214748382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402511076" sldId="214748382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590610499" sldId="214748382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1229058498" sldId="214748382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214963561" sldId="214748382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311637787" sldId="214748382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019083237" sldId="214748382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3275732821" sldId="2147483776"/>
            <pc:sldLayoutMk cId="2456661376" sldId="2147483828"/>
          </pc:sldLayoutMkLst>
        </pc:sldLayoutChg>
      </pc:sldMasterChg>
      <pc:sldMasterChg chg="setBg modSldLayout">
        <pc:chgData name="Alisa Baez" userId="5b65f9bc-eebc-4a38-838e-321fc0e1aabc" providerId="ADAL" clId="{E2AD67BD-C883-4CE8-BB00-F09BE82F4D8E}" dt="2025-08-12T20:18:06.568" v="2761"/>
        <pc:sldMasterMkLst>
          <pc:docMk/>
          <pc:sldMasterMk cId="4285840996" sldId="2147483829"/>
        </pc:sldMasterMkLst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322688962" sldId="214748383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2420006566" sldId="214748383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933936009" sldId="214748383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954036719" sldId="214748383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2649799432" sldId="214748383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715594593" sldId="214748383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583353265" sldId="214748383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206452170" sldId="214748383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3370799798" sldId="214748383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3791705522" sldId="214748383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472476205" sldId="214748384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26907950" sldId="214748384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2242752094" sldId="214748384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3507465140" sldId="214748384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296855162" sldId="214748384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643968841" sldId="214748384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4001492808" sldId="214748384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3888599068" sldId="214748384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598527137" sldId="2147483848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263687120" sldId="2147483849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129468649" sldId="2147483850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2079165226" sldId="2147483851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036317393" sldId="2147483852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2234157379" sldId="2147483853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3949026885" sldId="2147483854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3788962265" sldId="2147483855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433531464" sldId="2147483856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364734567" sldId="2147483857"/>
          </pc:sldLayoutMkLst>
        </pc:sldLayoutChg>
        <pc:sldLayoutChg chg="setBg">
          <pc:chgData name="Alisa Baez" userId="5b65f9bc-eebc-4a38-838e-321fc0e1aabc" providerId="ADAL" clId="{E2AD67BD-C883-4CE8-BB00-F09BE82F4D8E}" dt="2025-08-12T20:18:06.568" v="2761"/>
          <pc:sldLayoutMkLst>
            <pc:docMk/>
            <pc:sldMasterMk cId="4285840996" sldId="2147483829"/>
            <pc:sldLayoutMk cId="1432930820" sldId="2147483858"/>
          </pc:sldLayoutMkLst>
        </pc:sldLayoutChg>
      </pc:sldMasterChg>
    </pc:docChg>
  </pc:docChgLst>
  <pc:docChgLst>
    <pc:chgData name="Alisa Baez" userId="5b65f9bc-eebc-4a38-838e-321fc0e1aabc" providerId="ADAL" clId="{30767A76-A4E8-409C-A617-2F6B339A5009}"/>
    <pc:docChg chg="undo custSel addSld delSld modSld sldOrd modSection">
      <pc:chgData name="Alisa Baez" userId="5b65f9bc-eebc-4a38-838e-321fc0e1aabc" providerId="ADAL" clId="{30767A76-A4E8-409C-A617-2F6B339A5009}" dt="2025-07-31T22:52:35.359" v="422" actId="1076"/>
      <pc:docMkLst>
        <pc:docMk/>
      </pc:docMkLst>
      <pc:sldChg chg="addSp delSp modSp add del mod ord">
        <pc:chgData name="Alisa Baez" userId="5b65f9bc-eebc-4a38-838e-321fc0e1aabc" providerId="ADAL" clId="{30767A76-A4E8-409C-A617-2F6B339A5009}" dt="2025-07-31T22:49:45.294" v="397" actId="962"/>
        <pc:sldMkLst>
          <pc:docMk/>
          <pc:sldMk cId="1811665972" sldId="1524"/>
        </pc:sldMkLst>
      </pc:sldChg>
      <pc:sldChg chg="addSp modSp add del mod setBg">
        <pc:chgData name="Alisa Baez" userId="5b65f9bc-eebc-4a38-838e-321fc0e1aabc" providerId="ADAL" clId="{30767A76-A4E8-409C-A617-2F6B339A5009}" dt="2025-07-31T22:31:36.680" v="107" actId="47"/>
        <pc:sldMkLst>
          <pc:docMk/>
          <pc:sldMk cId="1795078537" sldId="1661"/>
        </pc:sldMkLst>
      </pc:sldChg>
      <pc:sldChg chg="addSp delSp modSp add del mod">
        <pc:chgData name="Alisa Baez" userId="5b65f9bc-eebc-4a38-838e-321fc0e1aabc" providerId="ADAL" clId="{30767A76-A4E8-409C-A617-2F6B339A5009}" dt="2025-07-31T22:51:32.959" v="413" actId="47"/>
        <pc:sldMkLst>
          <pc:docMk/>
          <pc:sldMk cId="1793706927" sldId="1670"/>
        </pc:sldMkLst>
      </pc:sldChg>
      <pc:sldChg chg="addSp delSp modSp add del mod">
        <pc:chgData name="Alisa Baez" userId="5b65f9bc-eebc-4a38-838e-321fc0e1aabc" providerId="ADAL" clId="{30767A76-A4E8-409C-A617-2F6B339A5009}" dt="2025-07-31T22:34:47.968" v="137" actId="47"/>
        <pc:sldMkLst>
          <pc:docMk/>
          <pc:sldMk cId="1490695021" sldId="1716"/>
        </pc:sldMkLst>
      </pc:sldChg>
      <pc:sldChg chg="modSp add del ord">
        <pc:chgData name="Alisa Baez" userId="5b65f9bc-eebc-4a38-838e-321fc0e1aabc" providerId="ADAL" clId="{30767A76-A4E8-409C-A617-2F6B339A5009}" dt="2025-07-31T22:50:50.466" v="403"/>
        <pc:sldMkLst>
          <pc:docMk/>
          <pc:sldMk cId="4178565498" sldId="2051"/>
        </pc:sldMkLst>
      </pc:sldChg>
      <pc:sldChg chg="del">
        <pc:chgData name="Alisa Baez" userId="5b65f9bc-eebc-4a38-838e-321fc0e1aabc" providerId="ADAL" clId="{30767A76-A4E8-409C-A617-2F6B339A5009}" dt="2025-07-31T22:21:05.037" v="32" actId="47"/>
        <pc:sldMkLst>
          <pc:docMk/>
          <pc:sldMk cId="3803282414" sldId="2561"/>
        </pc:sldMkLst>
      </pc:sldChg>
      <pc:sldChg chg="del">
        <pc:chgData name="Alisa Baez" userId="5b65f9bc-eebc-4a38-838e-321fc0e1aabc" providerId="ADAL" clId="{30767A76-A4E8-409C-A617-2F6B339A5009}" dt="2025-07-31T22:21:46.258" v="45" actId="47"/>
        <pc:sldMkLst>
          <pc:docMk/>
          <pc:sldMk cId="2951389787" sldId="2562"/>
        </pc:sldMkLst>
      </pc:sldChg>
      <pc:sldChg chg="del">
        <pc:chgData name="Alisa Baez" userId="5b65f9bc-eebc-4a38-838e-321fc0e1aabc" providerId="ADAL" clId="{30767A76-A4E8-409C-A617-2F6B339A5009}" dt="2025-07-31T22:27:35.632" v="83" actId="47"/>
        <pc:sldMkLst>
          <pc:docMk/>
          <pc:sldMk cId="2929921479" sldId="2563"/>
        </pc:sldMkLst>
      </pc:sldChg>
      <pc:sldChg chg="del">
        <pc:chgData name="Alisa Baez" userId="5b65f9bc-eebc-4a38-838e-321fc0e1aabc" providerId="ADAL" clId="{30767A76-A4E8-409C-A617-2F6B339A5009}" dt="2025-07-31T22:39:33.109" v="167" actId="47"/>
        <pc:sldMkLst>
          <pc:docMk/>
          <pc:sldMk cId="1177593998" sldId="2564"/>
        </pc:sldMkLst>
      </pc:sldChg>
      <pc:sldChg chg="del">
        <pc:chgData name="Alisa Baez" userId="5b65f9bc-eebc-4a38-838e-321fc0e1aabc" providerId="ADAL" clId="{30767A76-A4E8-409C-A617-2F6B339A5009}" dt="2025-07-31T22:42:39.811" v="196" actId="47"/>
        <pc:sldMkLst>
          <pc:docMk/>
          <pc:sldMk cId="1885451569" sldId="2565"/>
        </pc:sldMkLst>
      </pc:sldChg>
      <pc:sldChg chg="del">
        <pc:chgData name="Alisa Baez" userId="5b65f9bc-eebc-4a38-838e-321fc0e1aabc" providerId="ADAL" clId="{30767A76-A4E8-409C-A617-2F6B339A5009}" dt="2025-07-31T22:49:50.528" v="398" actId="47"/>
        <pc:sldMkLst>
          <pc:docMk/>
          <pc:sldMk cId="2357031283" sldId="2566"/>
        </pc:sldMkLst>
      </pc:sldChg>
      <pc:sldChg chg="del">
        <pc:chgData name="Alisa Baez" userId="5b65f9bc-eebc-4a38-838e-321fc0e1aabc" providerId="ADAL" clId="{30767A76-A4E8-409C-A617-2F6B339A5009}" dt="2025-07-31T22:34:27.450" v="134" actId="47"/>
        <pc:sldMkLst>
          <pc:docMk/>
          <pc:sldMk cId="793025958" sldId="2567"/>
        </pc:sldMkLst>
      </pc:sldChg>
      <pc:sldChg chg="del">
        <pc:chgData name="Alisa Baez" userId="5b65f9bc-eebc-4a38-838e-321fc0e1aabc" providerId="ADAL" clId="{30767A76-A4E8-409C-A617-2F6B339A5009}" dt="2025-07-31T22:34:40.116" v="136" actId="47"/>
        <pc:sldMkLst>
          <pc:docMk/>
          <pc:sldMk cId="3505542987" sldId="2571"/>
        </pc:sldMkLst>
      </pc:sldChg>
      <pc:sldChg chg="del">
        <pc:chgData name="Alisa Baez" userId="5b65f9bc-eebc-4a38-838e-321fc0e1aabc" providerId="ADAL" clId="{30767A76-A4E8-409C-A617-2F6B339A5009}" dt="2025-07-31T22:25:06.596" v="68" actId="47"/>
        <pc:sldMkLst>
          <pc:docMk/>
          <pc:sldMk cId="2839699632" sldId="2576"/>
        </pc:sldMkLst>
      </pc:sldChg>
      <pc:sldChg chg="del">
        <pc:chgData name="Alisa Baez" userId="5b65f9bc-eebc-4a38-838e-321fc0e1aabc" providerId="ADAL" clId="{30767A76-A4E8-409C-A617-2F6B339A5009}" dt="2025-07-31T22:33:35.642" v="124" actId="47"/>
        <pc:sldMkLst>
          <pc:docMk/>
          <pc:sldMk cId="495101839" sldId="2577"/>
        </pc:sldMkLst>
      </pc:sldChg>
      <pc:sldChg chg="modSp add del mod">
        <pc:chgData name="Alisa Baez" userId="5b65f9bc-eebc-4a38-838e-321fc0e1aabc" providerId="ADAL" clId="{30767A76-A4E8-409C-A617-2F6B339A5009}" dt="2025-07-31T22:47:00.445" v="374" actId="47"/>
        <pc:sldMkLst>
          <pc:docMk/>
          <pc:sldMk cId="510793352" sldId="2076137993"/>
        </pc:sldMkLst>
      </pc:sldChg>
      <pc:sldChg chg="modSp add del">
        <pc:chgData name="Alisa Baez" userId="5b65f9bc-eebc-4a38-838e-321fc0e1aabc" providerId="ADAL" clId="{30767A76-A4E8-409C-A617-2F6B339A5009}" dt="2025-07-31T22:37:09.092" v="153" actId="47"/>
        <pc:sldMkLst>
          <pc:docMk/>
          <pc:sldMk cId="4269075036" sldId="2076138187"/>
        </pc:sldMkLst>
      </pc:sldChg>
      <pc:sldChg chg="addSp delSp modSp add del mod modNotesTx">
        <pc:chgData name="Alisa Baez" userId="5b65f9bc-eebc-4a38-838e-321fc0e1aabc" providerId="ADAL" clId="{30767A76-A4E8-409C-A617-2F6B339A5009}" dt="2025-07-31T22:44:16.987" v="207" actId="1076"/>
        <pc:sldMkLst>
          <pc:docMk/>
          <pc:sldMk cId="1237815889" sldId="2076138188"/>
        </pc:sldMkLst>
      </pc:sldChg>
      <pc:sldChg chg="addSp modSp add mod modNotesTx">
        <pc:chgData name="Alisa Baez" userId="5b65f9bc-eebc-4a38-838e-321fc0e1aabc" providerId="ADAL" clId="{30767A76-A4E8-409C-A617-2F6B339A5009}" dt="2025-07-31T22:46:53.003" v="373" actId="20577"/>
        <pc:sldMkLst>
          <pc:docMk/>
          <pc:sldMk cId="2334745238" sldId="2076138189"/>
        </pc:sldMkLst>
      </pc:sldChg>
      <pc:sldChg chg="addSp modSp add mod">
        <pc:chgData name="Alisa Baez" userId="5b65f9bc-eebc-4a38-838e-321fc0e1aabc" providerId="ADAL" clId="{30767A76-A4E8-409C-A617-2F6B339A5009}" dt="2025-07-31T22:31:31.261" v="106" actId="20577"/>
        <pc:sldMkLst>
          <pc:docMk/>
          <pc:sldMk cId="3974984457" sldId="2147479495"/>
        </pc:sldMkLst>
        <pc:spChg chg="mod">
          <ac:chgData name="Alisa Baez" userId="5b65f9bc-eebc-4a38-838e-321fc0e1aabc" providerId="ADAL" clId="{30767A76-A4E8-409C-A617-2F6B339A5009}" dt="2025-07-31T22:30:57.199" v="94" actId="14100"/>
          <ac:spMkLst>
            <pc:docMk/>
            <pc:sldMk cId="3974984457" sldId="2147479495"/>
            <ac:spMk id="4" creationId="{00000000-0000-0000-0000-000000000000}"/>
          </ac:spMkLst>
        </pc:spChg>
        <pc:spChg chg="mod">
          <ac:chgData name="Alisa Baez" userId="5b65f9bc-eebc-4a38-838e-321fc0e1aabc" providerId="ADAL" clId="{30767A76-A4E8-409C-A617-2F6B339A5009}" dt="2025-07-31T22:31:14.649" v="96" actId="20577"/>
          <ac:spMkLst>
            <pc:docMk/>
            <pc:sldMk cId="3974984457" sldId="2147479495"/>
            <ac:spMk id="5" creationId="{00000000-0000-0000-0000-000000000000}"/>
          </ac:spMkLst>
        </pc:spChg>
      </pc:sldChg>
      <pc:sldChg chg="modSp add del mod">
        <pc:chgData name="Alisa Baez" userId="5b65f9bc-eebc-4a38-838e-321fc0e1aabc" providerId="ADAL" clId="{30767A76-A4E8-409C-A617-2F6B339A5009}" dt="2025-07-31T22:33:01.292" v="122" actId="47"/>
        <pc:sldMkLst>
          <pc:docMk/>
          <pc:sldMk cId="4100305181" sldId="2147479497"/>
        </pc:sldMkLst>
      </pc:sldChg>
      <pc:sldChg chg="add">
        <pc:chgData name="Alisa Baez" userId="5b65f9bc-eebc-4a38-838e-321fc0e1aabc" providerId="ADAL" clId="{30767A76-A4E8-409C-A617-2F6B339A5009}" dt="2025-07-31T22:33:30.702" v="123"/>
        <pc:sldMkLst>
          <pc:docMk/>
          <pc:sldMk cId="1796730512" sldId="2147479523"/>
        </pc:sldMkLst>
      </pc:sldChg>
      <pc:sldChg chg="modSp add del">
        <pc:chgData name="Alisa Baez" userId="5b65f9bc-eebc-4a38-838e-321fc0e1aabc" providerId="ADAL" clId="{30767A76-A4E8-409C-A617-2F6B339A5009}" dt="2025-07-31T22:34:38.238" v="135"/>
        <pc:sldMkLst>
          <pc:docMk/>
          <pc:sldMk cId="3484026790" sldId="2147479524"/>
        </pc:sldMkLst>
        <pc:spChg chg="mod">
          <ac:chgData name="Alisa Baez" userId="5b65f9bc-eebc-4a38-838e-321fc0e1aabc" providerId="ADAL" clId="{30767A76-A4E8-409C-A617-2F6B339A5009}" dt="2025-07-31T22:34:38.238" v="135"/>
          <ac:spMkLst>
            <pc:docMk/>
            <pc:sldMk cId="3484026790" sldId="2147479524"/>
            <ac:spMk id="2" creationId="{00000000-0000-0000-0000-000000000000}"/>
          </ac:spMkLst>
        </pc:spChg>
      </pc:sldChg>
      <pc:sldChg chg="addSp delSp modSp add del mod">
        <pc:chgData name="Alisa Baez" userId="5b65f9bc-eebc-4a38-838e-321fc0e1aabc" providerId="ADAL" clId="{30767A76-A4E8-409C-A617-2F6B339A5009}" dt="2025-07-31T22:52:35.359" v="422" actId="1076"/>
        <pc:sldMkLst>
          <pc:docMk/>
          <pc:sldMk cId="4061082036" sldId="2147479528"/>
        </pc:sldMkLst>
      </pc:sldChg>
      <pc:sldChg chg="modSp add del mod">
        <pc:chgData name="Alisa Baez" userId="5b65f9bc-eebc-4a38-838e-321fc0e1aabc" providerId="ADAL" clId="{30767A76-A4E8-409C-A617-2F6B339A5009}" dt="2025-07-31T22:30:32.562" v="91" actId="47"/>
        <pc:sldMkLst>
          <pc:docMk/>
          <pc:sldMk cId="1080857811" sldId="2147479540"/>
        </pc:sldMkLst>
      </pc:sldChg>
      <pc:sldChg chg="modSp add del mod">
        <pc:chgData name="Alisa Baez" userId="5b65f9bc-eebc-4a38-838e-321fc0e1aabc" providerId="ADAL" clId="{30767A76-A4E8-409C-A617-2F6B339A5009}" dt="2025-07-31T22:30:30.371" v="90"/>
        <pc:sldMkLst>
          <pc:docMk/>
          <pc:sldMk cId="1150240675" sldId="2147479541"/>
        </pc:sldMkLst>
        <pc:spChg chg="mod">
          <ac:chgData name="Alisa Baez" userId="5b65f9bc-eebc-4a38-838e-321fc0e1aabc" providerId="ADAL" clId="{30767A76-A4E8-409C-A617-2F6B339A5009}" dt="2025-07-31T22:30:30.328" v="89"/>
          <ac:spMkLst>
            <pc:docMk/>
            <pc:sldMk cId="1150240675" sldId="2147479541"/>
            <ac:spMk id="4" creationId="{2A810319-A1AA-7C11-749F-08396D27FD8B}"/>
          </ac:spMkLst>
        </pc:spChg>
      </pc:sldChg>
      <pc:sldChg chg="add del">
        <pc:chgData name="Alisa Baez" userId="5b65f9bc-eebc-4a38-838e-321fc0e1aabc" providerId="ADAL" clId="{30767A76-A4E8-409C-A617-2F6B339A5009}" dt="2025-07-31T22:28:08.520" v="85" actId="2890"/>
        <pc:sldMkLst>
          <pc:docMk/>
          <pc:sldMk cId="3761418766" sldId="2147479541"/>
        </pc:sldMkLst>
      </pc:sldChg>
      <pc:sldChg chg="add del">
        <pc:chgData name="Alisa Baez" userId="5b65f9bc-eebc-4a38-838e-321fc0e1aabc" providerId="ADAL" clId="{30767A76-A4E8-409C-A617-2F6B339A5009}" dt="2025-07-31T22:34:00.461" v="129"/>
        <pc:sldMkLst>
          <pc:docMk/>
          <pc:sldMk cId="1203119573" sldId="2147479542"/>
        </pc:sldMkLst>
      </pc:sldChg>
      <pc:sldChg chg="modSp add">
        <pc:chgData name="Alisa Baez" userId="5b65f9bc-eebc-4a38-838e-321fc0e1aabc" providerId="ADAL" clId="{30767A76-A4E8-409C-A617-2F6B339A5009}" dt="2025-07-31T22:34:08.696" v="131"/>
        <pc:sldMkLst>
          <pc:docMk/>
          <pc:sldMk cId="3268515970" sldId="2147479542"/>
        </pc:sldMkLst>
        <pc:spChg chg="mod">
          <ac:chgData name="Alisa Baez" userId="5b65f9bc-eebc-4a38-838e-321fc0e1aabc" providerId="ADAL" clId="{30767A76-A4E8-409C-A617-2F6B339A5009}" dt="2025-07-31T22:34:08.696" v="131"/>
          <ac:spMkLst>
            <pc:docMk/>
            <pc:sldMk cId="3268515970" sldId="2147479542"/>
            <ac:spMk id="2" creationId="{5A993602-44E8-E352-B091-31204F7D59E4}"/>
          </ac:spMkLst>
        </pc:spChg>
      </pc:sldChg>
      <pc:sldChg chg="modSp add">
        <pc:chgData name="Alisa Baez" userId="5b65f9bc-eebc-4a38-838e-321fc0e1aabc" providerId="ADAL" clId="{30767A76-A4E8-409C-A617-2F6B339A5009}" dt="2025-07-31T22:34:25.619" v="133"/>
        <pc:sldMkLst>
          <pc:docMk/>
          <pc:sldMk cId="919518715" sldId="2147479543"/>
        </pc:sldMkLst>
        <pc:spChg chg="mod">
          <ac:chgData name="Alisa Baez" userId="5b65f9bc-eebc-4a38-838e-321fc0e1aabc" providerId="ADAL" clId="{30767A76-A4E8-409C-A617-2F6B339A5009}" dt="2025-07-31T22:34:25.619" v="133"/>
          <ac:spMkLst>
            <pc:docMk/>
            <pc:sldMk cId="919518715" sldId="2147479543"/>
            <ac:spMk id="2" creationId="{88FDDCEB-87B7-967E-6623-B33E2D589C8D}"/>
          </ac:spMkLst>
        </pc:spChg>
      </pc:sldChg>
      <pc:sldMasterChg chg="delSldLayout">
        <pc:chgData name="Alisa Baez" userId="5b65f9bc-eebc-4a38-838e-321fc0e1aabc" providerId="ADAL" clId="{30767A76-A4E8-409C-A617-2F6B339A5009}" dt="2025-07-31T22:31:36.680" v="107" actId="47"/>
        <pc:sldMasterMkLst>
          <pc:docMk/>
          <pc:sldMasterMk cId="4108814859" sldId="2147483660"/>
        </pc:sldMasterMkLst>
        <pc:sldLayoutChg chg="del">
          <pc:chgData name="Alisa Baez" userId="5b65f9bc-eebc-4a38-838e-321fc0e1aabc" providerId="ADAL" clId="{30767A76-A4E8-409C-A617-2F6B339A5009}" dt="2025-07-31T22:30:32.562" v="91" actId="47"/>
          <pc:sldLayoutMkLst>
            <pc:docMk/>
            <pc:sldMasterMk cId="4108814859" sldId="2147483660"/>
            <pc:sldLayoutMk cId="420859709" sldId="2147483672"/>
          </pc:sldLayoutMkLst>
        </pc:sldLayoutChg>
        <pc:sldLayoutChg chg="del">
          <pc:chgData name="Alisa Baez" userId="5b65f9bc-eebc-4a38-838e-321fc0e1aabc" providerId="ADAL" clId="{30767A76-A4E8-409C-A617-2F6B339A5009}" dt="2025-07-31T22:31:36.680" v="107" actId="47"/>
          <pc:sldLayoutMkLst>
            <pc:docMk/>
            <pc:sldMasterMk cId="4108814859" sldId="2147483660"/>
            <pc:sldLayoutMk cId="1706228700" sldId="214748367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B9846-FD98-4754-84C1-A9332C8D39D5}" type="datetimeFigureOut">
              <a:rPr lang="en-US" smtClean="0"/>
              <a:t>11/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9DF377-C7FF-4D36-973B-0C352FB7D7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8832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F377-C7FF-4D36-973B-0C352FB7D79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943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7FF1B-79B3-1CF6-F0F7-35850727D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9BA942-5CB5-330D-A37E-25CB083EA8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2D0400-2D4A-1A61-40A2-F80273F1F7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1800" b="1" kern="100" spc="0" baseline="0" dirty="0">
              <a:solidFill>
                <a:schemeClr val="tx1"/>
              </a:solidFill>
              <a:latin typeface="Aptos"/>
              <a:cs typeface="Segoe UI Semilight" panose="020B0402040204020203" pitchFamily="34" charset="0"/>
            </a:endParaRPr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93BEBCB-C448-AF0F-580F-097F49FE4D4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02C56E-709C-825B-7CCC-C3FEB31C5F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338DDC1-CFCE-F693-3849-D24EEFC312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5230F6-B119-E876-D9F4-CEAE0DE885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774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  <a:buNone/>
            </a:pPr>
            <a:endParaRPr lang="en-US" sz="9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79948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  <a:buNone/>
            </a:pPr>
            <a:endParaRPr lang="en-US" sz="1800" b="1" kern="1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4968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  <a:buNone/>
            </a:pPr>
            <a:endParaRPr lang="en-US" sz="18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5389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BB90FB-85CD-7A8C-3CE9-A373A24E0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D8D9E8-8BE1-8FBB-49C0-905ACA71BA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A5C6D6-AABD-92E1-0777-944A445EA4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  <a:buNone/>
            </a:pPr>
            <a:endParaRPr lang="en-US" sz="9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BA30AE1-135A-2229-035C-9462427839F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E0AE63-0445-9955-777C-1DF2BE8355C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0AB267A-B953-7CD1-4E47-C55E983799B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88096B-CF7D-A2E7-3A49-87F097FAC7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5071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14B4FE-C5F1-6CB1-E2E8-D3FF4119E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994E56-DD48-7CCE-E9EC-C9C9B284BA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9E931C-4012-162D-422A-93A59020C6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D4DD799-EE0E-8FF0-5BD9-E95B5498CD8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126589-CA3F-1244-59DC-E718B8A5183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DA240D-708B-FB32-3CC5-41D83D2CD8D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03D1BE-C322-0570-39A8-E858365463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77311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47305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18BD3A-A5C2-8532-7343-8C9AFF3CA3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5EEC4E-2328-B515-1D4A-0EB4CCC209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D7EF07-5C47-ECF1-1CBA-27ED7D0CF8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3D424-F20D-D0F3-7002-ACF85A1B93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6D9E1-727D-4D12-9D7B-7DB3DB77532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87718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188C4-B357-C17E-3C54-9E84BAA10E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A8AE5D-3243-1E89-9B59-9C3BF9A05F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8BD322-80B9-AFE2-AE68-C15CE17DF2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FE098E-6774-C641-1DDE-BFD41436EF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6D9E1-727D-4D12-9D7B-7DB3DB77532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7277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29D4A-38EB-1263-837D-12B1AC8AF2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AE5120-5E07-C14D-DA22-65E3E32C4A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6DF242-B720-A0F5-D8F5-F3EA52C305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EE6F5B-5B6E-26E0-3BE7-F98D0C2797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6D9E1-727D-4D12-9D7B-7DB3DB77532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481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+mn-lt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2C61DAB-D93E-49CA-B245-379601CFE8D0}" type="datetime8">
              <a:rPr lang="en-US" smtClean="0"/>
              <a:t>11/7/25 1:30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5086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97404-C5E6-42DE-DD35-510EC2D7D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D7614E-8C1D-1C50-8DC4-CDB1B87DB6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2051FD-5A0D-28AA-3D8E-390FF60A3E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053394A-5966-2B1F-342D-2FFA0984F4AA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3EB4C8-1CDE-F004-DC35-00DBE682B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CFD5BEF-4429-723F-F2B0-6EC69B4498CD}"/>
              </a:ext>
            </a:extLst>
          </p:cNvPr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5A22D8-E8E0-9531-0617-84C67911607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0152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706ED3-EAFE-F173-6D96-F82AC22AE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79F894-B36B-8F09-EBF8-B482383496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940674-7E91-537E-AD78-49578A7428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6AB3A8F3-2363-AA75-9CC4-DE4C9057ADE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044C90-5F20-723C-24EA-20A029D6BD0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01A98D0-D287-9CAC-2BC2-E00F23D71B9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355D6B-1C35-B56B-6B60-8BEDD977BB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13038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73E9E-FCE8-4C49-7C70-45449FFB8A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E9A705-9329-B43A-D3A1-5484FF567D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545322-AD84-9F3C-9806-1BAAFDF28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A31FFA3-2ADF-40D3-7265-7B53D0347AD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2574DC-02F2-AEF4-F86A-9154E86269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ACE02A3-DFE5-00E8-5B0F-5075CAE2FFB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3719B7-7B11-9716-1D02-C2BBF2E6B6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3580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E6D4E4-DE8C-AC3F-F707-8B65C7651A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0CE48C-8D8E-2118-078C-979378432B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497BC9-33D9-824C-BF00-E455772058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0771AB-51C9-CF78-AA72-50DFA5A6C3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F377-C7FF-4D36-973B-0C352FB7D79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63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89219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DCD12C-BC4A-F51D-BA65-15305B719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F88448-FF2F-96C7-6DFE-388144DA0B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97742C-C267-98D4-B97E-DE24533E04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32F885-6CC9-CA53-9A17-2C7672C752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F377-C7FF-4D36-973B-0C352FB7D79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1797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56279E-C1FA-5942-DC99-65E56CC5A6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CF59C8-356D-827C-E64F-CEE87BA6DC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EF5B9F-A037-45A0-E203-771513CB0F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endParaRPr lang="en-US" sz="1400" b="1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922AF38-724F-5F19-D9A4-9D171B17079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47DC7-9C11-35F4-838B-D2532A41882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D835EAE-13A6-2DCD-241F-02A619709EC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254F72-E65F-CBF5-BF4F-A0D2881F7B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86203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780F7-0311-51A4-1B61-CB5C278442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F09821-7B90-94AC-B705-7F77099157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1F54A6-E719-7DE1-6468-D037734AEB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D1EE82-F09B-3349-A071-0FA7460D38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F377-C7FF-4D36-973B-0C352FB7D79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1757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B16574EE-8191-4BCC-ABE6-D00A4F4D7690}" type="datetime8">
              <a:rPr lang="en-US" smtClean="0"/>
              <a:t>11/7/25 1:30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72038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F377-C7FF-4D36-973B-0C352FB7D79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198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5F69B2-E97F-431E-9257-AEA24D6B13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0A972B-3FF4-CE3F-E854-383592545C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19AA1E-9DEE-F86E-CA1B-FBEDAAF9D5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E118D9-542B-1FF6-BABF-B1013478FF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77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95A76D-9710-E081-3A92-5E1E0EE354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877448-761C-E21A-92E6-814E8E5D63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F426AA-428F-5657-3315-22E8FC6E51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09B835-D2BB-AD2A-A484-E6F0426ADF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F377-C7FF-4D36-973B-0C352FB7D79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12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56501-4FBA-B2C2-D8AF-92E30525A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B9BF95-8B92-BE8B-AC50-00D853844B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E98CE3-F014-48FC-6531-4D75ADBFE3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792AE16-F59B-127D-A782-230BF874AD0E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6F3BC2-EFF5-902A-219E-D051E8029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DC5F2B-AA55-FF22-B481-0EA2B6EC7D1B}"/>
              </a:ext>
            </a:extLst>
          </p:cNvPr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F19A73-88F5-4B80-A929-CF8E66EE544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2B8332-C9E6-F1EE-E4AB-278E32243D5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5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Sans Display"/>
              <a:cs typeface="Segoe Sans Display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1C5814-C26D-4A5A-B06D-F29D8D0145C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679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EBF6C6-C1E6-969E-674D-5F61CDAD4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1A5382-9D50-A439-D2EF-BC8DC51F05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824D5E-82E3-D05E-8FED-17831BD5A0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800" kern="100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CED768-F7C5-8CFA-8803-487453F2619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BD39B5-D163-2DE4-B666-7DBE4CB5BA4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B081B7-3DEC-4904-18C6-4105507E704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145DC7-432F-866E-D3FA-C7CDE3E1B3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6748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Aft>
                <a:spcPts val="800"/>
              </a:spcAft>
              <a:buNone/>
            </a:pPr>
            <a:endParaRPr lang="en-US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5292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 b="1" kern="1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5 1:3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7575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emf"/></Relationships>
</file>

<file path=ppt/slideLayouts/_rels/slideLayout101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6.png"/><Relationship Id="rId4" Type="http://schemas.openxmlformats.org/officeDocument/2006/relationships/image" Target="../media/image18.emf"/></Relationships>
</file>

<file path=ppt/slideLayouts/_rels/slideLayout102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6.wdp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7.wdp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8.wdp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microsoft.com/office/2007/relationships/hdphoto" Target="../media/hdphoto19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3" Type="http://schemas.microsoft.com/office/2007/relationships/hdphoto" Target="../media/hdphoto21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3" Type="http://schemas.microsoft.com/office/2007/relationships/hdphoto" Target="../media/hdphoto22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3" Type="http://schemas.microsoft.com/office/2007/relationships/hdphoto" Target="../media/hdphoto23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3" Type="http://schemas.microsoft.com/office/2007/relationships/hdphoto" Target="../media/hdphoto24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microsoft.com/office/2007/relationships/hdphoto" Target="../media/hdphoto25.wdp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3" Type="http://schemas.microsoft.com/office/2007/relationships/hdphoto" Target="../media/hdphoto26.wdp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microsoft.com/office/2007/relationships/hdphoto" Target="../media/hdphoto27.wdp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microsoft.com/office/2007/relationships/hdphoto" Target="../media/hdphoto28.wdp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microsoft.com/office/2007/relationships/hdphoto" Target="../media/hdphoto29.wdp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3" Type="http://schemas.microsoft.com/office/2007/relationships/hdphoto" Target="../media/hdphoto30.wdp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3" Type="http://schemas.microsoft.com/office/2007/relationships/hdphoto" Target="../media/hdphoto31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33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microsoft.com/office/2007/relationships/hdphoto" Target="../media/hdphoto34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microsoft.com/office/2007/relationships/hdphoto" Target="../media/hdphoto35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3" Type="http://schemas.microsoft.com/office/2007/relationships/hdphoto" Target="../media/hdphoto36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3" Type="http://schemas.microsoft.com/office/2007/relationships/hdphoto" Target="../media/hdphoto37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8.wdp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9.wdp"/></Relationships>
</file>

<file path=ppt/slideLayouts/_rels/slideLayout148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3" Type="http://schemas.microsoft.com/office/2007/relationships/hdphoto" Target="../media/hdphoto40.wdp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microsoft.com/office/2007/relationships/hdphoto" Target="../media/hdphoto29.wdp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microsoft.com/office/2007/relationships/hdphoto" Target="../media/hdphoto41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3" Type="http://schemas.microsoft.com/office/2007/relationships/hdphoto" Target="../media/hdphoto42.wdp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3" Type="http://schemas.microsoft.com/office/2007/relationships/hdphoto" Target="../media/hdphoto43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3" Type="http://schemas.microsoft.com/office/2007/relationships/hdphoto" Target="../media/hdphoto44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3" Type="http://schemas.microsoft.com/office/2007/relationships/hdphoto" Target="../media/hdphoto32.wdp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45.wdp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46.wdp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hyperlink" Target="https://customers.microsoft.com/en-US/story/822470-ministry-of-finance-poland" TargetMode="External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emf"/></Relationships>
</file>

<file path=ppt/slideLayouts/_rels/slideLayout163.xml.rels><?xml version="1.0" encoding="UTF-8" standalone="yes"?>
<Relationships xmlns="http://schemas.openxmlformats.org/package/2006/relationships"><Relationship Id="rId3" Type="http://schemas.microsoft.com/office/2007/relationships/hdphoto" Target="../media/hdphoto47.wdp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emf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6.wdp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5.jpe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1.jpe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6.jpe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1.jpeg"/><Relationship Id="rId5" Type="http://schemas.openxmlformats.org/officeDocument/2006/relationships/image" Target="../media/image80.jpeg"/><Relationship Id="rId4" Type="http://schemas.openxmlformats.org/officeDocument/2006/relationships/image" Target="../media/image79.jpeg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emf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png"/><Relationship Id="rId4" Type="http://schemas.openxmlformats.org/officeDocument/2006/relationships/image" Target="../media/image18.emf"/></Relationships>
</file>

<file path=ppt/slideLayouts/_rels/slideLayout33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9.wdp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microsoft.com/office/2007/relationships/hdphoto" Target="../media/hdphoto1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customers.microsoft.com/en-us/story/1473366838898329344-bnymellon-banking-capital-markets-azure-en-united-states" TargetMode="External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customers.microsoft.com/en-us/story/1473366838898329344-bnymellon-banking-capital-markets-azure-en-united-states" TargetMode="External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customers.microsoft.com/en-us/story/1473366838898329344-bnymellon-banking-capital-markets-azure-en-united-states" TargetMode="External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3.wdp"/></Relationships>
</file>

<file path=ppt/slideLayouts/_rels/slideLayout76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80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customers.microsoft.com/en-US/story/822470-ministry-of-finance-poland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customers.microsoft.com/en-us/story/1473366838898329344-bnymellon-banking-capital-markets-azure-en-united-states" TargetMode="External"/><Relationship Id="rId5" Type="http://schemas.openxmlformats.org/officeDocument/2006/relationships/hyperlink" Target="https://memphis.ageas.com/newsroom/ageas-deploys-unique-gen-ai-driven-training-tool-salesforce-across-europe-asia" TargetMode="External"/><Relationship Id="rId4" Type="http://schemas.microsoft.com/office/2007/relationships/hdphoto" Target="../media/hdphoto2.wdp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emf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emf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FFC356BA-0CCE-C269-87CB-643D0FB972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585788"/>
            <a:ext cx="12192000" cy="6272212"/>
            <a:chOff x="-1" y="585788"/>
            <a:chExt cx="12192000" cy="627221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0CF277B-B5B6-8E6F-3163-7C8F3553943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805" b="6656"/>
            <a:stretch/>
          </p:blipFill>
          <p:spPr>
            <a:xfrm rot="10800000" flipV="1">
              <a:off x="-1" y="1341124"/>
              <a:ext cx="12192000" cy="5516876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76F14A2-FE1E-3588-9A9F-3B19F44E5D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939242"/>
              <a:ext cx="3653952" cy="152167"/>
              <a:chOff x="0" y="4046193"/>
              <a:chExt cx="3653952" cy="152167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F979E22-4CA9-7684-AFC0-034B59D3C6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B14E44D8-D5D1-677F-8DA1-198167CAD387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24B8CEAB-B51C-C918-BCE0-E6D9A1DF58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8398FF52-C1C3-52FC-E2CB-D231EC089B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58A8B91C-1161-5703-7D51-25068A415B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25" name="MS logo gray - EMF" descr="Microsoft logo, gray text version">
              <a:extLst>
                <a:ext uri="{FF2B5EF4-FFF2-40B4-BE49-F238E27FC236}">
                  <a16:creationId xmlns:a16="http://schemas.microsoft.com/office/drawing/2014/main" id="{5382AD6B-F5C6-7808-5134-AA5824FF8C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440" cy="29260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7A3C527-E1FE-904C-794B-694057D0A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3018912"/>
            <a:ext cx="7297928" cy="55399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13A5332-3A94-78D6-7B67-ECD35EDDAC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4321655"/>
            <a:ext cx="3069752" cy="369332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9D9E23FF-FE03-96F4-0E16-6FC85D2CE6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4809145"/>
            <a:ext cx="3069752" cy="276999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2279943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 With Graphic">
    <p:bg>
      <p:bgPr>
        <a:solidFill>
          <a:srgbClr val="F6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12EDCC3-5F98-023C-36D9-2493182DED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C527C0E-D239-1778-413E-0A0955425748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A2120261-0268-541D-F4FD-777366C6F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8F4AC3C-2DFE-9D06-A6B9-BE7C234830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Rectangle: Top Corners Rounded 32">
            <a:extLst>
              <a:ext uri="{FF2B5EF4-FFF2-40B4-BE49-F238E27FC236}">
                <a16:creationId xmlns:a16="http://schemas.microsoft.com/office/drawing/2014/main" id="{A56E7627-9C90-32AC-587D-30EBCA4C72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154580" y="402231"/>
            <a:ext cx="428613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DF5C711-B06E-707B-359E-4CDF166B6D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2087" y="2254855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54D2473C-2A58-D8C9-FF52-E6BB25EC58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436027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0C4F5873-AA53-F70C-6AD9-4AA3BAD5B6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41298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DA9ACE0-A12D-9419-6E98-BA814980A29C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40" name="Picture Placeholder 3">
              <a:extLst>
                <a:ext uri="{FF2B5EF4-FFF2-40B4-BE49-F238E27FC236}">
                  <a16:creationId xmlns:a16="http://schemas.microsoft.com/office/drawing/2014/main" id="{DB02B09D-05F0-36CF-7CB5-B17A938655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41" name="Rectangle: Rounded Corners 36">
              <a:extLst>
                <a:ext uri="{FF2B5EF4-FFF2-40B4-BE49-F238E27FC236}">
                  <a16:creationId xmlns:a16="http://schemas.microsoft.com/office/drawing/2014/main" id="{BA579001-9560-14C0-1C83-DC89C77683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42" name="Rectangle: Top Corners Rounded 6">
              <a:extLst>
                <a:ext uri="{FF2B5EF4-FFF2-40B4-BE49-F238E27FC236}">
                  <a16:creationId xmlns:a16="http://schemas.microsoft.com/office/drawing/2014/main" id="{1360BD79-F8A0-6147-555A-4AF563C78E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B8DDD0CF-5785-7003-5212-3FB4741EA9B4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ECD8292-279A-3E0C-62C1-6A50BBCBF876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45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691C4249-7407-95B6-94F2-D9037C9D1C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46" name="Graphic 16">
              <a:hlinkClick r:id="rId6"/>
              <a:extLst>
                <a:ext uri="{FF2B5EF4-FFF2-40B4-BE49-F238E27FC236}">
                  <a16:creationId xmlns:a16="http://schemas.microsoft.com/office/drawing/2014/main" id="{2DDC8BFA-FB12-2809-007D-2D81C7C21E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48CF3782-D2A3-E60C-F477-BAA1855585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7230E63A-A658-623D-0F16-E327E28AEA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803BB120-7CDC-C54F-967D-527F3B7EA0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6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9E9A91AA-A07D-0814-D6B7-8C4DF9A026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2087" y="3307564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278924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57B2CBE8-FDFC-9BB1-C4FE-0766EFF6F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10097475"/>
            <a:chOff x="0" y="0"/>
            <a:chExt cx="12192000" cy="10097475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744B96A6-18A9-F27D-BC82-FD95B47ED554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t="36328" b="28068"/>
            <a:stretch/>
          </p:blipFill>
          <p:spPr>
            <a:xfrm rot="10800000"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DEF3D33E-3DA2-FC2F-449B-18A73E7633DC}"/>
                </a:ext>
              </a:extLst>
            </p:cNvPr>
            <p:cNvSpPr/>
            <p:nvPr userDrawn="1"/>
          </p:nvSpPr>
          <p:spPr bwMode="auto">
            <a:xfrm>
              <a:off x="3436599" y="4681909"/>
              <a:ext cx="5188682" cy="2166731"/>
            </a:xfrm>
            <a:custGeom>
              <a:avLst/>
              <a:gdLst>
                <a:gd name="connsiteX0" fmla="*/ 2594341 w 5188682"/>
                <a:gd name="connsiteY0" fmla="*/ 0 h 2166731"/>
                <a:gd name="connsiteX1" fmla="*/ 5179569 w 5188682"/>
                <a:gd name="connsiteY1" fmla="*/ 2107022 h 2166731"/>
                <a:gd name="connsiteX2" fmla="*/ 5188682 w 5188682"/>
                <a:gd name="connsiteY2" fmla="*/ 2166731 h 2166731"/>
                <a:gd name="connsiteX3" fmla="*/ 0 w 5188682"/>
                <a:gd name="connsiteY3" fmla="*/ 2166731 h 2166731"/>
                <a:gd name="connsiteX4" fmla="*/ 9113 w 5188682"/>
                <a:gd name="connsiteY4" fmla="*/ 2107022 h 2166731"/>
                <a:gd name="connsiteX5" fmla="*/ 2594341 w 5188682"/>
                <a:gd name="connsiteY5" fmla="*/ 0 h 216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8682" h="2166731">
                  <a:moveTo>
                    <a:pt x="2594341" y="0"/>
                  </a:moveTo>
                  <a:cubicBezTo>
                    <a:pt x="3869558" y="0"/>
                    <a:pt x="4933507" y="904547"/>
                    <a:pt x="5179569" y="2107022"/>
                  </a:cubicBezTo>
                  <a:lnTo>
                    <a:pt x="5188682" y="2166731"/>
                  </a:lnTo>
                  <a:lnTo>
                    <a:pt x="0" y="2166731"/>
                  </a:lnTo>
                  <a:lnTo>
                    <a:pt x="9113" y="2107022"/>
                  </a:lnTo>
                  <a:cubicBezTo>
                    <a:pt x="255175" y="904547"/>
                    <a:pt x="1319124" y="0"/>
                    <a:pt x="2594341" y="0"/>
                  </a:cubicBezTo>
                  <a:close/>
                </a:path>
              </a:pathLst>
            </a:custGeom>
            <a:gradFill flip="none" rotWithShape="1">
              <a:gsLst>
                <a:gs pos="54000">
                  <a:srgbClr val="EDF0F6">
                    <a:alpha val="10000"/>
                  </a:srgbClr>
                </a:gs>
                <a:gs pos="100000">
                  <a:srgbClr val="FFFFFF">
                    <a:alpha val="7288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gradFill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3600000" scaled="0"/>
              </a:gradFill>
              <a:headEnd type="none" w="med" len="med"/>
              <a:tailEnd type="none" w="med" len="med"/>
            </a:ln>
            <a:effectLst>
              <a:outerShdw blurRad="50800" dist="50800" dir="5400000" algn="ctr" rotWithShape="0">
                <a:srgbClr val="000000">
                  <a:alpha val="31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172C55F-7F21-71C1-0ADC-D60598BAD32B}"/>
                </a:ext>
              </a:extLst>
            </p:cNvPr>
            <p:cNvGrpSpPr/>
            <p:nvPr userDrawn="1"/>
          </p:nvGrpSpPr>
          <p:grpSpPr>
            <a:xfrm>
              <a:off x="3024358" y="4279454"/>
              <a:ext cx="5797822" cy="5818021"/>
              <a:chOff x="2971805" y="4303328"/>
              <a:chExt cx="5797822" cy="5818021"/>
            </a:xfrm>
          </p:grpSpPr>
          <p:sp>
            <p:nvSpPr>
              <p:cNvPr id="7" name="Arc 6">
                <a:extLst>
                  <a:ext uri="{FF2B5EF4-FFF2-40B4-BE49-F238E27FC236}">
                    <a16:creationId xmlns:a16="http://schemas.microsoft.com/office/drawing/2014/main" id="{70EFB82A-FB2D-F53C-0194-572FDB6C3412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2971805" y="4323527"/>
                <a:ext cx="5797822" cy="5797822"/>
              </a:xfrm>
              <a:prstGeom prst="arc">
                <a:avLst>
                  <a:gd name="adj1" fmla="val 11203442"/>
                  <a:gd name="adj2" fmla="val 15972832"/>
                </a:avLst>
              </a:prstGeom>
              <a:ln w="57150">
                <a:gradFill flip="none" rotWithShape="1">
                  <a:gsLst>
                    <a:gs pos="74000">
                      <a:schemeClr val="bg1"/>
                    </a:gs>
                    <a:gs pos="0">
                      <a:srgbClr val="96D3AA"/>
                    </a:gs>
                    <a:gs pos="22000">
                      <a:srgbClr val="D4EC8E"/>
                    </a:gs>
                  </a:gsLst>
                  <a:lin ang="5400000" scaled="1"/>
                  <a:tileRect/>
                </a:gradFill>
                <a:headEnd type="none"/>
                <a:tailEnd type="none"/>
              </a:ln>
              <a:effectLst>
                <a:outerShdw blurRad="101600" dist="38100" dir="2700000" algn="tl" rotWithShape="0">
                  <a:schemeClr val="accent3">
                    <a:lumMod val="50000"/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33417F6B-8AA6-011E-3459-26B4FF96231D}"/>
                  </a:ext>
                </a:extLst>
              </p:cNvPr>
              <p:cNvSpPr/>
              <p:nvPr userDrawn="1"/>
            </p:nvSpPr>
            <p:spPr bwMode="auto">
              <a:xfrm>
                <a:off x="3912299" y="4921284"/>
                <a:ext cx="182623" cy="182623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11B8184-3236-3955-37F5-3F4B98D284E7}"/>
                  </a:ext>
                </a:extLst>
              </p:cNvPr>
              <p:cNvSpPr/>
              <p:nvPr userDrawn="1"/>
            </p:nvSpPr>
            <p:spPr bwMode="auto">
              <a:xfrm>
                <a:off x="3054426" y="6155640"/>
                <a:ext cx="182623" cy="182623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A0C1C10-5E0E-8102-ED3B-1F53AA11BC6F}"/>
                  </a:ext>
                </a:extLst>
              </p:cNvPr>
              <p:cNvSpPr/>
              <p:nvPr userDrawn="1"/>
            </p:nvSpPr>
            <p:spPr bwMode="auto">
              <a:xfrm>
                <a:off x="5140161" y="4303328"/>
                <a:ext cx="182623" cy="182623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E468630-E6B7-904B-EC1F-320F2D04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820604"/>
              <a:ext cx="3653952" cy="152167"/>
              <a:chOff x="0" y="4046193"/>
              <a:chExt cx="3653952" cy="152167"/>
            </a:xfrm>
            <a:effectLst>
              <a:outerShdw blurRad="165100" dist="38100" dir="2700000" algn="tl" rotWithShape="0">
                <a:schemeClr val="accent3">
                  <a:lumMod val="50000"/>
                  <a:alpha val="28000"/>
                </a:schemeClr>
              </a:outerShdw>
            </a:effectLst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68655D6-79C0-E38A-8F64-C9E1F64B43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017255C-A7C9-2E7C-921E-956C7106363D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145CE734-AF0C-B6AB-AE16-F2F876428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167518D5-C4C0-A7A6-FC85-4AD4CAE8A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6CF91D53-7D11-01EC-A06A-26E50A89B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4" name="MS logo white - EMF" descr="Microsoft logo white text version">
              <a:extLst>
                <a:ext uri="{FF2B5EF4-FFF2-40B4-BE49-F238E27FC236}">
                  <a16:creationId xmlns:a16="http://schemas.microsoft.com/office/drawing/2014/main" id="{88375748-275D-5C36-977C-87AC454336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245" cy="292608"/>
            </a:xfrm>
            <a:prstGeom prst="rect">
              <a:avLst/>
            </a:prstGeom>
          </p:spPr>
        </p:pic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264878"/>
            <a:ext cx="5130800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bg1"/>
                </a:solidFill>
                <a:latin typeface="+mj-lt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2312FAA-5B4A-C15C-02BB-37F5A78234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4199" y="4173876"/>
            <a:ext cx="3069752" cy="369332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4199" y="4767395"/>
            <a:ext cx="3069752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bg1"/>
                </a:solidFill>
                <a:latin typeface="+mn-lt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ln w="6350">
            <a:noFill/>
          </a:ln>
          <a:effectLst>
            <a:outerShdw blurRad="215776" dist="38100" dir="13500000" algn="br" rotWithShape="0">
              <a:schemeClr val="tx1">
                <a:lumMod val="90000"/>
                <a:lumOff val="10000"/>
                <a:alpha val="52000"/>
              </a:schemeClr>
            </a:outerShdw>
          </a:effectLst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4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EC56C793-FAC2-443D-161C-C950792E6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10097475"/>
            <a:chOff x="0" y="0"/>
            <a:chExt cx="12192000" cy="1009747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FC6C245-554F-0505-8894-E8552AD5AB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AE2D34E-9E32-36C1-5EB7-C9CCE19A8E61}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chemeClr val="accent6">
                    <a:alpha val="0"/>
                  </a:schemeClr>
                </a:gs>
                <a:gs pos="18000">
                  <a:srgbClr val="57B9C5">
                    <a:alpha val="71000"/>
                  </a:srgbClr>
                </a:gs>
                <a:gs pos="100000">
                  <a:schemeClr val="accent3">
                    <a:lumMod val="50000"/>
                    <a:alpha val="88000"/>
                  </a:schemeClr>
                </a:gs>
              </a:gsLst>
              <a:path path="circle">
                <a:fillToRect l="100000" t="100000"/>
              </a:path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DEF3D33E-3DA2-FC2F-449B-18A73E7633DC}"/>
                </a:ext>
              </a:extLst>
            </p:cNvPr>
            <p:cNvSpPr/>
            <p:nvPr userDrawn="1"/>
          </p:nvSpPr>
          <p:spPr bwMode="auto">
            <a:xfrm>
              <a:off x="3436599" y="4681909"/>
              <a:ext cx="5188682" cy="2166731"/>
            </a:xfrm>
            <a:custGeom>
              <a:avLst/>
              <a:gdLst>
                <a:gd name="connsiteX0" fmla="*/ 2594341 w 5188682"/>
                <a:gd name="connsiteY0" fmla="*/ 0 h 2166731"/>
                <a:gd name="connsiteX1" fmla="*/ 5179569 w 5188682"/>
                <a:gd name="connsiteY1" fmla="*/ 2107022 h 2166731"/>
                <a:gd name="connsiteX2" fmla="*/ 5188682 w 5188682"/>
                <a:gd name="connsiteY2" fmla="*/ 2166731 h 2166731"/>
                <a:gd name="connsiteX3" fmla="*/ 0 w 5188682"/>
                <a:gd name="connsiteY3" fmla="*/ 2166731 h 2166731"/>
                <a:gd name="connsiteX4" fmla="*/ 9113 w 5188682"/>
                <a:gd name="connsiteY4" fmla="*/ 2107022 h 2166731"/>
                <a:gd name="connsiteX5" fmla="*/ 2594341 w 5188682"/>
                <a:gd name="connsiteY5" fmla="*/ 0 h 216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8682" h="2166731">
                  <a:moveTo>
                    <a:pt x="2594341" y="0"/>
                  </a:moveTo>
                  <a:cubicBezTo>
                    <a:pt x="3869558" y="0"/>
                    <a:pt x="4933507" y="904547"/>
                    <a:pt x="5179569" y="2107022"/>
                  </a:cubicBezTo>
                  <a:lnTo>
                    <a:pt x="5188682" y="2166731"/>
                  </a:lnTo>
                  <a:lnTo>
                    <a:pt x="0" y="2166731"/>
                  </a:lnTo>
                  <a:lnTo>
                    <a:pt x="9113" y="2107022"/>
                  </a:lnTo>
                  <a:cubicBezTo>
                    <a:pt x="255175" y="904547"/>
                    <a:pt x="1319124" y="0"/>
                    <a:pt x="2594341" y="0"/>
                  </a:cubicBezTo>
                  <a:close/>
                </a:path>
              </a:pathLst>
            </a:custGeom>
            <a:gradFill flip="none" rotWithShape="1">
              <a:gsLst>
                <a:gs pos="54000">
                  <a:srgbClr val="EDF0F6">
                    <a:alpha val="10000"/>
                  </a:srgbClr>
                </a:gs>
                <a:gs pos="100000">
                  <a:srgbClr val="FFFFFF">
                    <a:alpha val="7288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gradFill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3600000" scaled="0"/>
              </a:gradFill>
              <a:headEnd type="none" w="med" len="med"/>
              <a:tailEnd type="none" w="med" len="med"/>
            </a:ln>
            <a:effectLst>
              <a:outerShdw blurRad="50800" dist="50800" dir="5400000" algn="ctr" rotWithShape="0">
                <a:srgbClr val="000000">
                  <a:alpha val="31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172C55F-7F21-71C1-0ADC-D60598BAD32B}"/>
                </a:ext>
              </a:extLst>
            </p:cNvPr>
            <p:cNvGrpSpPr/>
            <p:nvPr userDrawn="1"/>
          </p:nvGrpSpPr>
          <p:grpSpPr>
            <a:xfrm>
              <a:off x="3024358" y="4279454"/>
              <a:ext cx="5797822" cy="5818021"/>
              <a:chOff x="2971805" y="4303328"/>
              <a:chExt cx="5797822" cy="5818021"/>
            </a:xfrm>
          </p:grpSpPr>
          <p:sp>
            <p:nvSpPr>
              <p:cNvPr id="7" name="Arc 6">
                <a:extLst>
                  <a:ext uri="{FF2B5EF4-FFF2-40B4-BE49-F238E27FC236}">
                    <a16:creationId xmlns:a16="http://schemas.microsoft.com/office/drawing/2014/main" id="{70EFB82A-FB2D-F53C-0194-572FDB6C3412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2971805" y="4323527"/>
                <a:ext cx="5797822" cy="5797822"/>
              </a:xfrm>
              <a:prstGeom prst="arc">
                <a:avLst>
                  <a:gd name="adj1" fmla="val 11203442"/>
                  <a:gd name="adj2" fmla="val 15972832"/>
                </a:avLst>
              </a:prstGeom>
              <a:ln w="57150">
                <a:gradFill flip="none" rotWithShape="1">
                  <a:gsLst>
                    <a:gs pos="74000">
                      <a:schemeClr val="bg1"/>
                    </a:gs>
                    <a:gs pos="0">
                      <a:srgbClr val="96D3AA"/>
                    </a:gs>
                    <a:gs pos="22000">
                      <a:srgbClr val="D4EC8E"/>
                    </a:gs>
                  </a:gsLst>
                  <a:lin ang="5400000" scaled="1"/>
                  <a:tileRect/>
                </a:gradFill>
                <a:headEnd type="none"/>
                <a:tailEnd type="none"/>
              </a:ln>
              <a:effectLst>
                <a:outerShdw blurRad="101600" dist="38100" dir="2700000" algn="tl" rotWithShape="0">
                  <a:schemeClr val="accent3">
                    <a:lumMod val="50000"/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33417F6B-8AA6-011E-3459-26B4FF96231D}"/>
                  </a:ext>
                </a:extLst>
              </p:cNvPr>
              <p:cNvSpPr/>
              <p:nvPr userDrawn="1"/>
            </p:nvSpPr>
            <p:spPr bwMode="auto">
              <a:xfrm>
                <a:off x="3912299" y="4921284"/>
                <a:ext cx="182623" cy="182623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11B8184-3236-3955-37F5-3F4B98D284E7}"/>
                  </a:ext>
                </a:extLst>
              </p:cNvPr>
              <p:cNvSpPr/>
              <p:nvPr userDrawn="1"/>
            </p:nvSpPr>
            <p:spPr bwMode="auto">
              <a:xfrm>
                <a:off x="3054426" y="6155640"/>
                <a:ext cx="182623" cy="182623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A0C1C10-5E0E-8102-ED3B-1F53AA11BC6F}"/>
                  </a:ext>
                </a:extLst>
              </p:cNvPr>
              <p:cNvSpPr/>
              <p:nvPr userDrawn="1"/>
            </p:nvSpPr>
            <p:spPr bwMode="auto">
              <a:xfrm>
                <a:off x="5140161" y="4303328"/>
                <a:ext cx="182623" cy="182623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E468630-E6B7-904B-EC1F-320F2D04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820604"/>
              <a:ext cx="3653952" cy="152167"/>
              <a:chOff x="0" y="4046193"/>
              <a:chExt cx="3653952" cy="152167"/>
            </a:xfrm>
            <a:effectLst>
              <a:outerShdw blurRad="165100" dist="38100" dir="2700000" algn="tl" rotWithShape="0">
                <a:schemeClr val="accent3">
                  <a:lumMod val="50000"/>
                  <a:alpha val="28000"/>
                </a:schemeClr>
              </a:outerShdw>
            </a:effectLst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68655D6-79C0-E38A-8F64-C9E1F64B43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017255C-A7C9-2E7C-921E-956C7106363D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145CE734-AF0C-B6AB-AE16-F2F876428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167518D5-C4C0-A7A6-FC85-4AD4CAE8A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6CF91D53-7D11-01EC-A06A-26E50A89B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4" name="MS logo white - EMF" descr="Microsoft logo white text version">
              <a:extLst>
                <a:ext uri="{FF2B5EF4-FFF2-40B4-BE49-F238E27FC236}">
                  <a16:creationId xmlns:a16="http://schemas.microsoft.com/office/drawing/2014/main" id="{88375748-275D-5C36-977C-87AC454336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245" cy="292608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17EC7D63-53A0-0F92-7865-56E8CA00F4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91830" y="1341784"/>
              <a:ext cx="6700170" cy="5516216"/>
            </a:xfrm>
            <a:custGeom>
              <a:avLst/>
              <a:gdLst>
                <a:gd name="connsiteX0" fmla="*/ 3850011 w 6700170"/>
                <a:gd name="connsiteY0" fmla="*/ 0 h 5516216"/>
                <a:gd name="connsiteX1" fmla="*/ 6572380 w 6700170"/>
                <a:gd name="connsiteY1" fmla="*/ 1127642 h 5516216"/>
                <a:gd name="connsiteX2" fmla="*/ 6700170 w 6700170"/>
                <a:gd name="connsiteY2" fmla="*/ 1268247 h 5516216"/>
                <a:gd name="connsiteX3" fmla="*/ 6700170 w 6700170"/>
                <a:gd name="connsiteY3" fmla="*/ 5516216 h 5516216"/>
                <a:gd name="connsiteX4" fmla="*/ 378327 w 6700170"/>
                <a:gd name="connsiteY4" fmla="*/ 5516216 h 5516216"/>
                <a:gd name="connsiteX5" fmla="*/ 302553 w 6700170"/>
                <a:gd name="connsiteY5" fmla="*/ 5348609 h 5516216"/>
                <a:gd name="connsiteX6" fmla="*/ 0 w 6700170"/>
                <a:gd name="connsiteY6" fmla="*/ 3850011 h 5516216"/>
                <a:gd name="connsiteX7" fmla="*/ 3850011 w 6700170"/>
                <a:gd name="connsiteY7" fmla="*/ 0 h 55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0170" h="5516216">
                  <a:moveTo>
                    <a:pt x="3850011" y="0"/>
                  </a:moveTo>
                  <a:cubicBezTo>
                    <a:pt x="4913162" y="0"/>
                    <a:pt x="5875665" y="430927"/>
                    <a:pt x="6572380" y="1127642"/>
                  </a:cubicBezTo>
                  <a:lnTo>
                    <a:pt x="6700170" y="1268247"/>
                  </a:lnTo>
                  <a:lnTo>
                    <a:pt x="6700170" y="5516216"/>
                  </a:lnTo>
                  <a:lnTo>
                    <a:pt x="378327" y="5516216"/>
                  </a:lnTo>
                  <a:lnTo>
                    <a:pt x="302553" y="5348609"/>
                  </a:lnTo>
                  <a:cubicBezTo>
                    <a:pt x="107732" y="4888000"/>
                    <a:pt x="0" y="4381587"/>
                    <a:pt x="0" y="3850011"/>
                  </a:cubicBezTo>
                  <a:cubicBezTo>
                    <a:pt x="0" y="1723709"/>
                    <a:pt x="1723709" y="0"/>
                    <a:pt x="3850011" y="0"/>
                  </a:cubicBezTo>
                  <a:close/>
                </a:path>
              </a:pathLst>
            </a:custGeom>
            <a:noFill/>
            <a:ln w="6350">
              <a:solidFill>
                <a:srgbClr val="FFFFFF">
                  <a:alpha val="80000"/>
                </a:srgbClr>
              </a:solidFill>
            </a:ln>
            <a:effectLst>
              <a:outerShdw blurRad="228600" dist="38100" dir="13500000" algn="br" rotWithShape="0">
                <a:schemeClr val="bg1">
                  <a:lumMod val="50000"/>
                  <a:alpha val="19544"/>
                </a:schemeClr>
              </a:outerShdw>
            </a:effectLst>
          </p:spPr>
        </p:pic>
        <p:sp>
          <p:nvSpPr>
            <p:cNvPr id="27" name="Free-form: Shape 19">
              <a:extLst>
                <a:ext uri="{FF2B5EF4-FFF2-40B4-BE49-F238E27FC236}">
                  <a16:creationId xmlns:a16="http://schemas.microsoft.com/office/drawing/2014/main" id="{7E7F94FA-531A-8D45-10E2-01EF93C85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491830" y="1341784"/>
              <a:ext cx="6700170" cy="5516216"/>
            </a:xfrm>
            <a:custGeom>
              <a:avLst/>
              <a:gdLst>
                <a:gd name="connsiteX0" fmla="*/ 3850011 w 6700170"/>
                <a:gd name="connsiteY0" fmla="*/ 0 h 5516216"/>
                <a:gd name="connsiteX1" fmla="*/ 6572380 w 6700170"/>
                <a:gd name="connsiteY1" fmla="*/ 1127642 h 5516216"/>
                <a:gd name="connsiteX2" fmla="*/ 6700170 w 6700170"/>
                <a:gd name="connsiteY2" fmla="*/ 1268247 h 5516216"/>
                <a:gd name="connsiteX3" fmla="*/ 6700170 w 6700170"/>
                <a:gd name="connsiteY3" fmla="*/ 5516216 h 5516216"/>
                <a:gd name="connsiteX4" fmla="*/ 378327 w 6700170"/>
                <a:gd name="connsiteY4" fmla="*/ 5516216 h 5516216"/>
                <a:gd name="connsiteX5" fmla="*/ 302553 w 6700170"/>
                <a:gd name="connsiteY5" fmla="*/ 5348609 h 5516216"/>
                <a:gd name="connsiteX6" fmla="*/ 0 w 6700170"/>
                <a:gd name="connsiteY6" fmla="*/ 3850011 h 5516216"/>
                <a:gd name="connsiteX7" fmla="*/ 3850011 w 6700170"/>
                <a:gd name="connsiteY7" fmla="*/ 0 h 55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0170" h="5516216">
                  <a:moveTo>
                    <a:pt x="3850011" y="0"/>
                  </a:moveTo>
                  <a:cubicBezTo>
                    <a:pt x="4913162" y="0"/>
                    <a:pt x="5875665" y="430927"/>
                    <a:pt x="6572380" y="1127642"/>
                  </a:cubicBezTo>
                  <a:lnTo>
                    <a:pt x="6700170" y="1268247"/>
                  </a:lnTo>
                  <a:lnTo>
                    <a:pt x="6700170" y="5516216"/>
                  </a:lnTo>
                  <a:lnTo>
                    <a:pt x="378327" y="5516216"/>
                  </a:lnTo>
                  <a:lnTo>
                    <a:pt x="302553" y="5348609"/>
                  </a:lnTo>
                  <a:cubicBezTo>
                    <a:pt x="107732" y="4888000"/>
                    <a:pt x="0" y="4381587"/>
                    <a:pt x="0" y="3850011"/>
                  </a:cubicBezTo>
                  <a:cubicBezTo>
                    <a:pt x="0" y="1723709"/>
                    <a:pt x="1723709" y="0"/>
                    <a:pt x="3850011" y="0"/>
                  </a:cubicBezTo>
                  <a:close/>
                </a:path>
              </a:pathLst>
            </a:custGeom>
            <a:solidFill>
              <a:srgbClr val="EDF0F6">
                <a:alpha val="14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Free-form: Shape 19">
              <a:extLst>
                <a:ext uri="{FF2B5EF4-FFF2-40B4-BE49-F238E27FC236}">
                  <a16:creationId xmlns:a16="http://schemas.microsoft.com/office/drawing/2014/main" id="{7DC37CE4-16B0-082E-F5AE-27E478D180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491830" y="1341784"/>
              <a:ext cx="6700170" cy="5516216"/>
            </a:xfrm>
            <a:custGeom>
              <a:avLst/>
              <a:gdLst>
                <a:gd name="connsiteX0" fmla="*/ 3850011 w 6700170"/>
                <a:gd name="connsiteY0" fmla="*/ 0 h 5516216"/>
                <a:gd name="connsiteX1" fmla="*/ 6572380 w 6700170"/>
                <a:gd name="connsiteY1" fmla="*/ 1127642 h 5516216"/>
                <a:gd name="connsiteX2" fmla="*/ 6700170 w 6700170"/>
                <a:gd name="connsiteY2" fmla="*/ 1268247 h 5516216"/>
                <a:gd name="connsiteX3" fmla="*/ 6700170 w 6700170"/>
                <a:gd name="connsiteY3" fmla="*/ 5516216 h 5516216"/>
                <a:gd name="connsiteX4" fmla="*/ 378327 w 6700170"/>
                <a:gd name="connsiteY4" fmla="*/ 5516216 h 5516216"/>
                <a:gd name="connsiteX5" fmla="*/ 302553 w 6700170"/>
                <a:gd name="connsiteY5" fmla="*/ 5348609 h 5516216"/>
                <a:gd name="connsiteX6" fmla="*/ 0 w 6700170"/>
                <a:gd name="connsiteY6" fmla="*/ 3850011 h 5516216"/>
                <a:gd name="connsiteX7" fmla="*/ 3850011 w 6700170"/>
                <a:gd name="connsiteY7" fmla="*/ 0 h 55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0170" h="5516216">
                  <a:moveTo>
                    <a:pt x="3850011" y="0"/>
                  </a:moveTo>
                  <a:cubicBezTo>
                    <a:pt x="4913162" y="0"/>
                    <a:pt x="5875665" y="430927"/>
                    <a:pt x="6572380" y="1127642"/>
                  </a:cubicBezTo>
                  <a:lnTo>
                    <a:pt x="6700170" y="1268247"/>
                  </a:lnTo>
                  <a:lnTo>
                    <a:pt x="6700170" y="5516216"/>
                  </a:lnTo>
                  <a:lnTo>
                    <a:pt x="378327" y="5516216"/>
                  </a:lnTo>
                  <a:lnTo>
                    <a:pt x="302553" y="5348609"/>
                  </a:lnTo>
                  <a:cubicBezTo>
                    <a:pt x="107732" y="4888000"/>
                    <a:pt x="0" y="4381587"/>
                    <a:pt x="0" y="3850011"/>
                  </a:cubicBezTo>
                  <a:cubicBezTo>
                    <a:pt x="0" y="1723709"/>
                    <a:pt x="1723709" y="0"/>
                    <a:pt x="3850011" y="0"/>
                  </a:cubicBezTo>
                  <a:close/>
                </a:path>
              </a:pathLst>
            </a:custGeom>
            <a:solidFill>
              <a:srgbClr val="EDF0F6">
                <a:alpha val="14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264878"/>
            <a:ext cx="5130800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bg1"/>
                </a:solidFill>
                <a:latin typeface="+mj-lt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2312FAA-5B4A-C15C-02BB-37F5A78234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4199" y="4173876"/>
            <a:ext cx="3069752" cy="369332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4199" y="4767395"/>
            <a:ext cx="3069752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bg1"/>
                </a:solidFill>
                <a:latin typeface="+mn-lt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51993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BFF5FAF-C702-E1F9-4915-5A2347064D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4642B7B-E1EE-14AE-4A81-72D74B6DEC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82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5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  <a:noFill/>
          </p:spPr>
        </p:pic>
        <p:sp>
          <p:nvSpPr>
            <p:cNvPr id="4" name="Rectangle: Rounded Corners 36">
              <a:extLst>
                <a:ext uri="{FF2B5EF4-FFF2-40B4-BE49-F238E27FC236}">
                  <a16:creationId xmlns:a16="http://schemas.microsoft.com/office/drawing/2014/main" id="{A22E6279-85BB-6ED2-58FE-29C765B428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>
              <a:off x="414091" y="1633191"/>
              <a:ext cx="11022013" cy="4478593"/>
            </a:xfrm>
            <a:prstGeom prst="roundRect">
              <a:avLst>
                <a:gd name="adj" fmla="val 4809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03C28C8-B240-9E06-BCD6-C46EDF55B3B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H="1" flipV="1">
              <a:off x="4214690" y="-1928236"/>
              <a:ext cx="4251572" cy="11601448"/>
            </a:xfrm>
            <a:custGeom>
              <a:avLst/>
              <a:gdLst>
                <a:gd name="connsiteX0" fmla="*/ 4832353 w 4832353"/>
                <a:gd name="connsiteY0" fmla="*/ 158694 h 11601448"/>
                <a:gd name="connsiteX1" fmla="*/ 4832353 w 4832353"/>
                <a:gd name="connsiteY1" fmla="*/ 11601448 h 11601448"/>
                <a:gd name="connsiteX2" fmla="*/ 0 w 4832353"/>
                <a:gd name="connsiteY2" fmla="*/ 11601448 h 11601448"/>
                <a:gd name="connsiteX3" fmla="*/ 0 w 4832353"/>
                <a:gd name="connsiteY3" fmla="*/ 158694 h 11601448"/>
                <a:gd name="connsiteX4" fmla="*/ 158694 w 4832353"/>
                <a:gd name="connsiteY4" fmla="*/ 0 h 11601448"/>
                <a:gd name="connsiteX5" fmla="*/ 4673659 w 4832353"/>
                <a:gd name="connsiteY5" fmla="*/ 0 h 11601448"/>
                <a:gd name="connsiteX6" fmla="*/ 4832353 w 4832353"/>
                <a:gd name="connsiteY6" fmla="*/ 158694 h 11601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32353" h="11601448">
                  <a:moveTo>
                    <a:pt x="4832353" y="158694"/>
                  </a:moveTo>
                  <a:lnTo>
                    <a:pt x="4832353" y="11601448"/>
                  </a:lnTo>
                  <a:lnTo>
                    <a:pt x="0" y="11601448"/>
                  </a:lnTo>
                  <a:lnTo>
                    <a:pt x="0" y="158694"/>
                  </a:lnTo>
                  <a:cubicBezTo>
                    <a:pt x="0" y="71050"/>
                    <a:pt x="71050" y="0"/>
                    <a:pt x="158694" y="0"/>
                  </a:cubicBezTo>
                  <a:lnTo>
                    <a:pt x="4673659" y="0"/>
                  </a:lnTo>
                  <a:cubicBezTo>
                    <a:pt x="4761303" y="0"/>
                    <a:pt x="4832353" y="71050"/>
                    <a:pt x="4832353" y="158694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0216032-D894-9D6E-FF1F-923BC883F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56548" y="3163893"/>
              <a:ext cx="6334945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5A4DCB87-492C-10AF-6C4C-77CE8A4FDC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56548" y="4581084"/>
              <a:ext cx="6334945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7A3C527-E1FE-904C-794B-694057D0A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50108-91B9-C792-2DEC-98F7EF995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3682" y="2193027"/>
            <a:ext cx="522574" cy="524540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ln w="3175">
                  <a:noFill/>
                </a:ln>
                <a:gradFill>
                  <a:gsLst>
                    <a:gs pos="96000">
                      <a:schemeClr val="accent1"/>
                    </a:gs>
                    <a:gs pos="52000">
                      <a:srgbClr val="31838E"/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44DE5AF-235E-9812-4E28-4477D9974A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56549" y="2301409"/>
            <a:ext cx="6125352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A88B20-415D-7A2B-B7E6-29F312C10F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682" y="3610218"/>
            <a:ext cx="522574" cy="524540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ln w="3175">
                  <a:noFill/>
                </a:ln>
                <a:gradFill>
                  <a:gsLst>
                    <a:gs pos="96000">
                      <a:schemeClr val="accent1"/>
                    </a:gs>
                    <a:gs pos="52000">
                      <a:srgbClr val="31838E"/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4F4FCB1-94B2-FBBF-00B8-A298E33F80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56549" y="3718599"/>
            <a:ext cx="6125352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556F5E-2782-2B11-8316-8939316736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3682" y="5027409"/>
            <a:ext cx="522574" cy="524540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ln w="3175">
                  <a:noFill/>
                </a:ln>
                <a:gradFill>
                  <a:gsLst>
                    <a:gs pos="96000">
                      <a:schemeClr val="accent1"/>
                    </a:gs>
                    <a:gs pos="52000">
                      <a:srgbClr val="31838E"/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13F522B-B88C-CA22-664F-EAD6AA5E90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56549" y="5135790"/>
            <a:ext cx="6125352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2F5FAC6B-0C26-304E-B149-40F1093CB33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79724" y="1468398"/>
            <a:ext cx="4312277" cy="4768926"/>
          </a:xfrm>
          <a:custGeom>
            <a:avLst/>
            <a:gdLst>
              <a:gd name="connsiteX0" fmla="*/ 143086 w 4312277"/>
              <a:gd name="connsiteY0" fmla="*/ 0 h 4768926"/>
              <a:gd name="connsiteX1" fmla="*/ 4312277 w 4312277"/>
              <a:gd name="connsiteY1" fmla="*/ 0 h 4768926"/>
              <a:gd name="connsiteX2" fmla="*/ 4312277 w 4312277"/>
              <a:gd name="connsiteY2" fmla="*/ 4768926 h 4768926"/>
              <a:gd name="connsiteX3" fmla="*/ 143086 w 4312277"/>
              <a:gd name="connsiteY3" fmla="*/ 4768926 h 4768926"/>
              <a:gd name="connsiteX4" fmla="*/ 0 w 4312277"/>
              <a:gd name="connsiteY4" fmla="*/ 4656909 h 4768926"/>
              <a:gd name="connsiteX5" fmla="*/ 0 w 4312277"/>
              <a:gd name="connsiteY5" fmla="*/ 112017 h 4768926"/>
              <a:gd name="connsiteX6" fmla="*/ 143086 w 4312277"/>
              <a:gd name="connsiteY6" fmla="*/ 0 h 476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2277" h="4768926">
                <a:moveTo>
                  <a:pt x="143086" y="0"/>
                </a:moveTo>
                <a:lnTo>
                  <a:pt x="4312277" y="0"/>
                </a:lnTo>
                <a:lnTo>
                  <a:pt x="4312277" y="4768926"/>
                </a:lnTo>
                <a:lnTo>
                  <a:pt x="143086" y="4768926"/>
                </a:lnTo>
                <a:cubicBezTo>
                  <a:pt x="64062" y="4768926"/>
                  <a:pt x="0" y="4718776"/>
                  <a:pt x="0" y="4656909"/>
                </a:cubicBezTo>
                <a:lnTo>
                  <a:pt x="0" y="112017"/>
                </a:lnTo>
                <a:cubicBezTo>
                  <a:pt x="0" y="50152"/>
                  <a:pt x="64062" y="0"/>
                  <a:pt x="143086" y="0"/>
                </a:cubicBezTo>
                <a:close/>
              </a:path>
            </a:pathLst>
          </a:custGeom>
          <a:solidFill>
            <a:schemeClr val="bg1"/>
          </a:solidFill>
          <a:ln w="76200">
            <a:solidFill>
              <a:schemeClr val="bg2"/>
            </a:solidFill>
          </a:ln>
          <a:effectLst>
            <a:outerShdw blurRad="238708" dist="38100" dir="10800000" algn="r" rotWithShape="0">
              <a:schemeClr val="bg1">
                <a:lumMod val="75000"/>
                <a:alpha val="34766"/>
              </a:scheme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07442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7B0E98B-26B0-6F45-0393-4F434F25AB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5B9D59D-4155-87C9-9D67-BEC295FDE850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EB4D3B0-C1C5-1DE0-DC94-9F5B5A6CAF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alphaModFix amt="82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327900" y="3559644"/>
                <a:ext cx="4864100" cy="3298356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773980F-CE02-5F1C-F9E9-ED3C2DBE2885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3D57493-6AEE-CAF9-A0D6-A7B976DC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0860" y="476250"/>
              <a:ext cx="7352720" cy="5905500"/>
            </a:xfrm>
            <a:prstGeom prst="roundRect">
              <a:avLst>
                <a:gd name="adj" fmla="val 279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A040112-C783-835D-38E9-40C8AEFF35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1399" y="585788"/>
              <a:ext cx="7131642" cy="5686424"/>
            </a:xfrm>
            <a:prstGeom prst="roundRect">
              <a:avLst>
                <a:gd name="adj" fmla="val 1787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9F0FE51-8DA0-08D1-6132-7054C7A368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2480204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0FD3614-E969-381D-BDC8-E4048A18D7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4374620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34_1">
              <a:extLst>
                <a:ext uri="{FF2B5EF4-FFF2-40B4-BE49-F238E27FC236}">
                  <a16:creationId xmlns:a16="http://schemas.microsoft.com/office/drawing/2014/main" id="{7299EBE8-A623-623B-B58E-476AAA8E1B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1219694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7" name="Oval 34_1">
              <a:extLst>
                <a:ext uri="{FF2B5EF4-FFF2-40B4-BE49-F238E27FC236}">
                  <a16:creationId xmlns:a16="http://schemas.microsoft.com/office/drawing/2014/main" id="{FA2465BE-FBF9-599D-56FA-92BC8DF67EC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3114110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1" name="Oval 34_1">
              <a:extLst>
                <a:ext uri="{FF2B5EF4-FFF2-40B4-BE49-F238E27FC236}">
                  <a16:creationId xmlns:a16="http://schemas.microsoft.com/office/drawing/2014/main" id="{99430433-71B4-AA48-6ED9-3BF67F59AA3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5008526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4" name="Rectangle: Top Corners Rounded 39">
              <a:extLst>
                <a:ext uri="{FF2B5EF4-FFF2-40B4-BE49-F238E27FC236}">
                  <a16:creationId xmlns:a16="http://schemas.microsoft.com/office/drawing/2014/main" id="{0C424701-E77C-EA79-B291-BDB4C5DB5F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688" y="0"/>
              <a:ext cx="3771900" cy="6564313"/>
            </a:xfrm>
            <a:prstGeom prst="round2SameRect">
              <a:avLst>
                <a:gd name="adj1" fmla="val 0"/>
                <a:gd name="adj2" fmla="val 7286"/>
              </a:avLst>
            </a:prstGeom>
            <a:gradFill flip="none" rotWithShape="1">
              <a:gsLst>
                <a:gs pos="59000">
                  <a:srgbClr val="F7F7FA"/>
                </a:gs>
                <a:gs pos="100000">
                  <a:schemeClr val="bg2"/>
                </a:gs>
              </a:gsLst>
              <a:lin ang="162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pic>
          <p:nvPicPr>
            <p:cNvPr id="26" name="Picture 25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10FB088-21E5-EA5C-39FE-203F9E2A34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93688" y="3059994"/>
              <a:ext cx="3424872" cy="3272962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1198C4B0-EC99-02C8-8E61-6ED9792634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7" y="1952208"/>
            <a:ext cx="3184522" cy="677108"/>
          </a:xfrm>
        </p:spPr>
        <p:txBody>
          <a:bodyPr anchor="ctr"/>
          <a:lstStyle>
            <a:lvl1pPr algn="ctr">
              <a:defRPr sz="4400">
                <a:gradFill>
                  <a:gsLst>
                    <a:gs pos="0">
                      <a:srgbClr val="31838E"/>
                    </a:gs>
                    <a:gs pos="100000">
                      <a:srgbClr val="0078D4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A656A5D-95BE-1B40-5D88-6A8721D86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9175" y="1379107"/>
            <a:ext cx="5953526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D04C44E6-57CB-D9B6-4238-3DCF4883AE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175" y="3273523"/>
            <a:ext cx="5953526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BF98F466-321C-C441-7F1E-59BF43EDD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175" y="5167940"/>
            <a:ext cx="5953526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723056446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DBB88FB-549C-31AC-7CB1-8ACA8DA931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5B9D59D-4155-87C9-9D67-BEC295FDE850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EB4D3B0-C1C5-1DE0-DC94-9F5B5A6CAF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alphaModFix amt="82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327900" y="3559644"/>
                <a:ext cx="4864100" cy="3298356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773980F-CE02-5F1C-F9E9-ED3C2DBE2885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3D57493-6AEE-CAF9-A0D6-A7B976DC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0860" y="476250"/>
              <a:ext cx="7352720" cy="5905500"/>
            </a:xfrm>
            <a:prstGeom prst="roundRect">
              <a:avLst>
                <a:gd name="adj" fmla="val 279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A040112-C783-835D-38E9-40C8AEFF35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1399" y="585788"/>
              <a:ext cx="7131642" cy="5686424"/>
            </a:xfrm>
            <a:prstGeom prst="roundRect">
              <a:avLst>
                <a:gd name="adj" fmla="val 1787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9F0FE51-8DA0-08D1-6132-7054C7A368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3429000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0FD3614-E969-381D-BDC8-E4048A18D7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4850606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34_1">
              <a:extLst>
                <a:ext uri="{FF2B5EF4-FFF2-40B4-BE49-F238E27FC236}">
                  <a16:creationId xmlns:a16="http://schemas.microsoft.com/office/drawing/2014/main" id="{7299EBE8-A623-623B-B58E-476AAA8E1B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983289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7" name="Oval 34_1">
              <a:extLst>
                <a:ext uri="{FF2B5EF4-FFF2-40B4-BE49-F238E27FC236}">
                  <a16:creationId xmlns:a16="http://schemas.microsoft.com/office/drawing/2014/main" id="{FA2465BE-FBF9-599D-56FA-92BC8DF67EC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2404895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1" name="Oval 34_1">
              <a:extLst>
                <a:ext uri="{FF2B5EF4-FFF2-40B4-BE49-F238E27FC236}">
                  <a16:creationId xmlns:a16="http://schemas.microsoft.com/office/drawing/2014/main" id="{99430433-71B4-AA48-6ED9-3BF67F59AA3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3826501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4" name="Rectangle: Top Corners Rounded 39">
              <a:extLst>
                <a:ext uri="{FF2B5EF4-FFF2-40B4-BE49-F238E27FC236}">
                  <a16:creationId xmlns:a16="http://schemas.microsoft.com/office/drawing/2014/main" id="{0C424701-E77C-EA79-B291-BDB4C5DB5F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688" y="0"/>
              <a:ext cx="3771900" cy="6564313"/>
            </a:xfrm>
            <a:prstGeom prst="round2SameRect">
              <a:avLst>
                <a:gd name="adj1" fmla="val 0"/>
                <a:gd name="adj2" fmla="val 7286"/>
              </a:avLst>
            </a:prstGeom>
            <a:gradFill flip="none" rotWithShape="1">
              <a:gsLst>
                <a:gs pos="59000">
                  <a:srgbClr val="F7F7FA"/>
                </a:gs>
                <a:gs pos="100000">
                  <a:schemeClr val="bg2"/>
                </a:gs>
              </a:gsLst>
              <a:lin ang="162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pic>
          <p:nvPicPr>
            <p:cNvPr id="26" name="Picture 25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10FB088-21E5-EA5C-39FE-203F9E2A34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293688" y="3059994"/>
              <a:ext cx="3424872" cy="3272962"/>
            </a:xfrm>
            <a:prstGeom prst="rect">
              <a:avLst/>
            </a:prstGeom>
          </p:spPr>
        </p:pic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AD16DEB-2304-9500-6B65-ED57E73248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2007394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4_1">
              <a:extLst>
                <a:ext uri="{FF2B5EF4-FFF2-40B4-BE49-F238E27FC236}">
                  <a16:creationId xmlns:a16="http://schemas.microsoft.com/office/drawing/2014/main" id="{9FDC5FED-917A-1477-A83A-87828586FF1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1897" y="5248107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0FAFC48F-CA15-DA7E-427D-145EB3938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582" y="1952208"/>
            <a:ext cx="3182112" cy="677108"/>
          </a:xfrm>
        </p:spPr>
        <p:txBody>
          <a:bodyPr anchor="ctr"/>
          <a:lstStyle>
            <a:lvl1pPr algn="ctr">
              <a:defRPr sz="4400">
                <a:gradFill>
                  <a:gsLst>
                    <a:gs pos="0">
                      <a:srgbClr val="31838E"/>
                    </a:gs>
                    <a:gs pos="100000">
                      <a:srgbClr val="0078D4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A656A5D-95BE-1B40-5D88-6A8721D86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9175" y="1158092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D04C44E6-57CB-D9B6-4238-3DCF4883AE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175" y="2579697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BF98F466-321C-C441-7F1E-59BF43EDD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175" y="4001303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E92F6322-280D-45C2-5263-6B5FFB4EEF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175" y="5422909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863709145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5B9D59D-4155-87C9-9D67-BEC295FDE85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EB4D3B0-C1C5-1DE0-DC94-9F5B5A6CAF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alphaModFix amt="8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27900" y="3559644"/>
              <a:ext cx="4864100" cy="3298356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773980F-CE02-5F1C-F9E9-ED3C2DBE2885}"/>
                </a:ext>
              </a:extLst>
            </p:cNvPr>
            <p:cNvSpPr/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3D57493-6AEE-CAF9-A0D6-A7B976DCF476}"/>
              </a:ext>
            </a:extLst>
          </p:cNvPr>
          <p:cNvSpPr>
            <a:spLocks/>
          </p:cNvSpPr>
          <p:nvPr userDrawn="1"/>
        </p:nvSpPr>
        <p:spPr bwMode="auto">
          <a:xfrm>
            <a:off x="4360860" y="476250"/>
            <a:ext cx="7352720" cy="5905500"/>
          </a:xfrm>
          <a:prstGeom prst="roundRect">
            <a:avLst>
              <a:gd name="adj" fmla="val 2792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135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A040112-C783-835D-38E9-40C8AEFF353C}"/>
              </a:ext>
            </a:extLst>
          </p:cNvPr>
          <p:cNvSpPr>
            <a:spLocks/>
          </p:cNvSpPr>
          <p:nvPr userDrawn="1"/>
        </p:nvSpPr>
        <p:spPr bwMode="auto">
          <a:xfrm>
            <a:off x="4471399" y="585788"/>
            <a:ext cx="7131642" cy="5686424"/>
          </a:xfrm>
          <a:prstGeom prst="roundRect">
            <a:avLst>
              <a:gd name="adj" fmla="val 1787"/>
            </a:avLst>
          </a:prstGeom>
          <a:solidFill>
            <a:schemeClr val="bg2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84000"/>
              </a:srgb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gradFill flip="none" rotWithShape="1">
                <a:gsLst>
                  <a:gs pos="18000">
                    <a:schemeClr val="tx1">
                      <a:lumMod val="50000"/>
                      <a:lumOff val="50000"/>
                    </a:schemeClr>
                  </a:gs>
                  <a:gs pos="67000">
                    <a:schemeClr val="tx1">
                      <a:lumMod val="90000"/>
                      <a:lumOff val="1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9F0FE51-8DA0-08D1-6132-7054C7A368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489174" y="2860359"/>
            <a:ext cx="5953526" cy="0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34_1">
            <a:extLst>
              <a:ext uri="{FF2B5EF4-FFF2-40B4-BE49-F238E27FC236}">
                <a16:creationId xmlns:a16="http://schemas.microsoft.com/office/drawing/2014/main" id="{7299EBE8-A623-623B-B58E-476AAA8E1B9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4671897" y="841129"/>
            <a:ext cx="624256" cy="626604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742" fontAlgn="base">
              <a:spcBef>
                <a:spcPct val="0"/>
              </a:spcBef>
              <a:spcAft>
                <a:spcPct val="0"/>
              </a:spcAft>
            </a:pPr>
            <a:endParaRPr lang="en-US" sz="3600">
              <a:ln w="3175">
                <a:noFill/>
              </a:ln>
              <a:solidFill>
                <a:schemeClr val="accent2"/>
              </a:solidFill>
              <a:latin typeface="+mj-lt"/>
              <a:ea typeface="+mj-lt"/>
              <a:cs typeface="Segoe Sans Display" pitchFamily="2" charset="0"/>
            </a:endParaRPr>
          </a:p>
        </p:txBody>
      </p:sp>
      <p:sp>
        <p:nvSpPr>
          <p:cNvPr id="17" name="Oval 34_1">
            <a:extLst>
              <a:ext uri="{FF2B5EF4-FFF2-40B4-BE49-F238E27FC236}">
                <a16:creationId xmlns:a16="http://schemas.microsoft.com/office/drawing/2014/main" id="{FA2465BE-FBF9-599D-56FA-92BC8DF67E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4671897" y="1978415"/>
            <a:ext cx="624256" cy="626604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742" fontAlgn="base">
              <a:spcBef>
                <a:spcPct val="0"/>
              </a:spcBef>
              <a:spcAft>
                <a:spcPct val="0"/>
              </a:spcAft>
            </a:pPr>
            <a:endParaRPr lang="en-US" sz="3600">
              <a:ln w="3175">
                <a:noFill/>
              </a:ln>
              <a:solidFill>
                <a:schemeClr val="accent2"/>
              </a:solidFill>
              <a:latin typeface="+mj-lt"/>
              <a:ea typeface="+mj-lt"/>
              <a:cs typeface="Segoe Sans Display" pitchFamily="2" charset="0"/>
            </a:endParaRPr>
          </a:p>
        </p:txBody>
      </p:sp>
      <p:sp>
        <p:nvSpPr>
          <p:cNvPr id="21" name="Oval 34_1">
            <a:extLst>
              <a:ext uri="{FF2B5EF4-FFF2-40B4-BE49-F238E27FC236}">
                <a16:creationId xmlns:a16="http://schemas.microsoft.com/office/drawing/2014/main" id="{99430433-71B4-AA48-6ED9-3BF67F59AA3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/>
        </p:nvSpPr>
        <p:spPr bwMode="auto">
          <a:xfrm>
            <a:off x="4671897" y="3115698"/>
            <a:ext cx="624256" cy="626604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742" fontAlgn="base">
              <a:spcBef>
                <a:spcPct val="0"/>
              </a:spcBef>
              <a:spcAft>
                <a:spcPct val="0"/>
              </a:spcAft>
            </a:pPr>
            <a:endParaRPr lang="en-US" sz="3600">
              <a:ln w="3175">
                <a:noFill/>
              </a:ln>
              <a:solidFill>
                <a:schemeClr val="accent2"/>
              </a:solidFill>
              <a:latin typeface="+mj-lt"/>
              <a:ea typeface="+mj-lt"/>
              <a:cs typeface="Segoe Sans Display" pitchFamily="2" charset="0"/>
            </a:endParaRPr>
          </a:p>
        </p:txBody>
      </p:sp>
      <p:sp>
        <p:nvSpPr>
          <p:cNvPr id="24" name="Rectangle: Top Corners Rounded 39">
            <a:extLst>
              <a:ext uri="{FF2B5EF4-FFF2-40B4-BE49-F238E27FC236}">
                <a16:creationId xmlns:a16="http://schemas.microsoft.com/office/drawing/2014/main" id="{0C424701-E77C-EA79-B291-BDB4C5DB5F4D}"/>
              </a:ext>
            </a:extLst>
          </p:cNvPr>
          <p:cNvSpPr>
            <a:spLocks/>
          </p:cNvSpPr>
          <p:nvPr userDrawn="1"/>
        </p:nvSpPr>
        <p:spPr bwMode="auto">
          <a:xfrm>
            <a:off x="293688" y="0"/>
            <a:ext cx="3771900" cy="6564313"/>
          </a:xfrm>
          <a:prstGeom prst="round2SameRect">
            <a:avLst>
              <a:gd name="adj1" fmla="val 0"/>
              <a:gd name="adj2" fmla="val 7286"/>
            </a:avLst>
          </a:prstGeom>
          <a:gradFill flip="none" rotWithShape="1">
            <a:gsLst>
              <a:gs pos="59000">
                <a:srgbClr val="F7F7FA"/>
              </a:gs>
              <a:gs pos="100000">
                <a:schemeClr val="bg2"/>
              </a:gs>
            </a:gsLst>
            <a:lin ang="16200000" scaled="1"/>
            <a:tileRect/>
          </a:gradFill>
          <a:ln w="38100" cap="flat">
            <a:noFill/>
            <a:prstDash val="solid"/>
            <a:miter/>
          </a:ln>
          <a:effectLst>
            <a:outerShdw blurRad="127000" dist="38100" dir="5400000" algn="t" rotWithShape="0">
              <a:schemeClr val="bg1">
                <a:lumMod val="75000"/>
                <a:alpha val="40000"/>
              </a:scheme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00" kern="0">
              <a:gradFill flip="none" rotWithShape="1">
                <a:gsLst>
                  <a:gs pos="18000">
                    <a:schemeClr val="tx1">
                      <a:lumMod val="50000"/>
                      <a:lumOff val="50000"/>
                    </a:schemeClr>
                  </a:gs>
                  <a:gs pos="67000">
                    <a:schemeClr val="tx1">
                      <a:lumMod val="90000"/>
                      <a:lumOff val="1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pic>
        <p:nvPicPr>
          <p:cNvPr id="26" name="Picture 25" descr="A close-up of a colorful wavy pattern&#10;&#10;Description automatically generated">
            <a:extLst>
              <a:ext uri="{FF2B5EF4-FFF2-40B4-BE49-F238E27FC236}">
                <a16:creationId xmlns:a16="http://schemas.microsoft.com/office/drawing/2014/main" id="{610FB088-21E5-EA5C-39FE-203F9E2A34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9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93688" y="3059994"/>
            <a:ext cx="3424872" cy="327296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AD16DEB-2304-9500-6B65-ED57E73248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489174" y="1723074"/>
            <a:ext cx="5953526" cy="0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4_1">
            <a:extLst>
              <a:ext uri="{FF2B5EF4-FFF2-40B4-BE49-F238E27FC236}">
                <a16:creationId xmlns:a16="http://schemas.microsoft.com/office/drawing/2014/main" id="{9FDC5FED-917A-1477-A83A-87828586FF1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 userDrawn="1"/>
        </p:nvSpPr>
        <p:spPr bwMode="auto">
          <a:xfrm>
            <a:off x="4671897" y="4252983"/>
            <a:ext cx="624256" cy="626604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742" fontAlgn="base">
              <a:spcBef>
                <a:spcPct val="0"/>
              </a:spcBef>
              <a:spcAft>
                <a:spcPct val="0"/>
              </a:spcAft>
            </a:pPr>
            <a:endParaRPr lang="en-US" sz="3600">
              <a:ln w="3175">
                <a:noFill/>
              </a:ln>
              <a:solidFill>
                <a:schemeClr val="accent2"/>
              </a:solidFill>
              <a:latin typeface="+mj-lt"/>
              <a:ea typeface="+mj-lt"/>
              <a:cs typeface="Segoe Sans Display" pitchFamily="2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97D4B10-2D25-DC73-EF4D-CEFDA24366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489174" y="3997643"/>
            <a:ext cx="5953526" cy="0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34_1">
            <a:extLst>
              <a:ext uri="{FF2B5EF4-FFF2-40B4-BE49-F238E27FC236}">
                <a16:creationId xmlns:a16="http://schemas.microsoft.com/office/drawing/2014/main" id="{B73D93B4-0234-553F-9E72-C8F7113C669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 userDrawn="1"/>
        </p:nvSpPr>
        <p:spPr bwMode="auto">
          <a:xfrm>
            <a:off x="4671897" y="5390269"/>
            <a:ext cx="624256" cy="626604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742" fontAlgn="base">
              <a:spcBef>
                <a:spcPct val="0"/>
              </a:spcBef>
              <a:spcAft>
                <a:spcPct val="0"/>
              </a:spcAft>
            </a:pPr>
            <a:endParaRPr lang="en-US" sz="3600">
              <a:ln w="3175">
                <a:noFill/>
              </a:ln>
              <a:solidFill>
                <a:schemeClr val="accent2"/>
              </a:solidFill>
              <a:latin typeface="+mj-lt"/>
              <a:ea typeface="+mj-lt"/>
              <a:cs typeface="Segoe Sans Display" pitchFamily="2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5588F98-E2D2-FC4D-22A8-A4C9FC9217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489174" y="5134928"/>
            <a:ext cx="5953526" cy="0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47ADE20-2B27-5CD3-16D9-091ADAB57C8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8582" y="1952208"/>
            <a:ext cx="3182112" cy="677108"/>
          </a:xfrm>
        </p:spPr>
        <p:txBody>
          <a:bodyPr anchor="ctr"/>
          <a:lstStyle>
            <a:lvl1pPr algn="ctr">
              <a:defRPr sz="4400">
                <a:gradFill>
                  <a:gsLst>
                    <a:gs pos="0">
                      <a:srgbClr val="31838E"/>
                    </a:gs>
                    <a:gs pos="100000">
                      <a:srgbClr val="0078D4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A656A5D-95BE-1B40-5D88-6A8721D8687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489175" y="1031321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D04C44E6-57CB-D9B6-4238-3DCF4883AE0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489175" y="2168606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BF98F466-321C-C441-7F1E-59BF43EDD26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489175" y="3305889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E92F6322-280D-45C2-5263-6B5FFB4EEF23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489175" y="4443175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58" name="Text Placeholder 16">
            <a:extLst>
              <a:ext uri="{FF2B5EF4-FFF2-40B4-BE49-F238E27FC236}">
                <a16:creationId xmlns:a16="http://schemas.microsoft.com/office/drawing/2014/main" id="{55919783-8D5E-754A-40AC-6219464CB2E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489175" y="5580460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758238407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EE46382-ACD5-B0CC-7269-7BB1C9555E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1"/>
            <a:ext cx="11565888" cy="6858000"/>
            <a:chOff x="1" y="1"/>
            <a:chExt cx="11565888" cy="685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BA857F9-0CF0-50ED-B7DB-D32D06FFFC1D}"/>
                </a:ext>
              </a:extLst>
            </p:cNvPr>
            <p:cNvGrpSpPr/>
            <p:nvPr userDrawn="1"/>
          </p:nvGrpSpPr>
          <p:grpSpPr>
            <a:xfrm>
              <a:off x="1" y="1"/>
              <a:ext cx="4151087" cy="6858000"/>
              <a:chOff x="1" y="1"/>
              <a:chExt cx="4151087" cy="6858000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AB39207-5403-B0F4-2C6F-865FBA007DDC}"/>
                  </a:ext>
                </a:extLst>
              </p:cNvPr>
              <p:cNvSpPr/>
              <p:nvPr userDrawn="1"/>
            </p:nvSpPr>
            <p:spPr>
              <a:xfrm>
                <a:off x="1" y="1"/>
                <a:ext cx="4151086" cy="6858000"/>
              </a:xfrm>
              <a:custGeom>
                <a:avLst/>
                <a:gdLst>
                  <a:gd name="connsiteX0" fmla="*/ 0 w 1641815"/>
                  <a:gd name="connsiteY0" fmla="*/ 0 h 1641815"/>
                  <a:gd name="connsiteX1" fmla="*/ 1641816 w 1641815"/>
                  <a:gd name="connsiteY1" fmla="*/ 0 h 1641815"/>
                  <a:gd name="connsiteX2" fmla="*/ 1641816 w 1641815"/>
                  <a:gd name="connsiteY2" fmla="*/ 1641816 h 1641815"/>
                  <a:gd name="connsiteX3" fmla="*/ 0 w 1641815"/>
                  <a:gd name="connsiteY3" fmla="*/ 1641816 h 164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1815" h="1641815">
                    <a:moveTo>
                      <a:pt x="0" y="0"/>
                    </a:moveTo>
                    <a:lnTo>
                      <a:pt x="1641816" y="0"/>
                    </a:lnTo>
                    <a:lnTo>
                      <a:pt x="1641816" y="1641816"/>
                    </a:lnTo>
                    <a:lnTo>
                      <a:pt x="0" y="1641816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 t="-30000"/>
                </a:stretch>
              </a:blipFill>
              <a:ln w="3416" cap="flat">
                <a:noFill/>
                <a:prstDash val="solid"/>
                <a:miter/>
              </a:ln>
              <a:effectLst>
                <a:outerShdw blurRad="152400" dist="38100" algn="l" rotWithShape="0">
                  <a:schemeClr val="bg1">
                    <a:lumMod val="65000"/>
                    <a:alpha val="76000"/>
                  </a:scheme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8DCE9D0-CA98-4357-84B6-BD4A1BEF214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" y="1"/>
                <a:ext cx="4151087" cy="6858000"/>
              </a:xfrm>
              <a:prstGeom prst="rect">
                <a:avLst/>
              </a:prstGeom>
              <a:gradFill flip="none" rotWithShape="1">
                <a:gsLst>
                  <a:gs pos="99000">
                    <a:srgbClr val="105D7D">
                      <a:alpha val="38000"/>
                    </a:srgbClr>
                  </a:gs>
                  <a:gs pos="0">
                    <a:srgbClr val="105D7D">
                      <a:alpha val="65715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215900" dist="38100" algn="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75CAFCA-713D-7F6C-D065-6959F54442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27039" y="453232"/>
              <a:ext cx="4802507" cy="5951536"/>
            </a:xfrm>
            <a:prstGeom prst="rect">
              <a:avLst/>
            </a:prstGeom>
            <a:noFill/>
            <a:ln w="1270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12C9C59-5444-8D85-4D77-ECEF1CF5DB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2437078"/>
              <a:ext cx="5600064" cy="16639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4A9DE30-E831-109B-3237-DF16CF4E4F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4420923"/>
              <a:ext cx="5600064" cy="166395"/>
            </a:xfrm>
            <a:prstGeom prst="rect">
              <a:avLst/>
            </a:prstGeom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991D88-399A-9282-FF7C-71DB66DE77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2971676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1" name="Freeform: Shape 24">
                <a:extLst>
                  <a:ext uri="{FF2B5EF4-FFF2-40B4-BE49-F238E27FC236}">
                    <a16:creationId xmlns:a16="http://schemas.microsoft.com/office/drawing/2014/main" id="{CBBB6C0E-6613-42DF-6269-52997F87A933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25">
                <a:extLst>
                  <a:ext uri="{FF2B5EF4-FFF2-40B4-BE49-F238E27FC236}">
                    <a16:creationId xmlns:a16="http://schemas.microsoft.com/office/drawing/2014/main" id="{DCF42D9F-AF84-8116-A713-FDA45859C6CE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CC0EB7E-4EA9-DA75-49A2-3392A91A7A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4955522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22" name="Freeform: Shape 24">
                <a:extLst>
                  <a:ext uri="{FF2B5EF4-FFF2-40B4-BE49-F238E27FC236}">
                    <a16:creationId xmlns:a16="http://schemas.microsoft.com/office/drawing/2014/main" id="{07C11B08-4782-174B-2C08-A4CC03EFFC56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prstGeom prst="ellipse">
                <a:avLst/>
              </a:pr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5">
                <a:extLst>
                  <a:ext uri="{FF2B5EF4-FFF2-40B4-BE49-F238E27FC236}">
                    <a16:creationId xmlns:a16="http://schemas.microsoft.com/office/drawing/2014/main" id="{36263C12-8C36-10AC-1DEE-1E0DD65FC002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prstGeom prst="ellipse">
                <a:avLst/>
              </a:pr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69248A-3406-B83E-0D76-2A2F79FE6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987831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6" name="Freeform: Shape 24">
                <a:extLst>
                  <a:ext uri="{FF2B5EF4-FFF2-40B4-BE49-F238E27FC236}">
                    <a16:creationId xmlns:a16="http://schemas.microsoft.com/office/drawing/2014/main" id="{93B1DBCA-72E7-E628-75E5-2E2DBD2DDE4A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5">
                <a:extLst>
                  <a:ext uri="{FF2B5EF4-FFF2-40B4-BE49-F238E27FC236}">
                    <a16:creationId xmlns:a16="http://schemas.microsoft.com/office/drawing/2014/main" id="{D0EA9E22-4266-C455-B16F-D6A0BCF50B60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D59500C3-C8B7-80EF-2DB6-1CC7E7633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452" y="2994132"/>
            <a:ext cx="2649230" cy="615553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F1AAE4-8A6B-A16B-09A7-37F48D2B6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965825" y="1291267"/>
            <a:ext cx="5643563" cy="307777"/>
          </a:xfrm>
        </p:spPr>
        <p:txBody>
          <a:bodyPr anchor="ctr"/>
          <a:lstStyle>
            <a:lvl1pPr marL="0" indent="0">
              <a:buNone/>
              <a:defRPr sz="20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D1A29E6-E23A-F852-01B9-79D3CF8A0F9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965825" y="3275111"/>
            <a:ext cx="5643563" cy="307777"/>
          </a:xfrm>
        </p:spPr>
        <p:txBody>
          <a:bodyPr anchor="ctr"/>
          <a:lstStyle>
            <a:lvl1pPr marL="0" indent="0">
              <a:buNone/>
              <a:defRPr sz="20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D609F0A-B32D-0A24-7ABB-F99E0E5D849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965825" y="5258957"/>
            <a:ext cx="5643563" cy="30777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704530848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DDB7A0A-AA48-FE97-7367-1B3107FD78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1"/>
            <a:ext cx="11565888" cy="6858000"/>
            <a:chOff x="1" y="1"/>
            <a:chExt cx="11565888" cy="685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BA857F9-0CF0-50ED-B7DB-D32D06FFFC1D}"/>
                </a:ext>
              </a:extLst>
            </p:cNvPr>
            <p:cNvGrpSpPr/>
            <p:nvPr userDrawn="1"/>
          </p:nvGrpSpPr>
          <p:grpSpPr>
            <a:xfrm>
              <a:off x="1" y="1"/>
              <a:ext cx="4151087" cy="6858000"/>
              <a:chOff x="1" y="1"/>
              <a:chExt cx="4151087" cy="6858000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AB39207-5403-B0F4-2C6F-865FBA007DDC}"/>
                  </a:ext>
                </a:extLst>
              </p:cNvPr>
              <p:cNvSpPr/>
              <p:nvPr userDrawn="1"/>
            </p:nvSpPr>
            <p:spPr>
              <a:xfrm>
                <a:off x="1" y="1"/>
                <a:ext cx="4151086" cy="6858000"/>
              </a:xfrm>
              <a:custGeom>
                <a:avLst/>
                <a:gdLst>
                  <a:gd name="connsiteX0" fmla="*/ 0 w 1641815"/>
                  <a:gd name="connsiteY0" fmla="*/ 0 h 1641815"/>
                  <a:gd name="connsiteX1" fmla="*/ 1641816 w 1641815"/>
                  <a:gd name="connsiteY1" fmla="*/ 0 h 1641815"/>
                  <a:gd name="connsiteX2" fmla="*/ 1641816 w 1641815"/>
                  <a:gd name="connsiteY2" fmla="*/ 1641816 h 1641815"/>
                  <a:gd name="connsiteX3" fmla="*/ 0 w 1641815"/>
                  <a:gd name="connsiteY3" fmla="*/ 1641816 h 164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1815" h="1641815">
                    <a:moveTo>
                      <a:pt x="0" y="0"/>
                    </a:moveTo>
                    <a:lnTo>
                      <a:pt x="1641816" y="0"/>
                    </a:lnTo>
                    <a:lnTo>
                      <a:pt x="1641816" y="1641816"/>
                    </a:lnTo>
                    <a:lnTo>
                      <a:pt x="0" y="1641816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 t="-30000"/>
                </a:stretch>
              </a:blipFill>
              <a:ln w="3416" cap="flat">
                <a:noFill/>
                <a:prstDash val="solid"/>
                <a:miter/>
              </a:ln>
              <a:effectLst>
                <a:outerShdw blurRad="152400" dist="38100" algn="l" rotWithShape="0">
                  <a:schemeClr val="bg1">
                    <a:lumMod val="65000"/>
                    <a:alpha val="76000"/>
                  </a:scheme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8DCE9D0-CA98-4357-84B6-BD4A1BEF214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" y="1"/>
                <a:ext cx="4151087" cy="6858000"/>
              </a:xfrm>
              <a:prstGeom prst="rect">
                <a:avLst/>
              </a:prstGeom>
              <a:gradFill flip="none" rotWithShape="1">
                <a:gsLst>
                  <a:gs pos="99000">
                    <a:srgbClr val="105D7D">
                      <a:alpha val="38000"/>
                    </a:srgbClr>
                  </a:gs>
                  <a:gs pos="0">
                    <a:srgbClr val="105D7D">
                      <a:alpha val="65715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215900" dist="38100" algn="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75CAFCA-713D-7F6C-D065-6959F54442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27039" y="453232"/>
              <a:ext cx="4802507" cy="5951536"/>
            </a:xfrm>
            <a:prstGeom prst="rect">
              <a:avLst/>
            </a:prstGeom>
            <a:noFill/>
            <a:ln w="1270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991D88-399A-9282-FF7C-71DB66DE77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2310296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1" name="Freeform: Shape 24">
                <a:extLst>
                  <a:ext uri="{FF2B5EF4-FFF2-40B4-BE49-F238E27FC236}">
                    <a16:creationId xmlns:a16="http://schemas.microsoft.com/office/drawing/2014/main" id="{CBBB6C0E-6613-42DF-6269-52997F87A933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25">
                <a:extLst>
                  <a:ext uri="{FF2B5EF4-FFF2-40B4-BE49-F238E27FC236}">
                    <a16:creationId xmlns:a16="http://schemas.microsoft.com/office/drawing/2014/main" id="{DCF42D9F-AF84-8116-A713-FDA45859C6CE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69248A-3406-B83E-0D76-2A2F79FE6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987538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6" name="Freeform: Shape 24">
                <a:extLst>
                  <a:ext uri="{FF2B5EF4-FFF2-40B4-BE49-F238E27FC236}">
                    <a16:creationId xmlns:a16="http://schemas.microsoft.com/office/drawing/2014/main" id="{93B1DBCA-72E7-E628-75E5-2E2DBD2DDE4A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5">
                <a:extLst>
                  <a:ext uri="{FF2B5EF4-FFF2-40B4-BE49-F238E27FC236}">
                    <a16:creationId xmlns:a16="http://schemas.microsoft.com/office/drawing/2014/main" id="{D0EA9E22-4266-C455-B16F-D6A0BCF50B60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8AFAE0D2-5EEF-A723-7E72-5C3AC00360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3633054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0" name="Freeform: Shape 24">
                <a:extLst>
                  <a:ext uri="{FF2B5EF4-FFF2-40B4-BE49-F238E27FC236}">
                    <a16:creationId xmlns:a16="http://schemas.microsoft.com/office/drawing/2014/main" id="{6D53BAFA-92E2-F73A-0EDE-0A25E0AD0105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25">
                <a:extLst>
                  <a:ext uri="{FF2B5EF4-FFF2-40B4-BE49-F238E27FC236}">
                    <a16:creationId xmlns:a16="http://schemas.microsoft.com/office/drawing/2014/main" id="{78CF8ECC-DD95-3978-E775-5CDBABDE8A0B}"/>
                  </a:ext>
                </a:extLst>
              </p:cNvPr>
              <p:cNvSpPr/>
              <p:nvPr userDrawn="1"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AA12924-9138-AC00-AA2E-02B40BCD66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4955814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4" name="Freeform: Shape 24">
                <a:extLst>
                  <a:ext uri="{FF2B5EF4-FFF2-40B4-BE49-F238E27FC236}">
                    <a16:creationId xmlns:a16="http://schemas.microsoft.com/office/drawing/2014/main" id="{977D23C5-C754-D7E3-431F-4A601275BEF8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25">
                <a:extLst>
                  <a:ext uri="{FF2B5EF4-FFF2-40B4-BE49-F238E27FC236}">
                    <a16:creationId xmlns:a16="http://schemas.microsoft.com/office/drawing/2014/main" id="{AEAB98FC-AD16-7D0B-95F7-0843CC9E34BB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EE2985F1-5565-27E6-5141-9695B6240E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2106241"/>
              <a:ext cx="5600064" cy="166395"/>
            </a:xfrm>
            <a:prstGeom prst="rect">
              <a:avLst/>
            </a:prstGeom>
          </p:spPr>
        </p:pic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AD659AF6-515E-D9C2-7B38-E943F13655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3428999"/>
              <a:ext cx="5600064" cy="166395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BF496F20-75DC-B4F7-305D-01DA07886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4751757"/>
              <a:ext cx="5600064" cy="166395"/>
            </a:xfrm>
            <a:prstGeom prst="rect">
              <a:avLst/>
            </a:prstGeom>
          </p:spPr>
        </p:pic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7C1362FD-7B83-EB9C-F4E4-CF1B55C73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452" y="2994131"/>
            <a:ext cx="2649230" cy="615553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F1AAE4-8A6B-A16B-09A7-37F48D2B6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965825" y="1306362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D1A29E6-E23A-F852-01B9-79D3CF8A0F9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965825" y="2629120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EBD1CFB-5756-FBE6-13D4-A66D0ECF716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965825" y="3951878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39561FF3-93F3-6B52-09F6-52917E7ACDD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965825" y="5274638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852986038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152A2AD-7867-7E63-43D5-ADBE10F71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1"/>
            <a:ext cx="11565888" cy="6858000"/>
            <a:chOff x="1" y="1"/>
            <a:chExt cx="11565888" cy="685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BA857F9-0CF0-50ED-B7DB-D32D06FFFC1D}"/>
                </a:ext>
              </a:extLst>
            </p:cNvPr>
            <p:cNvGrpSpPr/>
            <p:nvPr userDrawn="1"/>
          </p:nvGrpSpPr>
          <p:grpSpPr>
            <a:xfrm>
              <a:off x="1" y="1"/>
              <a:ext cx="4151087" cy="6858000"/>
              <a:chOff x="1" y="1"/>
              <a:chExt cx="4151087" cy="6858000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AB39207-5403-B0F4-2C6F-865FBA007DDC}"/>
                  </a:ext>
                </a:extLst>
              </p:cNvPr>
              <p:cNvSpPr/>
              <p:nvPr userDrawn="1"/>
            </p:nvSpPr>
            <p:spPr>
              <a:xfrm>
                <a:off x="1" y="1"/>
                <a:ext cx="4151086" cy="6858000"/>
              </a:xfrm>
              <a:custGeom>
                <a:avLst/>
                <a:gdLst>
                  <a:gd name="connsiteX0" fmla="*/ 0 w 1641815"/>
                  <a:gd name="connsiteY0" fmla="*/ 0 h 1641815"/>
                  <a:gd name="connsiteX1" fmla="*/ 1641816 w 1641815"/>
                  <a:gd name="connsiteY1" fmla="*/ 0 h 1641815"/>
                  <a:gd name="connsiteX2" fmla="*/ 1641816 w 1641815"/>
                  <a:gd name="connsiteY2" fmla="*/ 1641816 h 1641815"/>
                  <a:gd name="connsiteX3" fmla="*/ 0 w 1641815"/>
                  <a:gd name="connsiteY3" fmla="*/ 1641816 h 164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1815" h="1641815">
                    <a:moveTo>
                      <a:pt x="0" y="0"/>
                    </a:moveTo>
                    <a:lnTo>
                      <a:pt x="1641816" y="0"/>
                    </a:lnTo>
                    <a:lnTo>
                      <a:pt x="1641816" y="1641816"/>
                    </a:lnTo>
                    <a:lnTo>
                      <a:pt x="0" y="1641816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 t="-30000"/>
                </a:stretch>
              </a:blipFill>
              <a:ln w="3416" cap="flat">
                <a:noFill/>
                <a:prstDash val="solid"/>
                <a:miter/>
              </a:ln>
              <a:effectLst>
                <a:outerShdw blurRad="152400" dist="38100" algn="l" rotWithShape="0">
                  <a:schemeClr val="bg1">
                    <a:lumMod val="65000"/>
                    <a:alpha val="76000"/>
                  </a:scheme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8DCE9D0-CA98-4357-84B6-BD4A1BEF214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" y="1"/>
                <a:ext cx="4151087" cy="6858000"/>
              </a:xfrm>
              <a:prstGeom prst="rect">
                <a:avLst/>
              </a:prstGeom>
              <a:gradFill flip="none" rotWithShape="1">
                <a:gsLst>
                  <a:gs pos="99000">
                    <a:srgbClr val="105D7D">
                      <a:alpha val="38000"/>
                    </a:srgbClr>
                  </a:gs>
                  <a:gs pos="0">
                    <a:srgbClr val="105D7D">
                      <a:alpha val="65715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215900" dist="38100" algn="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75CAFCA-713D-7F6C-D065-6959F54442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27039" y="453232"/>
              <a:ext cx="4802507" cy="5951536"/>
            </a:xfrm>
            <a:prstGeom prst="rect">
              <a:avLst/>
            </a:prstGeom>
            <a:noFill/>
            <a:ln w="1270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991D88-399A-9282-FF7C-71DB66DE77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1781368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1" name="Freeform: Shape 24">
                <a:extLst>
                  <a:ext uri="{FF2B5EF4-FFF2-40B4-BE49-F238E27FC236}">
                    <a16:creationId xmlns:a16="http://schemas.microsoft.com/office/drawing/2014/main" id="{CBBB6C0E-6613-42DF-6269-52997F87A933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25">
                <a:extLst>
                  <a:ext uri="{FF2B5EF4-FFF2-40B4-BE49-F238E27FC236}">
                    <a16:creationId xmlns:a16="http://schemas.microsoft.com/office/drawing/2014/main" id="{DCF42D9F-AF84-8116-A713-FDA45859C6CE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CC0EB7E-4EA9-DA75-49A2-3392A91A7A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5352292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22" name="Freeform: Shape 24">
                <a:extLst>
                  <a:ext uri="{FF2B5EF4-FFF2-40B4-BE49-F238E27FC236}">
                    <a16:creationId xmlns:a16="http://schemas.microsoft.com/office/drawing/2014/main" id="{07C11B08-4782-174B-2C08-A4CC03EFFC56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prstGeom prst="ellipse">
                <a:avLst/>
              </a:pr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5">
                <a:extLst>
                  <a:ext uri="{FF2B5EF4-FFF2-40B4-BE49-F238E27FC236}">
                    <a16:creationId xmlns:a16="http://schemas.microsoft.com/office/drawing/2014/main" id="{36263C12-8C36-10AC-1DEE-1E0DD65FC002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prstGeom prst="ellipse">
                <a:avLst/>
              </a:pr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69248A-3406-B83E-0D76-2A2F79FE6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591061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6" name="Freeform: Shape 24">
                <a:extLst>
                  <a:ext uri="{FF2B5EF4-FFF2-40B4-BE49-F238E27FC236}">
                    <a16:creationId xmlns:a16="http://schemas.microsoft.com/office/drawing/2014/main" id="{93B1DBCA-72E7-E628-75E5-2E2DBD2DDE4A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5">
                <a:extLst>
                  <a:ext uri="{FF2B5EF4-FFF2-40B4-BE49-F238E27FC236}">
                    <a16:creationId xmlns:a16="http://schemas.microsoft.com/office/drawing/2014/main" id="{D0EA9E22-4266-C455-B16F-D6A0BCF50B60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8AFAE0D2-5EEF-A723-7E72-5C3AC00360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2971676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0" name="Freeform: Shape 24">
                <a:extLst>
                  <a:ext uri="{FF2B5EF4-FFF2-40B4-BE49-F238E27FC236}">
                    <a16:creationId xmlns:a16="http://schemas.microsoft.com/office/drawing/2014/main" id="{6D53BAFA-92E2-F73A-0EDE-0A25E0AD0105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25">
                <a:extLst>
                  <a:ext uri="{FF2B5EF4-FFF2-40B4-BE49-F238E27FC236}">
                    <a16:creationId xmlns:a16="http://schemas.microsoft.com/office/drawing/2014/main" id="{78CF8ECC-DD95-3978-E775-5CDBABDE8A0B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AA12924-9138-AC00-AA2E-02B40BCD66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4161985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4" name="Freeform: Shape 24">
                <a:extLst>
                  <a:ext uri="{FF2B5EF4-FFF2-40B4-BE49-F238E27FC236}">
                    <a16:creationId xmlns:a16="http://schemas.microsoft.com/office/drawing/2014/main" id="{977D23C5-C754-D7E3-431F-4A601275BEF8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25">
                <a:extLst>
                  <a:ext uri="{FF2B5EF4-FFF2-40B4-BE49-F238E27FC236}">
                    <a16:creationId xmlns:a16="http://schemas.microsoft.com/office/drawing/2014/main" id="{AEAB98FC-AD16-7D0B-95F7-0843CC9E34BB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EE2985F1-5565-27E6-5141-9695B6240E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1643540"/>
              <a:ext cx="5600064" cy="166395"/>
            </a:xfrm>
            <a:prstGeom prst="rect">
              <a:avLst/>
            </a:prstGeom>
          </p:spPr>
        </p:pic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AD659AF6-515E-D9C2-7B38-E943F13655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2833847"/>
              <a:ext cx="5600064" cy="166395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BF496F20-75DC-B4F7-305D-01DA07886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4024154"/>
              <a:ext cx="5600064" cy="166395"/>
            </a:xfrm>
            <a:prstGeom prst="rect">
              <a:avLst/>
            </a:prstGeom>
          </p:spPr>
        </p:pic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134F1C31-094A-0D4F-333F-C78B9469FB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5214462"/>
              <a:ext cx="5600064" cy="166395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874CEDA-7CEA-C934-9624-DEF538055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452" y="2994131"/>
            <a:ext cx="2649230" cy="615553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F1AAE4-8A6B-A16B-09A7-37F48D2B6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965825" y="925274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D1A29E6-E23A-F852-01B9-79D3CF8A0F9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965825" y="2115581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EBD1CFB-5756-FBE6-13D4-A66D0ECF716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965825" y="3305889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39561FF3-93F3-6B52-09F6-52917E7ACDD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965825" y="4496198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D609F0A-B32D-0A24-7ABB-F99E0E5D849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965825" y="5686505"/>
            <a:ext cx="5643563" cy="24622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62541092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2C1E5E-6ECF-45B7-5495-EC89EE24A6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36354E9-B978-EB05-0A59-36AD7ED84499}"/>
                </a:ext>
              </a:extLst>
            </p:cNvPr>
            <p:cNvPicPr/>
            <p:nvPr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61842" y="0"/>
              <a:ext cx="7830158" cy="6858000"/>
            </a:xfrm>
            <a:prstGeom prst="rect">
              <a:avLst/>
            </a:prstGeom>
          </p:spPr>
        </p:pic>
        <p:pic>
          <p:nvPicPr>
            <p:cNvPr id="5" name="Picture Placeholder 4" descr="A close-up of a blue and white wavy paper&#10;&#10;Description automatically generated">
              <a:extLst>
                <a:ext uri="{FF2B5EF4-FFF2-40B4-BE49-F238E27FC236}">
                  <a16:creationId xmlns:a16="http://schemas.microsoft.com/office/drawing/2014/main" id="{97A4DA08-AF60-F644-0346-51773272C007}"/>
                </a:ext>
              </a:extLst>
            </p:cNvPr>
            <p:cNvPicPr/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60072"/>
            <a:stretch/>
          </p:blipFill>
          <p:spPr>
            <a:xfrm>
              <a:off x="0" y="1123950"/>
              <a:ext cx="11606784" cy="4610100"/>
            </a:xfrm>
            <a:custGeom>
              <a:avLst/>
              <a:gdLst>
                <a:gd name="connsiteX0" fmla="*/ 0 w 11606784"/>
                <a:gd name="connsiteY0" fmla="*/ 0 h 4610100"/>
                <a:gd name="connsiteX1" fmla="*/ 11378354 w 11606784"/>
                <a:gd name="connsiteY1" fmla="*/ 0 h 4610100"/>
                <a:gd name="connsiteX2" fmla="*/ 11606784 w 11606784"/>
                <a:gd name="connsiteY2" fmla="*/ 228430 h 4610100"/>
                <a:gd name="connsiteX3" fmla="*/ 11606784 w 11606784"/>
                <a:gd name="connsiteY3" fmla="*/ 4381670 h 4610100"/>
                <a:gd name="connsiteX4" fmla="*/ 11378354 w 11606784"/>
                <a:gd name="connsiteY4" fmla="*/ 4610100 h 4610100"/>
                <a:gd name="connsiteX5" fmla="*/ 0 w 11606784"/>
                <a:gd name="connsiteY5" fmla="*/ 4610100 h 461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06784" h="4610100">
                  <a:moveTo>
                    <a:pt x="0" y="0"/>
                  </a:moveTo>
                  <a:lnTo>
                    <a:pt x="11378354" y="0"/>
                  </a:lnTo>
                  <a:cubicBezTo>
                    <a:pt x="11504512" y="0"/>
                    <a:pt x="11606784" y="102272"/>
                    <a:pt x="11606784" y="228430"/>
                  </a:cubicBezTo>
                  <a:lnTo>
                    <a:pt x="11606784" y="4381670"/>
                  </a:lnTo>
                  <a:cubicBezTo>
                    <a:pt x="11606784" y="4507828"/>
                    <a:pt x="11504512" y="4610100"/>
                    <a:pt x="11378354" y="4610100"/>
                  </a:cubicBezTo>
                  <a:lnTo>
                    <a:pt x="0" y="4610100"/>
                  </a:lnTo>
                  <a:close/>
                </a:path>
              </a:pathLst>
            </a:custGeom>
          </p:spPr>
        </p:pic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308CE064-53F1-211A-AD50-ACE17E584EFA}"/>
                </a:ext>
              </a:extLst>
            </p:cNvPr>
            <p:cNvSpPr/>
            <p:nvPr/>
          </p:nvSpPr>
          <p:spPr bwMode="auto">
            <a:xfrm rot="5400000">
              <a:off x="3498057" y="-2374107"/>
              <a:ext cx="4610100" cy="11606213"/>
            </a:xfrm>
            <a:prstGeom prst="round2SameRect">
              <a:avLst>
                <a:gd name="adj1" fmla="val 4955"/>
                <a:gd name="adj2" fmla="val 0"/>
              </a:avLst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90BA6E-74AC-337A-DB4D-0023F9F885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88" y="2875001"/>
            <a:ext cx="10196512" cy="1107996"/>
          </a:xfrm>
        </p:spPr>
        <p:txBody>
          <a:bodyPr lIns="1188720" tIns="0" rIns="0" bIns="0" anchor="ctr"/>
          <a:lstStyle>
            <a:lvl1pPr>
              <a:defRPr/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E278E6-626C-43F7-A014-BF095D69D8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5788" y="3034990"/>
            <a:ext cx="785066" cy="788018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3600" dirty="0">
                <a:ln w="3175">
                  <a:noFill/>
                </a:ln>
                <a:gradFill flip="none" rotWithShape="1">
                  <a:gsLst>
                    <a:gs pos="96000">
                      <a:srgbClr val="0078D4"/>
                    </a:gs>
                    <a:gs pos="14000">
                      <a:srgbClr val="3897A3">
                        <a:lumMod val="87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ea typeface="+mj-lt"/>
                <a:cs typeface="Segoe Sans Display Semibold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17417155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B426F2F-D007-6F2C-C7B2-9F27099F14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97737E7-53FD-4237-3F7F-2EDB7D6EAB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FE70C3BC-27DA-B08D-354D-5D7B29280B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  <a:gradFill flip="none" rotWithShape="1">
                <a:gsLst>
                  <a:gs pos="0">
                    <a:srgbClr val="A8DAA2"/>
                  </a:gs>
                  <a:gs pos="40000">
                    <a:srgbClr val="57B9C5"/>
                  </a:gs>
                  <a:gs pos="88000">
                    <a:srgbClr val="0F656B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9525" cap="flat">
                <a:noFill/>
                <a:prstDash val="solid"/>
                <a:miter/>
              </a:ln>
              <a:effectLst>
                <a:outerShdw blurRad="50800" dist="254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3E9644D-1C61-A1F2-DA64-F90CB0EEE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53C5B0A-CC75-1BA8-7472-42D277CC6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667329"/>
              <a:ext cx="11018520" cy="43019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CDF58D0E-224D-3FA1-F4A0-375844895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787979"/>
              <a:ext cx="10804396" cy="4060654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0B9D8E8-ED80-3490-F0A5-F1CAB1A3C8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6791" y="2699233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E0447CC-F41F-B521-8943-71D9F2836B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98257" y="2699233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AB6A3C0-DC19-4923-DEF9-33A5C0E9BC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948751" y="2806015"/>
              <a:ext cx="1094613" cy="1094613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A336EAC-D346-6DF8-3616-4C95CF8D83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549987" y="2806015"/>
              <a:ext cx="1094613" cy="1094613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D7E0EEB-44DC-D41A-F151-6905AE0FD3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151683" y="2806015"/>
              <a:ext cx="1094613" cy="1094613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8E26CDD1-7901-4653-D8D7-DE38CD1A509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3BD9DED-CB08-082E-FDDA-0BAA2E0E404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53948" y="3973246"/>
            <a:ext cx="3284220" cy="1231106"/>
          </a:xfrm>
        </p:spPr>
        <p:txBody>
          <a:bodyPr lIns="0" tIns="0" rIns="0" bIns="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7A94E522-332F-F142-99E2-722F59E9C191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55414" y="3973246"/>
            <a:ext cx="3284220" cy="1231106"/>
          </a:xfrm>
        </p:spPr>
        <p:txBody>
          <a:bodyPr lIns="0" tIns="0" rIns="0" bIns="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F1EF1979-AEBB-DBAA-83A0-ED92D92E23F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056880" y="3973246"/>
            <a:ext cx="3284220" cy="1231106"/>
          </a:xfrm>
        </p:spPr>
        <p:txBody>
          <a:bodyPr lIns="0" tIns="0" rIns="0" bIns="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7251475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C75E3BF-511F-F462-9AC2-CE4F935558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2293A2A-D570-16D5-3F50-BA8E0DADCD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15969F2-CFC3-FC1B-6C47-169B655C68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5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7675" y="2133601"/>
              <a:ext cx="11291888" cy="2590800"/>
            </a:xfrm>
            <a:custGeom>
              <a:avLst/>
              <a:gdLst>
                <a:gd name="connsiteX0" fmla="*/ 293771 w 11291888"/>
                <a:gd name="connsiteY0" fmla="*/ 0 h 2590800"/>
                <a:gd name="connsiteX1" fmla="*/ 10998117 w 11291888"/>
                <a:gd name="connsiteY1" fmla="*/ 0 h 2590800"/>
                <a:gd name="connsiteX2" fmla="*/ 11291888 w 11291888"/>
                <a:gd name="connsiteY2" fmla="*/ 293771 h 2590800"/>
                <a:gd name="connsiteX3" fmla="*/ 11291888 w 11291888"/>
                <a:gd name="connsiteY3" fmla="*/ 2297029 h 2590800"/>
                <a:gd name="connsiteX4" fmla="*/ 10998117 w 11291888"/>
                <a:gd name="connsiteY4" fmla="*/ 2590800 h 2590800"/>
                <a:gd name="connsiteX5" fmla="*/ 293771 w 11291888"/>
                <a:gd name="connsiteY5" fmla="*/ 2590800 h 2590800"/>
                <a:gd name="connsiteX6" fmla="*/ 0 w 11291888"/>
                <a:gd name="connsiteY6" fmla="*/ 2297029 h 2590800"/>
                <a:gd name="connsiteX7" fmla="*/ 0 w 11291888"/>
                <a:gd name="connsiteY7" fmla="*/ 293771 h 2590800"/>
                <a:gd name="connsiteX8" fmla="*/ 293771 w 11291888"/>
                <a:gd name="connsiteY8" fmla="*/ 0 h 259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91888" h="2590800">
                  <a:moveTo>
                    <a:pt x="293771" y="0"/>
                  </a:moveTo>
                  <a:lnTo>
                    <a:pt x="10998117" y="0"/>
                  </a:lnTo>
                  <a:cubicBezTo>
                    <a:pt x="11160362" y="0"/>
                    <a:pt x="11291888" y="131526"/>
                    <a:pt x="11291888" y="293771"/>
                  </a:cubicBezTo>
                  <a:lnTo>
                    <a:pt x="11291888" y="2297029"/>
                  </a:lnTo>
                  <a:cubicBezTo>
                    <a:pt x="11291888" y="2459274"/>
                    <a:pt x="11160362" y="2590800"/>
                    <a:pt x="10998117" y="2590800"/>
                  </a:cubicBezTo>
                  <a:lnTo>
                    <a:pt x="293771" y="2590800"/>
                  </a:lnTo>
                  <a:cubicBezTo>
                    <a:pt x="131526" y="2590800"/>
                    <a:pt x="0" y="2459274"/>
                    <a:pt x="0" y="2297029"/>
                  </a:cubicBezTo>
                  <a:lnTo>
                    <a:pt x="0" y="293771"/>
                  </a:lnTo>
                  <a:cubicBezTo>
                    <a:pt x="0" y="131526"/>
                    <a:pt x="131526" y="0"/>
                    <a:pt x="293771" y="0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32000"/>
                  </a:schemeClr>
                </a:gs>
                <a:gs pos="100000">
                  <a:schemeClr val="bg1"/>
                </a:gs>
              </a:gsLst>
              <a:lin ang="8100000" scaled="1"/>
            </a:gradFill>
            <a:ln w="12700" cap="flat">
              <a:noFill/>
              <a:prstDash val="solid"/>
              <a:miter/>
            </a:ln>
            <a:effectLst/>
          </p:spPr>
        </p:pic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DE90F96-65FD-E18D-2EA4-E2B46F1DE2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675" y="2133601"/>
              <a:ext cx="11291888" cy="2590800"/>
            </a:xfrm>
            <a:prstGeom prst="roundRect">
              <a:avLst>
                <a:gd name="adj" fmla="val 8838"/>
              </a:avLst>
            </a:prstGeom>
            <a:gradFill flip="none" rotWithShape="1">
              <a:gsLst>
                <a:gs pos="54000">
                  <a:srgbClr val="EDF0F6">
                    <a:alpha val="37000"/>
                  </a:srgbClr>
                </a:gs>
                <a:gs pos="100000">
                  <a:schemeClr val="bg1">
                    <a:alpha val="59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solidFill>
                <a:schemeClr val="bg2"/>
              </a:solidFill>
              <a:headEnd type="none" w="med" len="med"/>
              <a:tailEnd type="none" w="med" len="med"/>
            </a:ln>
            <a:effectLst>
              <a:outerShdw blurRad="140629" dist="38100" dir="13500000" algn="br" rotWithShape="0">
                <a:schemeClr val="bg1">
                  <a:lumMod val="65000"/>
                  <a:alpha val="40000"/>
                </a:scheme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84DFF7-A99B-2850-464A-16047EB2DC24}"/>
                </a:ext>
              </a:extLst>
            </p:cNvPr>
            <p:cNvSpPr/>
            <p:nvPr userDrawn="1"/>
          </p:nvSpPr>
          <p:spPr bwMode="auto">
            <a:xfrm>
              <a:off x="1056009" y="2133600"/>
              <a:ext cx="675760" cy="725461"/>
            </a:xfrm>
            <a:prstGeom prst="rect">
              <a:avLst/>
            </a:prstGeom>
            <a:solidFill>
              <a:srgbClr val="2A446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noProof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B4FF9D4-F43E-881A-B7B6-9792A933F2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6689" y="2133600"/>
              <a:ext cx="914400" cy="0"/>
            </a:xfrm>
            <a:prstGeom prst="line">
              <a:avLst/>
            </a:prstGeom>
            <a:ln w="38100" cap="rnd">
              <a:solidFill>
                <a:srgbClr val="8DC8E8"/>
              </a:solidFill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FD0B60E-FB0E-3CC7-11E6-1E5A943F89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761929" y="2741661"/>
              <a:ext cx="1254880" cy="1267948"/>
              <a:chOff x="5047758" y="912128"/>
              <a:chExt cx="763571" cy="771525"/>
            </a:xfrm>
            <a:effectLst>
              <a:outerShdw blurRad="50800" dist="38100" algn="l" rotWithShape="0">
                <a:schemeClr val="bg1">
                  <a:lumMod val="75000"/>
                  <a:alpha val="26000"/>
                </a:schemeClr>
              </a:outerShdw>
            </a:effectLst>
          </p:grpSpPr>
          <p:sp>
            <p:nvSpPr>
              <p:cNvPr id="10" name="Freeform: Shape 24">
                <a:extLst>
                  <a:ext uri="{FF2B5EF4-FFF2-40B4-BE49-F238E27FC236}">
                    <a16:creationId xmlns:a16="http://schemas.microsoft.com/office/drawing/2014/main" id="{91D39017-9DF3-84A8-CAFC-D498FA07B071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>
                <a:outerShdw blurRad="101600" dist="38100" dir="10800000" algn="r" rotWithShape="0">
                  <a:schemeClr val="bg1">
                    <a:lumMod val="75000"/>
                    <a:alpha val="2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25">
                <a:extLst>
                  <a:ext uri="{FF2B5EF4-FFF2-40B4-BE49-F238E27FC236}">
                    <a16:creationId xmlns:a16="http://schemas.microsoft.com/office/drawing/2014/main" id="{53BE5639-E973-FB5C-D868-391C8EAA83A8}"/>
                  </a:ext>
                </a:extLst>
              </p:cNvPr>
              <p:cNvSpPr/>
              <p:nvPr/>
            </p:nvSpPr>
            <p:spPr>
              <a:xfrm>
                <a:off x="5118459" y="983565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24B574F-BD9B-69E6-6495-95D4E94C5D42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10141231" y="4623707"/>
              <a:ext cx="799535" cy="201388"/>
              <a:chOff x="3049826" y="4046193"/>
              <a:chExt cx="604126" cy="152167"/>
            </a:xfrm>
            <a:effectLst>
              <a:outerShdw blurRad="76200" dist="25400" dir="5400000" algn="t" rotWithShape="0">
                <a:schemeClr val="tx1">
                  <a:lumMod val="90000"/>
                  <a:lumOff val="10000"/>
                  <a:alpha val="45599"/>
                </a:schemeClr>
              </a:outerShdw>
            </a:effectLst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09A6FAD6-8F7F-7394-AA65-5AFBBF475253}"/>
                  </a:ext>
                </a:extLst>
              </p:cNvPr>
              <p:cNvSpPr/>
              <p:nvPr/>
            </p:nvSpPr>
            <p:spPr bwMode="auto">
              <a:xfrm>
                <a:off x="3049826" y="4046193"/>
                <a:ext cx="152167" cy="152167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2A101959-A8AB-8CA2-C3D1-B80A008DF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805" y="4046193"/>
                <a:ext cx="152167" cy="152167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978E6139-10B5-2577-60E5-5873AF31C801}"/>
                  </a:ext>
                </a:extLst>
              </p:cNvPr>
              <p:cNvSpPr/>
              <p:nvPr/>
            </p:nvSpPr>
            <p:spPr bwMode="auto">
              <a:xfrm>
                <a:off x="3501785" y="4046193"/>
                <a:ext cx="152167" cy="152167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8" name="Title 35">
            <a:extLst>
              <a:ext uri="{FF2B5EF4-FFF2-40B4-BE49-F238E27FC236}">
                <a16:creationId xmlns:a16="http://schemas.microsoft.com/office/drawing/2014/main" id="{E2E43A37-5F07-47CA-5FD1-8BBC48293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8678" y="3051252"/>
            <a:ext cx="7454643" cy="64876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359376208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B62264C-4817-EC1E-DA95-04ABE02FA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74A34F-5D0E-47E7-AE77-BC1B96EB5C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Picture Placeholder 3">
              <a:extLst>
                <a:ext uri="{FF2B5EF4-FFF2-40B4-BE49-F238E27FC236}">
                  <a16:creationId xmlns:a16="http://schemas.microsoft.com/office/drawing/2014/main" id="{C37D4D47-DF30-A474-9885-03995FB5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4200" y="1123951"/>
              <a:ext cx="11022585" cy="4610101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6" name="Rectangle: Rounded Corners 36">
              <a:extLst>
                <a:ext uri="{FF2B5EF4-FFF2-40B4-BE49-F238E27FC236}">
                  <a16:creationId xmlns:a16="http://schemas.microsoft.com/office/drawing/2014/main" id="{79B50CF8-60AC-AFCE-417D-640F2475E1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3790951" y="-2081784"/>
              <a:ext cx="4610100" cy="11021568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7" name="Rectangle: Top Corners Rounded 6">
              <a:extLst>
                <a:ext uri="{FF2B5EF4-FFF2-40B4-BE49-F238E27FC236}">
                  <a16:creationId xmlns:a16="http://schemas.microsoft.com/office/drawing/2014/main" id="{DAFAC0D8-A3BF-6A45-E6E0-913BE7AAFC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3790443" y="-2082292"/>
              <a:ext cx="4610100" cy="11022584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B173A8F7-F826-20F7-41F0-BF586C1C6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-723273"/>
            <a:ext cx="11018520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uote slid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952F893-0DC9-D473-2BDE-F441B14CCA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6967" y="2039025"/>
            <a:ext cx="9318066" cy="2246769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228600" indent="0" algn="r">
              <a:buNone/>
              <a:defRPr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”</a:t>
            </a:r>
          </a:p>
          <a:p>
            <a:pPr lvl="1"/>
            <a:r>
              <a:rPr lang="en-US"/>
              <a:t>— Lorem ipsum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1C78285-23E1-A557-527D-66D2BD3A3C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66848" y="4624344"/>
            <a:ext cx="2409152" cy="785402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IN"/>
              <a:t>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84018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125C39B8-70DA-2457-19C0-6C825851B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 rotWithShape="1">
          <a:blip r:embed="rId2" cstate="screen">
            <a:alphaModFix amt="9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901844"/>
            <a:ext cx="5079701" cy="3956157"/>
          </a:xfrm>
          <a:custGeom>
            <a:avLst/>
            <a:gdLst>
              <a:gd name="connsiteX0" fmla="*/ 5079701 w 5079701"/>
              <a:gd name="connsiteY0" fmla="*/ 0 h 3956157"/>
              <a:gd name="connsiteX1" fmla="*/ 0 w 5079701"/>
              <a:gd name="connsiteY1" fmla="*/ 0 h 3956157"/>
              <a:gd name="connsiteX2" fmla="*/ 0 w 5079701"/>
              <a:gd name="connsiteY2" fmla="*/ 3956157 h 3956157"/>
              <a:gd name="connsiteX3" fmla="*/ 5079701 w 5079701"/>
              <a:gd name="connsiteY3" fmla="*/ 3956157 h 3956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9701" h="3956157">
                <a:moveTo>
                  <a:pt x="5079701" y="0"/>
                </a:moveTo>
                <a:lnTo>
                  <a:pt x="0" y="0"/>
                </a:lnTo>
                <a:lnTo>
                  <a:pt x="0" y="3956157"/>
                </a:lnTo>
                <a:lnTo>
                  <a:pt x="5079701" y="3956157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91871451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 Titl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4CB7888-0C25-28C7-6B21-1678801503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7"/>
            <a:ext cx="11609389" cy="6272214"/>
            <a:chOff x="0" y="585787"/>
            <a:chExt cx="11609389" cy="627221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5C39B8-70DA-2457-19C0-6C825851BE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34DBACF-F488-ACDA-C2A6-CC738818873A}"/>
                </a:ext>
              </a:extLst>
            </p:cNvPr>
            <p:cNvSpPr/>
            <p:nvPr userDrawn="1"/>
          </p:nvSpPr>
          <p:spPr bwMode="auto">
            <a:xfrm>
              <a:off x="5327597" y="585787"/>
              <a:ext cx="6281792" cy="1821202"/>
            </a:xfrm>
            <a:prstGeom prst="roundRect">
              <a:avLst>
                <a:gd name="adj" fmla="val 55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401B9C33-0C19-C28D-80DB-4496F81222FC}"/>
                </a:ext>
              </a:extLst>
            </p:cNvPr>
            <p:cNvSpPr/>
            <p:nvPr userDrawn="1"/>
          </p:nvSpPr>
          <p:spPr bwMode="auto">
            <a:xfrm>
              <a:off x="5327597" y="4447836"/>
              <a:ext cx="6281792" cy="1821202"/>
            </a:xfrm>
            <a:prstGeom prst="roundRect">
              <a:avLst>
                <a:gd name="adj" fmla="val 55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A273A1B-028C-9B7F-1A32-E585C1734320}"/>
                </a:ext>
              </a:extLst>
            </p:cNvPr>
            <p:cNvSpPr/>
            <p:nvPr userDrawn="1"/>
          </p:nvSpPr>
          <p:spPr bwMode="auto">
            <a:xfrm>
              <a:off x="5327597" y="2516812"/>
              <a:ext cx="6281792" cy="1821202"/>
            </a:xfrm>
            <a:prstGeom prst="roundRect">
              <a:avLst>
                <a:gd name="adj" fmla="val 55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6" name="Oval 34_1">
              <a:extLst>
                <a:ext uri="{FF2B5EF4-FFF2-40B4-BE49-F238E27FC236}">
                  <a16:creationId xmlns:a16="http://schemas.microsoft.com/office/drawing/2014/main" id="{86B07D5C-AECC-4BB4-3CD3-476BFB3E1F5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1183086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9" name="Oval 34_1">
              <a:extLst>
                <a:ext uri="{FF2B5EF4-FFF2-40B4-BE49-F238E27FC236}">
                  <a16:creationId xmlns:a16="http://schemas.microsoft.com/office/drawing/2014/main" id="{8888544D-C4E7-DD03-38C0-BBBAAF389A7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3114111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2" name="Oval 34_1">
              <a:extLst>
                <a:ext uri="{FF2B5EF4-FFF2-40B4-BE49-F238E27FC236}">
                  <a16:creationId xmlns:a16="http://schemas.microsoft.com/office/drawing/2014/main" id="{BA371ED1-4011-53D8-0AC4-968222881CD4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5045135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781C2BD-71CC-E8DA-2CD2-7EC1EE464E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5700" y="1342500"/>
            <a:ext cx="4962864" cy="30777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B024FE9-8420-721C-1B3E-F074AB484E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5700" y="3273525"/>
            <a:ext cx="4962864" cy="30777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D4390A1-43BB-6A5C-31C4-F3F0F668BE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5700" y="5204549"/>
            <a:ext cx="4962864" cy="30777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87294972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 Titl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400EC74-E51F-C8B9-C8C3-71A4E8D46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7"/>
            <a:ext cx="11609389" cy="6272214"/>
            <a:chOff x="0" y="585787"/>
            <a:chExt cx="11609389" cy="627221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5C39B8-70DA-2457-19C0-6C825851BE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D9976D7-22B2-2D23-2CA3-3681DC9237A5}"/>
                </a:ext>
              </a:extLst>
            </p:cNvPr>
            <p:cNvSpPr/>
            <p:nvPr userDrawn="1"/>
          </p:nvSpPr>
          <p:spPr bwMode="auto">
            <a:xfrm>
              <a:off x="5327597" y="585787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136F2367-76C4-E545-5C1A-90E892605445}"/>
                </a:ext>
              </a:extLst>
            </p:cNvPr>
            <p:cNvSpPr/>
            <p:nvPr userDrawn="1"/>
          </p:nvSpPr>
          <p:spPr bwMode="auto">
            <a:xfrm>
              <a:off x="5327597" y="2034065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D924E9F-25C9-9F23-8C86-BB5F6ECEEE69}"/>
                </a:ext>
              </a:extLst>
            </p:cNvPr>
            <p:cNvSpPr/>
            <p:nvPr userDrawn="1"/>
          </p:nvSpPr>
          <p:spPr bwMode="auto">
            <a:xfrm>
              <a:off x="5327597" y="3482343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A96AFEA4-47A0-A1D1-99B0-ED4425253D9A}"/>
                </a:ext>
              </a:extLst>
            </p:cNvPr>
            <p:cNvSpPr/>
            <p:nvPr userDrawn="1"/>
          </p:nvSpPr>
          <p:spPr bwMode="auto">
            <a:xfrm>
              <a:off x="5327597" y="4930622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20" name="Oval 34_1">
              <a:extLst>
                <a:ext uri="{FF2B5EF4-FFF2-40B4-BE49-F238E27FC236}">
                  <a16:creationId xmlns:a16="http://schemas.microsoft.com/office/drawing/2014/main" id="{1BD2B4C0-2BE2-8194-CFA3-64686077DF4A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941693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3" name="Oval 34_1">
              <a:extLst>
                <a:ext uri="{FF2B5EF4-FFF2-40B4-BE49-F238E27FC236}">
                  <a16:creationId xmlns:a16="http://schemas.microsoft.com/office/drawing/2014/main" id="{C46A5452-5C1B-A9F6-D212-064FBE78512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2389971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6" name="Oval 34_1">
              <a:extLst>
                <a:ext uri="{FF2B5EF4-FFF2-40B4-BE49-F238E27FC236}">
                  <a16:creationId xmlns:a16="http://schemas.microsoft.com/office/drawing/2014/main" id="{2A41A90C-7E5E-50B3-7038-3B85AB33834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3838249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9" name="Oval 34_1">
              <a:extLst>
                <a:ext uri="{FF2B5EF4-FFF2-40B4-BE49-F238E27FC236}">
                  <a16:creationId xmlns:a16="http://schemas.microsoft.com/office/drawing/2014/main" id="{DC0304B1-DC30-1788-8EAD-386E3545771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5286528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781C2BD-71CC-E8DA-2CD2-7EC1EE464E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5700" y="1116496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B024FE9-8420-721C-1B3E-F074AB484E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5700" y="2564774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D4390A1-43BB-6A5C-31C4-F3F0F668BE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5700" y="4013052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78530A-1329-276E-A36E-6F474A93F3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5700" y="5461331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4142778422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 Titl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7F829C8-10DD-8CBC-6572-A517F3A112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8"/>
            <a:ext cx="11609389" cy="6272213"/>
            <a:chOff x="0" y="585788"/>
            <a:chExt cx="11609389" cy="6272213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5C39B8-70DA-2457-19C0-6C825851BE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94B24E7-BDC5-704A-3520-5BA157CCADBB}"/>
                </a:ext>
              </a:extLst>
            </p:cNvPr>
            <p:cNvSpPr/>
            <p:nvPr userDrawn="1"/>
          </p:nvSpPr>
          <p:spPr bwMode="auto">
            <a:xfrm>
              <a:off x="5327597" y="585788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DF15C1D0-79F6-DF5C-4D9E-DD99F3149746}"/>
                </a:ext>
              </a:extLst>
            </p:cNvPr>
            <p:cNvSpPr/>
            <p:nvPr userDrawn="1"/>
          </p:nvSpPr>
          <p:spPr bwMode="auto">
            <a:xfrm>
              <a:off x="5327597" y="1744391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E0C076A-0D67-AB80-F3A6-3D197A1CD5CB}"/>
                </a:ext>
              </a:extLst>
            </p:cNvPr>
            <p:cNvSpPr/>
            <p:nvPr userDrawn="1"/>
          </p:nvSpPr>
          <p:spPr bwMode="auto">
            <a:xfrm>
              <a:off x="5327597" y="2902994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1C31759-F2E5-1C81-1DC8-7742FD10E32E}"/>
                </a:ext>
              </a:extLst>
            </p:cNvPr>
            <p:cNvSpPr/>
            <p:nvPr userDrawn="1"/>
          </p:nvSpPr>
          <p:spPr bwMode="auto">
            <a:xfrm>
              <a:off x="5327597" y="4061598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81991F0-8681-D926-9FA8-93C0441B89F6}"/>
                </a:ext>
              </a:extLst>
            </p:cNvPr>
            <p:cNvSpPr/>
            <p:nvPr userDrawn="1"/>
          </p:nvSpPr>
          <p:spPr bwMode="auto">
            <a:xfrm>
              <a:off x="5327597" y="5220201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9" name="Oval 34_1">
              <a:extLst>
                <a:ext uri="{FF2B5EF4-FFF2-40B4-BE49-F238E27FC236}">
                  <a16:creationId xmlns:a16="http://schemas.microsoft.com/office/drawing/2014/main" id="{A8930BD0-00D8-B437-4B47-25E693EA11C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796904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4" name="Oval 34_1">
              <a:extLst>
                <a:ext uri="{FF2B5EF4-FFF2-40B4-BE49-F238E27FC236}">
                  <a16:creationId xmlns:a16="http://schemas.microsoft.com/office/drawing/2014/main" id="{A015EE23-653F-7D60-B089-79AF9E7DFE1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1955508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7" name="Oval 34_1">
              <a:extLst>
                <a:ext uri="{FF2B5EF4-FFF2-40B4-BE49-F238E27FC236}">
                  <a16:creationId xmlns:a16="http://schemas.microsoft.com/office/drawing/2014/main" id="{54324D74-C62C-3E4C-849A-69D608802DFB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3114110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34" name="Oval 34_1">
              <a:extLst>
                <a:ext uri="{FF2B5EF4-FFF2-40B4-BE49-F238E27FC236}">
                  <a16:creationId xmlns:a16="http://schemas.microsoft.com/office/drawing/2014/main" id="{C529DDF3-178A-0258-06C9-9D526047B01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4272714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37" name="Oval 34_1">
              <a:extLst>
                <a:ext uri="{FF2B5EF4-FFF2-40B4-BE49-F238E27FC236}">
                  <a16:creationId xmlns:a16="http://schemas.microsoft.com/office/drawing/2014/main" id="{E43F7604-A3AB-F5CE-386A-A65B131E513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5431317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781C2BD-71CC-E8DA-2CD2-7EC1EE464E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5700" y="987096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B024FE9-8420-721C-1B3E-F074AB484E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5700" y="2145699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D4390A1-43BB-6A5C-31C4-F3F0F668BE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5700" y="3304301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78530A-1329-276E-A36E-6F474A93F3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5700" y="4462906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77EB4440-BC12-3719-3D9C-38AB655451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5700" y="5621509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1621679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Poin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E611AC6-E3F2-803B-4CB7-D3E656743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0"/>
            <a:ext cx="12192007" cy="6858000"/>
            <a:chOff x="-1" y="0"/>
            <a:chExt cx="1219200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484113-24B3-3685-ECFF-49005F1F2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7F8483-A5FC-7117-F502-F1472FBEF2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A10733-DF23-767F-D4BC-978CB741B8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V="1">
              <a:off x="7634077" y="1321597"/>
              <a:ext cx="4143809" cy="4972049"/>
            </a:xfrm>
            <a:custGeom>
              <a:avLst/>
              <a:gdLst>
                <a:gd name="connsiteX0" fmla="*/ 0 w 4593406"/>
                <a:gd name="connsiteY0" fmla="*/ 312719 h 5511799"/>
                <a:gd name="connsiteX1" fmla="*/ 0 w 4593406"/>
                <a:gd name="connsiteY1" fmla="*/ 5511799 h 5511799"/>
                <a:gd name="connsiteX2" fmla="*/ 4593406 w 4593406"/>
                <a:gd name="connsiteY2" fmla="*/ 5511799 h 5511799"/>
                <a:gd name="connsiteX3" fmla="*/ 4593406 w 4593406"/>
                <a:gd name="connsiteY3" fmla="*/ 312719 h 5511799"/>
                <a:gd name="connsiteX4" fmla="*/ 4280687 w 4593406"/>
                <a:gd name="connsiteY4" fmla="*/ 0 h 5511799"/>
                <a:gd name="connsiteX5" fmla="*/ 312719 w 4593406"/>
                <a:gd name="connsiteY5" fmla="*/ 0 h 5511799"/>
                <a:gd name="connsiteX6" fmla="*/ 0 w 4593406"/>
                <a:gd name="connsiteY6" fmla="*/ 312719 h 551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93406" h="5511799">
                  <a:moveTo>
                    <a:pt x="0" y="312719"/>
                  </a:moveTo>
                  <a:lnTo>
                    <a:pt x="0" y="5511799"/>
                  </a:lnTo>
                  <a:lnTo>
                    <a:pt x="4593406" y="5511799"/>
                  </a:lnTo>
                  <a:lnTo>
                    <a:pt x="4593406" y="312719"/>
                  </a:lnTo>
                  <a:cubicBezTo>
                    <a:pt x="4593406" y="140009"/>
                    <a:pt x="4453397" y="0"/>
                    <a:pt x="4280687" y="0"/>
                  </a:cubicBezTo>
                  <a:lnTo>
                    <a:pt x="312719" y="0"/>
                  </a:lnTo>
                  <a:cubicBezTo>
                    <a:pt x="140009" y="0"/>
                    <a:pt x="0" y="140009"/>
                    <a:pt x="0" y="31271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wrap="square" lIns="146304" tIns="146304" rIns="146304" bIns="146304">
              <a:noAutofit/>
            </a:bodyPr>
            <a:lstStyle/>
            <a:p>
              <a:endParaRPr lang="en-US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B956781-A77E-C931-8046-7A932907D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 flipH="1" flipV="1">
              <a:off x="1012031" y="334171"/>
              <a:ext cx="4922835" cy="6946900"/>
            </a:xfrm>
            <a:prstGeom prst="round2SameRect">
              <a:avLst>
                <a:gd name="adj1" fmla="val 3733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C9C1D8E-4D3B-DDBD-2012-158D1525DE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2987148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69A856D-ED7D-C1D3-3DAC-1ADE6CE2FF1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4628093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CB90DB-CB62-055F-F422-19CCBB913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da-DK"/>
              <a:t>Lorem ipsum dolor sit amet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D92894B-10DB-D6E9-3D54-2F851A8E04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964" y="1889677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CF9DBA1-6B59-78ED-B38B-D1966C2FA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47028" y="1723479"/>
            <a:ext cx="5134771" cy="886397"/>
          </a:xfrm>
        </p:spPr>
        <p:txBody>
          <a:bodyPr anchor="ctr"/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E7C1168F-08DA-CEB5-3FBF-DC82EE338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8964" y="3530622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19E0DB77-C215-3EDC-33C9-F67E33B95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47028" y="3364424"/>
            <a:ext cx="5134771" cy="886397"/>
          </a:xfrm>
        </p:spPr>
        <p:txBody>
          <a:bodyPr anchor="ctr"/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297BFAB4-E7AB-3C9C-3BE4-488C3CAAE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4" y="5171567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73B2FE30-E9EC-CD51-F62D-16CD8D696B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7028" y="5005369"/>
            <a:ext cx="5134771" cy="886397"/>
          </a:xfrm>
        </p:spPr>
        <p:txBody>
          <a:bodyPr anchor="ctr"/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07EE1F0-24B7-C9D3-BFD5-44540BC0A16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327900" y="1830462"/>
            <a:ext cx="4864100" cy="3954318"/>
          </a:xfrm>
          <a:custGeom>
            <a:avLst/>
            <a:gdLst>
              <a:gd name="connsiteX0" fmla="*/ 198626 w 4864100"/>
              <a:gd name="connsiteY0" fmla="*/ 0 h 3954318"/>
              <a:gd name="connsiteX1" fmla="*/ 4864100 w 4864100"/>
              <a:gd name="connsiteY1" fmla="*/ 0 h 3954318"/>
              <a:gd name="connsiteX2" fmla="*/ 4864100 w 4864100"/>
              <a:gd name="connsiteY2" fmla="*/ 3954318 h 3954318"/>
              <a:gd name="connsiteX3" fmla="*/ 198626 w 4864100"/>
              <a:gd name="connsiteY3" fmla="*/ 3954318 h 3954318"/>
              <a:gd name="connsiteX4" fmla="*/ 0 w 4864100"/>
              <a:gd name="connsiteY4" fmla="*/ 3755693 h 3954318"/>
              <a:gd name="connsiteX5" fmla="*/ 0 w 4864100"/>
              <a:gd name="connsiteY5" fmla="*/ 198626 h 3954318"/>
              <a:gd name="connsiteX6" fmla="*/ 198626 w 4864100"/>
              <a:gd name="connsiteY6" fmla="*/ 0 h 3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64100" h="3954318">
                <a:moveTo>
                  <a:pt x="198626" y="0"/>
                </a:moveTo>
                <a:lnTo>
                  <a:pt x="4864100" y="0"/>
                </a:lnTo>
                <a:lnTo>
                  <a:pt x="4864100" y="3954318"/>
                </a:lnTo>
                <a:lnTo>
                  <a:pt x="198626" y="3954318"/>
                </a:lnTo>
                <a:cubicBezTo>
                  <a:pt x="88928" y="3954318"/>
                  <a:pt x="0" y="3865391"/>
                  <a:pt x="0" y="3755693"/>
                </a:cubicBezTo>
                <a:lnTo>
                  <a:pt x="0" y="198626"/>
                </a:lnTo>
                <a:cubicBezTo>
                  <a:pt x="0" y="88927"/>
                  <a:pt x="88928" y="0"/>
                  <a:pt x="19862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18913549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in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26AD282-25FF-AAD3-D670-21EB1ADD32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0"/>
            <a:ext cx="12192007" cy="6858000"/>
            <a:chOff x="-1" y="0"/>
            <a:chExt cx="1219200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484113-24B3-3685-ECFF-49005F1F2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7F8483-A5FC-7117-F502-F1472FBEF2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A10733-DF23-767F-D4BC-978CB741B8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V="1">
              <a:off x="7634077" y="1321597"/>
              <a:ext cx="4143809" cy="4972049"/>
            </a:xfrm>
            <a:custGeom>
              <a:avLst/>
              <a:gdLst>
                <a:gd name="connsiteX0" fmla="*/ 0 w 4593406"/>
                <a:gd name="connsiteY0" fmla="*/ 312719 h 5511799"/>
                <a:gd name="connsiteX1" fmla="*/ 0 w 4593406"/>
                <a:gd name="connsiteY1" fmla="*/ 5511799 h 5511799"/>
                <a:gd name="connsiteX2" fmla="*/ 4593406 w 4593406"/>
                <a:gd name="connsiteY2" fmla="*/ 5511799 h 5511799"/>
                <a:gd name="connsiteX3" fmla="*/ 4593406 w 4593406"/>
                <a:gd name="connsiteY3" fmla="*/ 312719 h 5511799"/>
                <a:gd name="connsiteX4" fmla="*/ 4280687 w 4593406"/>
                <a:gd name="connsiteY4" fmla="*/ 0 h 5511799"/>
                <a:gd name="connsiteX5" fmla="*/ 312719 w 4593406"/>
                <a:gd name="connsiteY5" fmla="*/ 0 h 5511799"/>
                <a:gd name="connsiteX6" fmla="*/ 0 w 4593406"/>
                <a:gd name="connsiteY6" fmla="*/ 312719 h 551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93406" h="5511799">
                  <a:moveTo>
                    <a:pt x="0" y="312719"/>
                  </a:moveTo>
                  <a:lnTo>
                    <a:pt x="0" y="5511799"/>
                  </a:lnTo>
                  <a:lnTo>
                    <a:pt x="4593406" y="5511799"/>
                  </a:lnTo>
                  <a:lnTo>
                    <a:pt x="4593406" y="312719"/>
                  </a:lnTo>
                  <a:cubicBezTo>
                    <a:pt x="4593406" y="140009"/>
                    <a:pt x="4453397" y="0"/>
                    <a:pt x="4280687" y="0"/>
                  </a:cubicBezTo>
                  <a:lnTo>
                    <a:pt x="312719" y="0"/>
                  </a:lnTo>
                  <a:cubicBezTo>
                    <a:pt x="140009" y="0"/>
                    <a:pt x="0" y="140009"/>
                    <a:pt x="0" y="31271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wrap="square" lIns="146304" tIns="146304" rIns="146304" bIns="146304">
              <a:noAutofit/>
            </a:bodyPr>
            <a:lstStyle/>
            <a:p>
              <a:endParaRPr lang="en-US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B956781-A77E-C931-8046-7A932907D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 flipH="1" flipV="1">
              <a:off x="1012031" y="334171"/>
              <a:ext cx="4922835" cy="6946900"/>
            </a:xfrm>
            <a:prstGeom prst="round2SameRect">
              <a:avLst>
                <a:gd name="adj1" fmla="val 3733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C9C1D8E-4D3B-DDBD-2012-158D1525DE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2576071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69A856D-ED7D-C1D3-3DAC-1ADE6CE2FF1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5035807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C63B577-7DCA-9887-CFDE-13D7AF8539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3805939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29696BE-5B93-F245-9DA3-68AA1F588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da-DK"/>
              <a:t>Lorem ipsum dolor sit amet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D92894B-10DB-D6E9-3D54-2F851A8E04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964" y="1714915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CF9DBA1-6B59-78ED-B38B-D1966C2FA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47028" y="1567184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E7C1168F-08DA-CEB5-3FBF-DC82EE338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8964" y="2944783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19E0DB77-C215-3EDC-33C9-F67E33B95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47028" y="2797053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297BFAB4-E7AB-3C9C-3BE4-488C3CAAE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4" y="4174651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73B2FE30-E9EC-CD51-F62D-16CD8D696B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7028" y="4026920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8FA4904-134A-2C81-7756-DD4ABAB38B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8964" y="5404520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A075FD85-A4EF-7AEF-2705-95DC10D71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7028" y="5256789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695DDE6-9D96-331F-5069-45EBABD0ED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327900" y="1830462"/>
            <a:ext cx="4864100" cy="3954318"/>
          </a:xfrm>
          <a:custGeom>
            <a:avLst/>
            <a:gdLst>
              <a:gd name="connsiteX0" fmla="*/ 198626 w 4864100"/>
              <a:gd name="connsiteY0" fmla="*/ 0 h 3954318"/>
              <a:gd name="connsiteX1" fmla="*/ 4864100 w 4864100"/>
              <a:gd name="connsiteY1" fmla="*/ 0 h 3954318"/>
              <a:gd name="connsiteX2" fmla="*/ 4864100 w 4864100"/>
              <a:gd name="connsiteY2" fmla="*/ 3954318 h 3954318"/>
              <a:gd name="connsiteX3" fmla="*/ 198626 w 4864100"/>
              <a:gd name="connsiteY3" fmla="*/ 3954318 h 3954318"/>
              <a:gd name="connsiteX4" fmla="*/ 0 w 4864100"/>
              <a:gd name="connsiteY4" fmla="*/ 3755693 h 3954318"/>
              <a:gd name="connsiteX5" fmla="*/ 0 w 4864100"/>
              <a:gd name="connsiteY5" fmla="*/ 198626 h 3954318"/>
              <a:gd name="connsiteX6" fmla="*/ 198626 w 4864100"/>
              <a:gd name="connsiteY6" fmla="*/ 0 h 3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64100" h="3954318">
                <a:moveTo>
                  <a:pt x="198626" y="0"/>
                </a:moveTo>
                <a:lnTo>
                  <a:pt x="4864100" y="0"/>
                </a:lnTo>
                <a:lnTo>
                  <a:pt x="4864100" y="3954318"/>
                </a:lnTo>
                <a:lnTo>
                  <a:pt x="198626" y="3954318"/>
                </a:lnTo>
                <a:cubicBezTo>
                  <a:pt x="88928" y="3954318"/>
                  <a:pt x="0" y="3865391"/>
                  <a:pt x="0" y="3755693"/>
                </a:cubicBezTo>
                <a:lnTo>
                  <a:pt x="0" y="198626"/>
                </a:lnTo>
                <a:cubicBezTo>
                  <a:pt x="0" y="88927"/>
                  <a:pt x="88928" y="0"/>
                  <a:pt x="19862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19282854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oin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D02EFFE-762E-981F-B411-C93A513BB4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0"/>
            <a:ext cx="12192007" cy="6858000"/>
            <a:chOff x="-1" y="0"/>
            <a:chExt cx="1219200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484113-24B3-3685-ECFF-49005F1F2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7F8483-A5FC-7117-F502-F1472FBEF2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A10733-DF23-767F-D4BC-978CB741B8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V="1">
              <a:off x="7634077" y="1321597"/>
              <a:ext cx="4143809" cy="4972049"/>
            </a:xfrm>
            <a:custGeom>
              <a:avLst/>
              <a:gdLst>
                <a:gd name="connsiteX0" fmla="*/ 0 w 4593406"/>
                <a:gd name="connsiteY0" fmla="*/ 312719 h 5511799"/>
                <a:gd name="connsiteX1" fmla="*/ 0 w 4593406"/>
                <a:gd name="connsiteY1" fmla="*/ 5511799 h 5511799"/>
                <a:gd name="connsiteX2" fmla="*/ 4593406 w 4593406"/>
                <a:gd name="connsiteY2" fmla="*/ 5511799 h 5511799"/>
                <a:gd name="connsiteX3" fmla="*/ 4593406 w 4593406"/>
                <a:gd name="connsiteY3" fmla="*/ 312719 h 5511799"/>
                <a:gd name="connsiteX4" fmla="*/ 4280687 w 4593406"/>
                <a:gd name="connsiteY4" fmla="*/ 0 h 5511799"/>
                <a:gd name="connsiteX5" fmla="*/ 312719 w 4593406"/>
                <a:gd name="connsiteY5" fmla="*/ 0 h 5511799"/>
                <a:gd name="connsiteX6" fmla="*/ 0 w 4593406"/>
                <a:gd name="connsiteY6" fmla="*/ 312719 h 551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93406" h="5511799">
                  <a:moveTo>
                    <a:pt x="0" y="312719"/>
                  </a:moveTo>
                  <a:lnTo>
                    <a:pt x="0" y="5511799"/>
                  </a:lnTo>
                  <a:lnTo>
                    <a:pt x="4593406" y="5511799"/>
                  </a:lnTo>
                  <a:lnTo>
                    <a:pt x="4593406" y="312719"/>
                  </a:lnTo>
                  <a:cubicBezTo>
                    <a:pt x="4593406" y="140009"/>
                    <a:pt x="4453397" y="0"/>
                    <a:pt x="4280687" y="0"/>
                  </a:cubicBezTo>
                  <a:lnTo>
                    <a:pt x="312719" y="0"/>
                  </a:lnTo>
                  <a:cubicBezTo>
                    <a:pt x="140009" y="0"/>
                    <a:pt x="0" y="140009"/>
                    <a:pt x="0" y="31271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wrap="square" lIns="146304" tIns="146304" rIns="146304" bIns="146304">
              <a:noAutofit/>
            </a:bodyPr>
            <a:lstStyle/>
            <a:p>
              <a:endParaRPr lang="en-US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B956781-A77E-C931-8046-7A932907D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 flipH="1" flipV="1">
              <a:off x="1012031" y="334171"/>
              <a:ext cx="4922835" cy="6946900"/>
            </a:xfrm>
            <a:prstGeom prst="round2SameRect">
              <a:avLst>
                <a:gd name="adj1" fmla="val 3733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C9C1D8E-4D3B-DDBD-2012-158D1525DE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2330098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69A856D-ED7D-C1D3-3DAC-1ADE6CE2FF1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4297886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C63B577-7DCA-9887-CFDE-13D7AF8539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3313992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8_1">
              <a:extLst>
                <a:ext uri="{FF2B5EF4-FFF2-40B4-BE49-F238E27FC236}">
                  <a16:creationId xmlns:a16="http://schemas.microsoft.com/office/drawing/2014/main" id="{EC75C6E7-ECC8-4BC6-4C00-82B7C130CD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5281780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F4DE3F4-5F9B-44AB-B1B7-734E519E94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da-DK"/>
              <a:t>Lorem ipsum dolor sit amet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D92894B-10DB-D6E9-3D54-2F851A8E04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964" y="1591929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CF9DBA1-6B59-78ED-B38B-D1966C2FA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47028" y="1493441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E7C1168F-08DA-CEB5-3FBF-DC82EE338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8964" y="2575824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19E0DB77-C215-3EDC-33C9-F67E33B95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47028" y="2477335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297BFAB4-E7AB-3C9C-3BE4-488C3CAAE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4" y="3559718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73B2FE30-E9EC-CD51-F62D-16CD8D696B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7028" y="3461229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8FA4904-134A-2C81-7756-DD4ABAB38B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8964" y="4543613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A075FD85-A4EF-7AEF-2705-95DC10D71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7028" y="4445123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C6EFD860-B217-DFE3-287F-F858E528C4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964" y="5527507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63" name="Text Placeholder 25">
            <a:extLst>
              <a:ext uri="{FF2B5EF4-FFF2-40B4-BE49-F238E27FC236}">
                <a16:creationId xmlns:a16="http://schemas.microsoft.com/office/drawing/2014/main" id="{EC3976E2-532B-830F-6B85-F1526A0CD7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47028" y="5429019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6CBA71B2-9F4C-D9EE-BA56-232C21BBBC3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327900" y="1830462"/>
            <a:ext cx="4864100" cy="3954318"/>
          </a:xfrm>
          <a:custGeom>
            <a:avLst/>
            <a:gdLst>
              <a:gd name="connsiteX0" fmla="*/ 198626 w 4864100"/>
              <a:gd name="connsiteY0" fmla="*/ 0 h 3954318"/>
              <a:gd name="connsiteX1" fmla="*/ 4864100 w 4864100"/>
              <a:gd name="connsiteY1" fmla="*/ 0 h 3954318"/>
              <a:gd name="connsiteX2" fmla="*/ 4864100 w 4864100"/>
              <a:gd name="connsiteY2" fmla="*/ 3954318 h 3954318"/>
              <a:gd name="connsiteX3" fmla="*/ 198626 w 4864100"/>
              <a:gd name="connsiteY3" fmla="*/ 3954318 h 3954318"/>
              <a:gd name="connsiteX4" fmla="*/ 0 w 4864100"/>
              <a:gd name="connsiteY4" fmla="*/ 3755693 h 3954318"/>
              <a:gd name="connsiteX5" fmla="*/ 0 w 4864100"/>
              <a:gd name="connsiteY5" fmla="*/ 198626 h 3954318"/>
              <a:gd name="connsiteX6" fmla="*/ 198626 w 4864100"/>
              <a:gd name="connsiteY6" fmla="*/ 0 h 3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64100" h="3954318">
                <a:moveTo>
                  <a:pt x="198626" y="0"/>
                </a:moveTo>
                <a:lnTo>
                  <a:pt x="4864100" y="0"/>
                </a:lnTo>
                <a:lnTo>
                  <a:pt x="4864100" y="3954318"/>
                </a:lnTo>
                <a:lnTo>
                  <a:pt x="198626" y="3954318"/>
                </a:lnTo>
                <a:cubicBezTo>
                  <a:pt x="88928" y="3954318"/>
                  <a:pt x="0" y="3865391"/>
                  <a:pt x="0" y="3755693"/>
                </a:cubicBezTo>
                <a:lnTo>
                  <a:pt x="0" y="198626"/>
                </a:lnTo>
                <a:cubicBezTo>
                  <a:pt x="0" y="88927"/>
                  <a:pt x="88928" y="0"/>
                  <a:pt x="19862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71879480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Points With Picture/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86335C-5EAA-7A04-FBA3-7610BBED57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0874" y="1804933"/>
            <a:ext cx="11601126" cy="5053064"/>
            <a:chOff x="590874" y="1804933"/>
            <a:chExt cx="11601126" cy="505306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9FB63A5-1EEB-A6E9-C835-9028695FD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1E4A0E79-A374-FB8D-805B-DB66CCBC9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>
              <a:off x="2162881" y="445706"/>
              <a:ext cx="4269532" cy="7413545"/>
            </a:xfrm>
            <a:prstGeom prst="round2SameRect">
              <a:avLst>
                <a:gd name="adj1" fmla="val 3269"/>
                <a:gd name="adj2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4258DBF-B67E-6DB0-47E8-8EF0AF457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2445583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03B6888-C630-28BC-F651-A4064A0C3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837515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F1C5841-DFA5-ABD7-ED0C-E45CAFF2C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5229447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44A4D2-4E55-1663-438C-F5C27018B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3432857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67318F-9170-4A8A-2252-B3A228711F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4824790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CE03631-0B3D-A0A8-1670-F533C9997C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8004416" y="1804933"/>
              <a:ext cx="3604972" cy="4695090"/>
            </a:xfrm>
            <a:prstGeom prst="roundRect">
              <a:avLst>
                <a:gd name="adj" fmla="val 419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6E8609-6578-B52C-F4AB-5BD0C647F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FD8DD1C-E747-D187-444C-35835A6A76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7174" y="2293180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ED2A534-E19F-43C5-1B06-E382D7769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3685113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6BB8C8B-FE81-FE17-BC75-CF40E24B8C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174" y="5077044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B76E5BF-F645-2E9F-7FD7-F7A237CEA6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26335" y="1926853"/>
            <a:ext cx="3361134" cy="4451250"/>
          </a:xfrm>
          <a:custGeom>
            <a:avLst/>
            <a:gdLst>
              <a:gd name="connsiteX0" fmla="*/ 125874 w 3361134"/>
              <a:gd name="connsiteY0" fmla="*/ 0 h 4451250"/>
              <a:gd name="connsiteX1" fmla="*/ 3235260 w 3361134"/>
              <a:gd name="connsiteY1" fmla="*/ 0 h 4451250"/>
              <a:gd name="connsiteX2" fmla="*/ 3361134 w 3361134"/>
              <a:gd name="connsiteY2" fmla="*/ 125874 h 4451250"/>
              <a:gd name="connsiteX3" fmla="*/ 3361134 w 3361134"/>
              <a:gd name="connsiteY3" fmla="*/ 4325376 h 4451250"/>
              <a:gd name="connsiteX4" fmla="*/ 3235260 w 3361134"/>
              <a:gd name="connsiteY4" fmla="*/ 4451250 h 4451250"/>
              <a:gd name="connsiteX5" fmla="*/ 125874 w 3361134"/>
              <a:gd name="connsiteY5" fmla="*/ 4451250 h 4451250"/>
              <a:gd name="connsiteX6" fmla="*/ 0 w 3361134"/>
              <a:gd name="connsiteY6" fmla="*/ 4325376 h 4451250"/>
              <a:gd name="connsiteX7" fmla="*/ 0 w 3361134"/>
              <a:gd name="connsiteY7" fmla="*/ 125874 h 4451250"/>
              <a:gd name="connsiteX8" fmla="*/ 125874 w 3361134"/>
              <a:gd name="connsiteY8" fmla="*/ 0 h 44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1134" h="4451250">
                <a:moveTo>
                  <a:pt x="125874" y="0"/>
                </a:moveTo>
                <a:lnTo>
                  <a:pt x="3235260" y="0"/>
                </a:lnTo>
                <a:cubicBezTo>
                  <a:pt x="3304778" y="0"/>
                  <a:pt x="3361134" y="56356"/>
                  <a:pt x="3361134" y="125874"/>
                </a:cubicBezTo>
                <a:lnTo>
                  <a:pt x="3361134" y="4325376"/>
                </a:lnTo>
                <a:cubicBezTo>
                  <a:pt x="3361134" y="4394894"/>
                  <a:pt x="3304778" y="4451250"/>
                  <a:pt x="3235260" y="4451250"/>
                </a:cubicBezTo>
                <a:lnTo>
                  <a:pt x="125874" y="4451250"/>
                </a:lnTo>
                <a:cubicBezTo>
                  <a:pt x="56356" y="4451250"/>
                  <a:pt x="0" y="4394894"/>
                  <a:pt x="0" y="4325376"/>
                </a:cubicBezTo>
                <a:lnTo>
                  <a:pt x="0" y="125874"/>
                </a:lnTo>
                <a:cubicBezTo>
                  <a:pt x="0" y="56356"/>
                  <a:pt x="56356" y="0"/>
                  <a:pt x="1258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0986150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2AB0DA82-D720-0985-50E3-BFCF4DF645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97737E7-53FD-4237-3F7F-2EDB7D6EAB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FE70C3BC-27DA-B08D-354D-5D7B29280B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  <a:gradFill flip="none" rotWithShape="1">
                <a:gsLst>
                  <a:gs pos="0">
                    <a:srgbClr val="A8DAA2"/>
                  </a:gs>
                  <a:gs pos="40000">
                    <a:srgbClr val="57B9C5"/>
                  </a:gs>
                  <a:gs pos="88000">
                    <a:srgbClr val="0F656B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9525" cap="flat">
                <a:noFill/>
                <a:prstDash val="solid"/>
                <a:miter/>
              </a:ln>
              <a:effectLst>
                <a:outerShdw blurRad="50800" dist="254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3E9644D-1C61-A1F2-DA64-F90CB0EEE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53C5B0A-CC75-1BA8-7472-42D277CC6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667329"/>
              <a:ext cx="11018520" cy="43019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CDF58D0E-224D-3FA1-F4A0-375844895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787979"/>
              <a:ext cx="10804396" cy="4060654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322D794-1174-A318-05ED-1724B0B7462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3" y="2699225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33E68FA-36B5-B59D-135C-7B185F1BAA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1" y="2699225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8E6A9D5-D682-FBAA-0B98-A2EB22B2C9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1" y="2699225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BBFCB70-9EA4-C67A-B76A-CE2B7C1BA4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527823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CFA6F4A-C826-BB30-2C12-A377C2916C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228922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717B505-0482-0211-BB3B-308334BD5E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930021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E9B21D2-FAAE-761D-DC21-CCE0C0655F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631120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CCAF9B6-E3E0-AD49-8B05-8AF37B637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3BD9DED-CB08-082E-FDDA-0BAA2E0E40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3326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68DE010B-B9C4-D788-0521-AD51B1D7934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524424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3" name="Text Placeholder 25">
            <a:extLst>
              <a:ext uri="{FF2B5EF4-FFF2-40B4-BE49-F238E27FC236}">
                <a16:creationId xmlns:a16="http://schemas.microsoft.com/office/drawing/2014/main" id="{0A589FA1-7817-F007-634A-39D1EE53F6FF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225523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1" name="Text Placeholder 25">
            <a:extLst>
              <a:ext uri="{FF2B5EF4-FFF2-40B4-BE49-F238E27FC236}">
                <a16:creationId xmlns:a16="http://schemas.microsoft.com/office/drawing/2014/main" id="{67F7275B-1CE2-450B-7C97-C8CACBF4385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8926623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59152357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ints With Picture/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97945BA-8DBF-7DEE-DE5D-CB10ADBCBD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0874" y="1804933"/>
            <a:ext cx="11601126" cy="5053064"/>
            <a:chOff x="590874" y="1804933"/>
            <a:chExt cx="11601126" cy="505306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9FB63A5-1EEB-A6E9-C835-9028695FD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1E4A0E79-A374-FB8D-805B-DB66CCBC9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>
              <a:off x="2162881" y="445706"/>
              <a:ext cx="4269532" cy="7413545"/>
            </a:xfrm>
            <a:prstGeom prst="round2SameRect">
              <a:avLst>
                <a:gd name="adj1" fmla="val 3269"/>
                <a:gd name="adj2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4258DBF-B67E-6DB0-47E8-8EF0AF457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2260186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03B6888-C630-28BC-F651-A4064A0C3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327748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F1C5841-DFA5-ABD7-ED0C-E45CAFF2C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5462872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44A4D2-4E55-1663-438C-F5C27018B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3085275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67318F-9170-4A8A-2252-B3A228711F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4152837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CE03631-0B3D-A0A8-1670-F533C9997C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8004416" y="1804933"/>
              <a:ext cx="3604972" cy="4695090"/>
            </a:xfrm>
            <a:prstGeom prst="roundRect">
              <a:avLst>
                <a:gd name="adj" fmla="val 419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247FBCB-3742-904F-82E4-BE874D85E3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4395310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84AC5AA-97BD-4BB5-CBE5-8236455A18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5220399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6E8609-6578-B52C-F4AB-5BD0C647F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FD8DD1C-E747-D187-444C-35835A6A76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7174" y="2153950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ED2A534-E19F-43C5-1B06-E382D7769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3221511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DE32B2AD-0AEF-DCCF-DED1-B5D74F777B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7174" y="4289073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6BB8C8B-FE81-FE17-BC75-CF40E24B8C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174" y="5356636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53233C1-A747-EAC4-B3E5-9B8645D7D18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26335" y="1926853"/>
            <a:ext cx="3361134" cy="4451250"/>
          </a:xfrm>
          <a:custGeom>
            <a:avLst/>
            <a:gdLst>
              <a:gd name="connsiteX0" fmla="*/ 125874 w 3361134"/>
              <a:gd name="connsiteY0" fmla="*/ 0 h 4451250"/>
              <a:gd name="connsiteX1" fmla="*/ 3235260 w 3361134"/>
              <a:gd name="connsiteY1" fmla="*/ 0 h 4451250"/>
              <a:gd name="connsiteX2" fmla="*/ 3361134 w 3361134"/>
              <a:gd name="connsiteY2" fmla="*/ 125874 h 4451250"/>
              <a:gd name="connsiteX3" fmla="*/ 3361134 w 3361134"/>
              <a:gd name="connsiteY3" fmla="*/ 4325376 h 4451250"/>
              <a:gd name="connsiteX4" fmla="*/ 3235260 w 3361134"/>
              <a:gd name="connsiteY4" fmla="*/ 4451250 h 4451250"/>
              <a:gd name="connsiteX5" fmla="*/ 125874 w 3361134"/>
              <a:gd name="connsiteY5" fmla="*/ 4451250 h 4451250"/>
              <a:gd name="connsiteX6" fmla="*/ 0 w 3361134"/>
              <a:gd name="connsiteY6" fmla="*/ 4325376 h 4451250"/>
              <a:gd name="connsiteX7" fmla="*/ 0 w 3361134"/>
              <a:gd name="connsiteY7" fmla="*/ 125874 h 4451250"/>
              <a:gd name="connsiteX8" fmla="*/ 125874 w 3361134"/>
              <a:gd name="connsiteY8" fmla="*/ 0 h 44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1134" h="4451250">
                <a:moveTo>
                  <a:pt x="125874" y="0"/>
                </a:moveTo>
                <a:lnTo>
                  <a:pt x="3235260" y="0"/>
                </a:lnTo>
                <a:cubicBezTo>
                  <a:pt x="3304778" y="0"/>
                  <a:pt x="3361134" y="56356"/>
                  <a:pt x="3361134" y="125874"/>
                </a:cubicBezTo>
                <a:lnTo>
                  <a:pt x="3361134" y="4325376"/>
                </a:lnTo>
                <a:cubicBezTo>
                  <a:pt x="3361134" y="4394894"/>
                  <a:pt x="3304778" y="4451250"/>
                  <a:pt x="3235260" y="4451250"/>
                </a:cubicBezTo>
                <a:lnTo>
                  <a:pt x="125874" y="4451250"/>
                </a:lnTo>
                <a:cubicBezTo>
                  <a:pt x="56356" y="4451250"/>
                  <a:pt x="0" y="4394894"/>
                  <a:pt x="0" y="4325376"/>
                </a:cubicBezTo>
                <a:lnTo>
                  <a:pt x="0" y="125874"/>
                </a:lnTo>
                <a:cubicBezTo>
                  <a:pt x="0" y="56356"/>
                  <a:pt x="56356" y="0"/>
                  <a:pt x="1258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30444362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oints With Picture/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E48B8FAA-A260-6834-47B1-02598C9B35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0874" y="1804933"/>
            <a:ext cx="11601126" cy="5053064"/>
            <a:chOff x="590874" y="1804933"/>
            <a:chExt cx="11601126" cy="505306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9FB63A5-1EEB-A6E9-C835-9028695FD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1E4A0E79-A374-FB8D-805B-DB66CCBC9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>
              <a:off x="2162881" y="445706"/>
              <a:ext cx="4269532" cy="7413545"/>
            </a:xfrm>
            <a:prstGeom prst="round2SameRect">
              <a:avLst>
                <a:gd name="adj1" fmla="val 3269"/>
                <a:gd name="adj2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4258DBF-B67E-6DB0-47E8-8EF0AF457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2153430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03B6888-C630-28BC-F651-A4064A0C3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007480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F1C5841-DFA5-ABD7-ED0C-E45CAFF2C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4715579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44A4D2-4E55-1663-438C-F5C27018B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2871763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67318F-9170-4A8A-2252-B3A228711F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3725812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CE03631-0B3D-A0A8-1670-F533C9997C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8004416" y="1804933"/>
              <a:ext cx="3604972" cy="4695090"/>
            </a:xfrm>
            <a:prstGeom prst="roundRect">
              <a:avLst>
                <a:gd name="adj" fmla="val 419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247FBCB-3742-904F-82E4-BE874D85E3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861529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84AC5AA-97BD-4BB5-CBE5-8236455A18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5433912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B9F9899A-4157-6EAF-1962-0350888EED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4579862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CA9D4F7-B93C-A84B-AFC3-239300B3F4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5569628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6E8609-6578-B52C-F4AB-5BD0C647F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FD8DD1C-E747-D187-444C-35835A6A76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7174" y="2093360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ED2A534-E19F-43C5-1B06-E382D7769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2947410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DE32B2AD-0AEF-DCCF-DED1-B5D74F777B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7174" y="3801459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6BB8C8B-FE81-FE17-BC75-CF40E24B8C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174" y="4655509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3F36374E-B481-978F-58DB-A15E1EE6A3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7174" y="5509559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05BDA1B-2B2F-6A64-AFE5-B26FA1F1EB9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26335" y="1926853"/>
            <a:ext cx="3361134" cy="4451250"/>
          </a:xfrm>
          <a:custGeom>
            <a:avLst/>
            <a:gdLst>
              <a:gd name="connsiteX0" fmla="*/ 125874 w 3361134"/>
              <a:gd name="connsiteY0" fmla="*/ 0 h 4451250"/>
              <a:gd name="connsiteX1" fmla="*/ 3235260 w 3361134"/>
              <a:gd name="connsiteY1" fmla="*/ 0 h 4451250"/>
              <a:gd name="connsiteX2" fmla="*/ 3361134 w 3361134"/>
              <a:gd name="connsiteY2" fmla="*/ 125874 h 4451250"/>
              <a:gd name="connsiteX3" fmla="*/ 3361134 w 3361134"/>
              <a:gd name="connsiteY3" fmla="*/ 4325376 h 4451250"/>
              <a:gd name="connsiteX4" fmla="*/ 3235260 w 3361134"/>
              <a:gd name="connsiteY4" fmla="*/ 4451250 h 4451250"/>
              <a:gd name="connsiteX5" fmla="*/ 125874 w 3361134"/>
              <a:gd name="connsiteY5" fmla="*/ 4451250 h 4451250"/>
              <a:gd name="connsiteX6" fmla="*/ 0 w 3361134"/>
              <a:gd name="connsiteY6" fmla="*/ 4325376 h 4451250"/>
              <a:gd name="connsiteX7" fmla="*/ 0 w 3361134"/>
              <a:gd name="connsiteY7" fmla="*/ 125874 h 4451250"/>
              <a:gd name="connsiteX8" fmla="*/ 125874 w 3361134"/>
              <a:gd name="connsiteY8" fmla="*/ 0 h 44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1134" h="4451250">
                <a:moveTo>
                  <a:pt x="125874" y="0"/>
                </a:moveTo>
                <a:lnTo>
                  <a:pt x="3235260" y="0"/>
                </a:lnTo>
                <a:cubicBezTo>
                  <a:pt x="3304778" y="0"/>
                  <a:pt x="3361134" y="56356"/>
                  <a:pt x="3361134" y="125874"/>
                </a:cubicBezTo>
                <a:lnTo>
                  <a:pt x="3361134" y="4325376"/>
                </a:lnTo>
                <a:cubicBezTo>
                  <a:pt x="3361134" y="4394894"/>
                  <a:pt x="3304778" y="4451250"/>
                  <a:pt x="3235260" y="4451250"/>
                </a:cubicBezTo>
                <a:lnTo>
                  <a:pt x="125874" y="4451250"/>
                </a:lnTo>
                <a:cubicBezTo>
                  <a:pt x="56356" y="4451250"/>
                  <a:pt x="0" y="4394894"/>
                  <a:pt x="0" y="4325376"/>
                </a:cubicBezTo>
                <a:lnTo>
                  <a:pt x="0" y="125874"/>
                </a:lnTo>
                <a:cubicBezTo>
                  <a:pt x="0" y="56356"/>
                  <a:pt x="56356" y="0"/>
                  <a:pt x="1258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738223814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Row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86CDF1D-870C-F36F-18A9-6BD44A3DB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98D4A6C-B3F4-5206-71C6-6B446058E3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39E8181-C805-7C52-F1CC-AA3750329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0A2D673-966E-5BC1-DEC6-749794E1BEE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587374"/>
              <a:ext cx="6137502" cy="2762132"/>
            </a:xfrm>
            <a:prstGeom prst="roundRect">
              <a:avLst>
                <a:gd name="adj" fmla="val 41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17B534D-3559-4568-9ECC-096AB71F2E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3508493"/>
              <a:ext cx="6137502" cy="2762132"/>
            </a:xfrm>
            <a:prstGeom prst="roundRect">
              <a:avLst>
                <a:gd name="adj" fmla="val 41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2A142B-2A9E-F79B-0718-9C0F941E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4" y="1793848"/>
            <a:ext cx="4211947" cy="2215991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DA7A0FE6-26C7-C2B0-2A91-4D6733154AA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599412" y="726955"/>
            <a:ext cx="1741188" cy="2482970"/>
          </a:xfrm>
          <a:custGeom>
            <a:avLst/>
            <a:gdLst>
              <a:gd name="connsiteX0" fmla="*/ 87059 w 1741188"/>
              <a:gd name="connsiteY0" fmla="*/ 0 h 2482970"/>
              <a:gd name="connsiteX1" fmla="*/ 1654129 w 1741188"/>
              <a:gd name="connsiteY1" fmla="*/ 0 h 2482970"/>
              <a:gd name="connsiteX2" fmla="*/ 1741188 w 1741188"/>
              <a:gd name="connsiteY2" fmla="*/ 87059 h 2482970"/>
              <a:gd name="connsiteX3" fmla="*/ 1741188 w 1741188"/>
              <a:gd name="connsiteY3" fmla="*/ 2395911 h 2482970"/>
              <a:gd name="connsiteX4" fmla="*/ 1654129 w 1741188"/>
              <a:gd name="connsiteY4" fmla="*/ 2482970 h 2482970"/>
              <a:gd name="connsiteX5" fmla="*/ 87059 w 1741188"/>
              <a:gd name="connsiteY5" fmla="*/ 2482970 h 2482970"/>
              <a:gd name="connsiteX6" fmla="*/ 0 w 1741188"/>
              <a:gd name="connsiteY6" fmla="*/ 2395911 h 2482970"/>
              <a:gd name="connsiteX7" fmla="*/ 0 w 1741188"/>
              <a:gd name="connsiteY7" fmla="*/ 87059 h 2482970"/>
              <a:gd name="connsiteX8" fmla="*/ 87059 w 1741188"/>
              <a:gd name="connsiteY8" fmla="*/ 0 h 2482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2482970">
                <a:moveTo>
                  <a:pt x="87059" y="0"/>
                </a:moveTo>
                <a:lnTo>
                  <a:pt x="1654129" y="0"/>
                </a:lnTo>
                <a:cubicBezTo>
                  <a:pt x="1702210" y="0"/>
                  <a:pt x="1741188" y="38978"/>
                  <a:pt x="1741188" y="87059"/>
                </a:cubicBezTo>
                <a:lnTo>
                  <a:pt x="1741188" y="2395911"/>
                </a:lnTo>
                <a:cubicBezTo>
                  <a:pt x="1741188" y="2443992"/>
                  <a:pt x="1702210" y="2482970"/>
                  <a:pt x="1654129" y="2482970"/>
                </a:cubicBezTo>
                <a:lnTo>
                  <a:pt x="87059" y="2482970"/>
                </a:lnTo>
                <a:cubicBezTo>
                  <a:pt x="38978" y="2482970"/>
                  <a:pt x="0" y="2443992"/>
                  <a:pt x="0" y="2395911"/>
                </a:cubicBezTo>
                <a:lnTo>
                  <a:pt x="0" y="87059"/>
                </a:lnTo>
                <a:cubicBezTo>
                  <a:pt x="0" y="38978"/>
                  <a:pt x="38978" y="0"/>
                  <a:pt x="87059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9433A33-D1F7-6F3D-751E-A323E717E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2375" y="1524730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C90064C-55ED-5EB5-C222-614927EB87F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99412" y="3648074"/>
            <a:ext cx="1741188" cy="2482970"/>
          </a:xfrm>
          <a:custGeom>
            <a:avLst/>
            <a:gdLst>
              <a:gd name="connsiteX0" fmla="*/ 87059 w 1741188"/>
              <a:gd name="connsiteY0" fmla="*/ 0 h 2482970"/>
              <a:gd name="connsiteX1" fmla="*/ 1654129 w 1741188"/>
              <a:gd name="connsiteY1" fmla="*/ 0 h 2482970"/>
              <a:gd name="connsiteX2" fmla="*/ 1741188 w 1741188"/>
              <a:gd name="connsiteY2" fmla="*/ 87059 h 2482970"/>
              <a:gd name="connsiteX3" fmla="*/ 1741188 w 1741188"/>
              <a:gd name="connsiteY3" fmla="*/ 2395911 h 2482970"/>
              <a:gd name="connsiteX4" fmla="*/ 1654129 w 1741188"/>
              <a:gd name="connsiteY4" fmla="*/ 2482970 h 2482970"/>
              <a:gd name="connsiteX5" fmla="*/ 87059 w 1741188"/>
              <a:gd name="connsiteY5" fmla="*/ 2482970 h 2482970"/>
              <a:gd name="connsiteX6" fmla="*/ 0 w 1741188"/>
              <a:gd name="connsiteY6" fmla="*/ 2395911 h 2482970"/>
              <a:gd name="connsiteX7" fmla="*/ 0 w 1741188"/>
              <a:gd name="connsiteY7" fmla="*/ 87059 h 2482970"/>
              <a:gd name="connsiteX8" fmla="*/ 87059 w 1741188"/>
              <a:gd name="connsiteY8" fmla="*/ 0 h 2482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2482970">
                <a:moveTo>
                  <a:pt x="87059" y="0"/>
                </a:moveTo>
                <a:lnTo>
                  <a:pt x="1654129" y="0"/>
                </a:lnTo>
                <a:cubicBezTo>
                  <a:pt x="1702210" y="0"/>
                  <a:pt x="1741188" y="38978"/>
                  <a:pt x="1741188" y="87059"/>
                </a:cubicBezTo>
                <a:lnTo>
                  <a:pt x="1741188" y="2395911"/>
                </a:lnTo>
                <a:cubicBezTo>
                  <a:pt x="1741188" y="2443992"/>
                  <a:pt x="1702210" y="2482970"/>
                  <a:pt x="1654129" y="2482970"/>
                </a:cubicBezTo>
                <a:lnTo>
                  <a:pt x="87059" y="2482970"/>
                </a:lnTo>
                <a:cubicBezTo>
                  <a:pt x="38978" y="2482970"/>
                  <a:pt x="0" y="2443992"/>
                  <a:pt x="0" y="2395911"/>
                </a:cubicBezTo>
                <a:lnTo>
                  <a:pt x="0" y="87059"/>
                </a:lnTo>
                <a:cubicBezTo>
                  <a:pt x="0" y="38978"/>
                  <a:pt x="38978" y="0"/>
                  <a:pt x="87059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F3EEC439-631E-D53B-B833-0CAF78FE8D2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2375" y="4445849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977033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Row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83A3F60F-0961-799A-23C8-C085F7E85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98D4A6C-B3F4-5206-71C6-6B446058E3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39E8181-C805-7C52-F1CC-AA3750329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9A8A4B8-493B-2E65-41B9-0F2E817028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587375"/>
              <a:ext cx="6137502" cy="1787687"/>
            </a:xfrm>
            <a:prstGeom prst="roundRect">
              <a:avLst>
                <a:gd name="adj" fmla="val 6145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F0F04394-45BA-0E09-ED0D-C6A7D1CE37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2535157"/>
              <a:ext cx="6137502" cy="1787687"/>
            </a:xfrm>
            <a:prstGeom prst="roundRect">
              <a:avLst>
                <a:gd name="adj" fmla="val 6145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7A7C091-5ED2-B676-2774-3D2AD7B9A69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4482938"/>
              <a:ext cx="6137502" cy="1787687"/>
            </a:xfrm>
            <a:prstGeom prst="roundRect">
              <a:avLst>
                <a:gd name="adj" fmla="val 6145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2A142B-2A9E-F79B-0718-9C0F941E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4" y="1793848"/>
            <a:ext cx="4211947" cy="2215991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969E0858-9036-D12C-BFC1-BC7110D6527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599412" y="719218"/>
            <a:ext cx="1741188" cy="1524002"/>
          </a:xfrm>
          <a:custGeom>
            <a:avLst/>
            <a:gdLst>
              <a:gd name="connsiteX0" fmla="*/ 76200 w 1741188"/>
              <a:gd name="connsiteY0" fmla="*/ 0 h 1524002"/>
              <a:gd name="connsiteX1" fmla="*/ 1664988 w 1741188"/>
              <a:gd name="connsiteY1" fmla="*/ 0 h 1524002"/>
              <a:gd name="connsiteX2" fmla="*/ 1741188 w 1741188"/>
              <a:gd name="connsiteY2" fmla="*/ 76200 h 1524002"/>
              <a:gd name="connsiteX3" fmla="*/ 1741188 w 1741188"/>
              <a:gd name="connsiteY3" fmla="*/ 1447802 h 1524002"/>
              <a:gd name="connsiteX4" fmla="*/ 1664988 w 1741188"/>
              <a:gd name="connsiteY4" fmla="*/ 1524002 h 1524002"/>
              <a:gd name="connsiteX5" fmla="*/ 76200 w 1741188"/>
              <a:gd name="connsiteY5" fmla="*/ 1524002 h 1524002"/>
              <a:gd name="connsiteX6" fmla="*/ 0 w 1741188"/>
              <a:gd name="connsiteY6" fmla="*/ 1447802 h 1524002"/>
              <a:gd name="connsiteX7" fmla="*/ 0 w 1741188"/>
              <a:gd name="connsiteY7" fmla="*/ 76200 h 1524002"/>
              <a:gd name="connsiteX8" fmla="*/ 76200 w 1741188"/>
              <a:gd name="connsiteY8" fmla="*/ 0 h 152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524002">
                <a:moveTo>
                  <a:pt x="76200" y="0"/>
                </a:moveTo>
                <a:lnTo>
                  <a:pt x="1664988" y="0"/>
                </a:lnTo>
                <a:cubicBezTo>
                  <a:pt x="1707072" y="0"/>
                  <a:pt x="1741188" y="34116"/>
                  <a:pt x="1741188" y="76200"/>
                </a:cubicBezTo>
                <a:lnTo>
                  <a:pt x="1741188" y="1447802"/>
                </a:lnTo>
                <a:cubicBezTo>
                  <a:pt x="1741188" y="1489886"/>
                  <a:pt x="1707072" y="1524002"/>
                  <a:pt x="1664988" y="1524002"/>
                </a:cubicBezTo>
                <a:lnTo>
                  <a:pt x="76200" y="1524002"/>
                </a:lnTo>
                <a:cubicBezTo>
                  <a:pt x="34116" y="1524002"/>
                  <a:pt x="0" y="1489886"/>
                  <a:pt x="0" y="1447802"/>
                </a:cubicBezTo>
                <a:lnTo>
                  <a:pt x="0" y="76200"/>
                </a:lnTo>
                <a:cubicBezTo>
                  <a:pt x="0" y="34116"/>
                  <a:pt x="34116" y="0"/>
                  <a:pt x="76200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7BA03EBD-9216-9D6E-3981-AE46C65059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72375" y="1037508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7DC44A8A-6671-C6EE-0CAE-973E87FD954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99412" y="2667000"/>
            <a:ext cx="1741188" cy="1524002"/>
          </a:xfrm>
          <a:custGeom>
            <a:avLst/>
            <a:gdLst>
              <a:gd name="connsiteX0" fmla="*/ 76200 w 1741188"/>
              <a:gd name="connsiteY0" fmla="*/ 0 h 1524002"/>
              <a:gd name="connsiteX1" fmla="*/ 1664988 w 1741188"/>
              <a:gd name="connsiteY1" fmla="*/ 0 h 1524002"/>
              <a:gd name="connsiteX2" fmla="*/ 1741188 w 1741188"/>
              <a:gd name="connsiteY2" fmla="*/ 76200 h 1524002"/>
              <a:gd name="connsiteX3" fmla="*/ 1741188 w 1741188"/>
              <a:gd name="connsiteY3" fmla="*/ 1447802 h 1524002"/>
              <a:gd name="connsiteX4" fmla="*/ 1664988 w 1741188"/>
              <a:gd name="connsiteY4" fmla="*/ 1524002 h 1524002"/>
              <a:gd name="connsiteX5" fmla="*/ 76200 w 1741188"/>
              <a:gd name="connsiteY5" fmla="*/ 1524002 h 1524002"/>
              <a:gd name="connsiteX6" fmla="*/ 0 w 1741188"/>
              <a:gd name="connsiteY6" fmla="*/ 1447802 h 1524002"/>
              <a:gd name="connsiteX7" fmla="*/ 0 w 1741188"/>
              <a:gd name="connsiteY7" fmla="*/ 76200 h 1524002"/>
              <a:gd name="connsiteX8" fmla="*/ 76200 w 1741188"/>
              <a:gd name="connsiteY8" fmla="*/ 0 h 152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524002">
                <a:moveTo>
                  <a:pt x="76200" y="0"/>
                </a:moveTo>
                <a:lnTo>
                  <a:pt x="1664988" y="0"/>
                </a:lnTo>
                <a:cubicBezTo>
                  <a:pt x="1707072" y="0"/>
                  <a:pt x="1741188" y="34116"/>
                  <a:pt x="1741188" y="76200"/>
                </a:cubicBezTo>
                <a:lnTo>
                  <a:pt x="1741188" y="1447802"/>
                </a:lnTo>
                <a:cubicBezTo>
                  <a:pt x="1741188" y="1489886"/>
                  <a:pt x="1707072" y="1524002"/>
                  <a:pt x="1664988" y="1524002"/>
                </a:cubicBezTo>
                <a:lnTo>
                  <a:pt x="76200" y="1524002"/>
                </a:lnTo>
                <a:cubicBezTo>
                  <a:pt x="34116" y="1524002"/>
                  <a:pt x="0" y="1489886"/>
                  <a:pt x="0" y="1447802"/>
                </a:cubicBezTo>
                <a:lnTo>
                  <a:pt x="0" y="76200"/>
                </a:lnTo>
                <a:cubicBezTo>
                  <a:pt x="0" y="34116"/>
                  <a:pt x="34116" y="0"/>
                  <a:pt x="76200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A5B2D365-3E70-67A7-AF2F-821526A10D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72375" y="2985289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06197C82-98AB-708F-FFEB-1ABBE3C4933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599412" y="4614780"/>
            <a:ext cx="1741188" cy="1524002"/>
          </a:xfrm>
          <a:custGeom>
            <a:avLst/>
            <a:gdLst>
              <a:gd name="connsiteX0" fmla="*/ 76200 w 1741188"/>
              <a:gd name="connsiteY0" fmla="*/ 0 h 1524002"/>
              <a:gd name="connsiteX1" fmla="*/ 1664988 w 1741188"/>
              <a:gd name="connsiteY1" fmla="*/ 0 h 1524002"/>
              <a:gd name="connsiteX2" fmla="*/ 1741188 w 1741188"/>
              <a:gd name="connsiteY2" fmla="*/ 76200 h 1524002"/>
              <a:gd name="connsiteX3" fmla="*/ 1741188 w 1741188"/>
              <a:gd name="connsiteY3" fmla="*/ 1447802 h 1524002"/>
              <a:gd name="connsiteX4" fmla="*/ 1664988 w 1741188"/>
              <a:gd name="connsiteY4" fmla="*/ 1524002 h 1524002"/>
              <a:gd name="connsiteX5" fmla="*/ 76200 w 1741188"/>
              <a:gd name="connsiteY5" fmla="*/ 1524002 h 1524002"/>
              <a:gd name="connsiteX6" fmla="*/ 0 w 1741188"/>
              <a:gd name="connsiteY6" fmla="*/ 1447802 h 1524002"/>
              <a:gd name="connsiteX7" fmla="*/ 0 w 1741188"/>
              <a:gd name="connsiteY7" fmla="*/ 76200 h 1524002"/>
              <a:gd name="connsiteX8" fmla="*/ 76200 w 1741188"/>
              <a:gd name="connsiteY8" fmla="*/ 0 h 152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524002">
                <a:moveTo>
                  <a:pt x="76200" y="0"/>
                </a:moveTo>
                <a:lnTo>
                  <a:pt x="1664988" y="0"/>
                </a:lnTo>
                <a:cubicBezTo>
                  <a:pt x="1707072" y="0"/>
                  <a:pt x="1741188" y="34116"/>
                  <a:pt x="1741188" y="76200"/>
                </a:cubicBezTo>
                <a:lnTo>
                  <a:pt x="1741188" y="1447802"/>
                </a:lnTo>
                <a:cubicBezTo>
                  <a:pt x="1741188" y="1489886"/>
                  <a:pt x="1707072" y="1524002"/>
                  <a:pt x="1664988" y="1524002"/>
                </a:cubicBezTo>
                <a:lnTo>
                  <a:pt x="76200" y="1524002"/>
                </a:lnTo>
                <a:cubicBezTo>
                  <a:pt x="34116" y="1524002"/>
                  <a:pt x="0" y="1489886"/>
                  <a:pt x="0" y="1447802"/>
                </a:cubicBezTo>
                <a:lnTo>
                  <a:pt x="0" y="76200"/>
                </a:lnTo>
                <a:cubicBezTo>
                  <a:pt x="0" y="34116"/>
                  <a:pt x="34116" y="0"/>
                  <a:pt x="76200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AEC523A-1F21-4EA4-AB34-C7154B6377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2375" y="4933071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451770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Row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A948D29-85DD-E3DA-0376-079E17013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98D4A6C-B3F4-5206-71C6-6B446058E3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39E8181-C805-7C52-F1CC-AA3750329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409C17E0-883F-32B8-D11E-9AB4729C8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587375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90F36C64-87E5-119C-CE39-1762577038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2037367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6D0A9C8D-A33F-26CF-909F-2871E5D333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3487359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E3A39115-C4B4-F681-2767-0F257C9707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4937350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2A142B-2A9E-F79B-0718-9C0F941E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4" y="1793848"/>
            <a:ext cx="4211947" cy="2215991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AF5771C9-FC40-E2B4-30FA-46CF6F3B440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99412" y="716697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66015E09-CDA9-58E2-C7FE-D91F98349E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72375" y="856469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B91F3E2E-91E9-F48A-1023-6D68CDB0C13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99412" y="2166689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 algn="ctr">
              <a:buNone/>
            </a:pPr>
            <a:r>
              <a:rPr lang="en-US"/>
              <a:t>Picture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81CE8524-6E50-4286-4CDD-DCF931D3C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72375" y="2306461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7FC8C2E-2298-EA67-8C55-32826605239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599412" y="3616681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 algn="ctr">
              <a:buNone/>
            </a:pPr>
            <a:r>
              <a:rPr lang="en-US"/>
              <a:t>Picture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B806F1D3-0115-3F84-BAAB-98F886D54E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2375" y="3756453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53" name="Picture Placeholder 52">
            <a:extLst>
              <a:ext uri="{FF2B5EF4-FFF2-40B4-BE49-F238E27FC236}">
                <a16:creationId xmlns:a16="http://schemas.microsoft.com/office/drawing/2014/main" id="{28C06C34-EEBE-6ACE-0075-AD8A8817B44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599412" y="5066672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 algn="ctr">
              <a:buNone/>
            </a:pPr>
            <a:r>
              <a:rPr lang="en-US"/>
              <a:t>Picture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1F1DAC55-9E1E-3F43-E048-5F55CAFBE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72375" y="5206444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890624279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97737E7-53FD-4237-3F7F-2EDB7D6EAB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 descr="A blue and white wavy design&#10;&#10;Description automatically generated">
              <a:extLst>
                <a:ext uri="{FF2B5EF4-FFF2-40B4-BE49-F238E27FC236}">
                  <a16:creationId xmlns:a16="http://schemas.microsoft.com/office/drawing/2014/main" id="{FE70C3BC-27DA-B08D-354D-5D7B29280B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  <a:gradFill flip="none" rotWithShape="1">
              <a:gsLst>
                <a:gs pos="0">
                  <a:srgbClr val="A8DAA2"/>
                </a:gs>
                <a:gs pos="40000">
                  <a:srgbClr val="57B9C5"/>
                </a:gs>
                <a:gs pos="88000">
                  <a:srgbClr val="0F656B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3E9644D-1C61-A1F2-DA64-F90CB0EEE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53C5B0A-CC75-1BA8-7472-42D277CC6D25}"/>
              </a:ext>
            </a:extLst>
          </p:cNvPr>
          <p:cNvSpPr>
            <a:spLocks/>
          </p:cNvSpPr>
          <p:nvPr userDrawn="1"/>
        </p:nvSpPr>
        <p:spPr bwMode="auto">
          <a:xfrm>
            <a:off x="588263" y="1667329"/>
            <a:ext cx="11018520" cy="4301954"/>
          </a:xfrm>
          <a:prstGeom prst="roundRect">
            <a:avLst>
              <a:gd name="adj" fmla="val 3926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27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DF58D0E-224D-3FA1-F4A0-375844895571}"/>
              </a:ext>
            </a:extLst>
          </p:cNvPr>
          <p:cNvSpPr>
            <a:spLocks/>
          </p:cNvSpPr>
          <p:nvPr userDrawn="1"/>
        </p:nvSpPr>
        <p:spPr bwMode="auto">
          <a:xfrm>
            <a:off x="695325" y="1787979"/>
            <a:ext cx="10804396" cy="4060654"/>
          </a:xfrm>
          <a:prstGeom prst="roundRect">
            <a:avLst>
              <a:gd name="adj" fmla="val 3926"/>
            </a:avLst>
          </a:prstGeom>
          <a:solidFill>
            <a:schemeClr val="bg2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84000"/>
              </a:srgbClr>
            </a:outerShdw>
          </a:effectLst>
        </p:spPr>
        <p:txBody>
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cs typeface="Segoe Sans Display" pitchFamily="2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0B9D8E8-ED80-3490-F0A5-F1CAB1A3C88F}"/>
              </a:ext>
            </a:extLst>
          </p:cNvPr>
          <p:cNvCxnSpPr>
            <a:cxnSpLocks/>
          </p:cNvCxnSpPr>
          <p:nvPr userDrawn="1"/>
        </p:nvCxnSpPr>
        <p:spPr>
          <a:xfrm>
            <a:off x="4296791" y="2699233"/>
            <a:ext cx="0" cy="2154436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E0447CC-F41F-B521-8943-71D9F2836B0B}"/>
              </a:ext>
            </a:extLst>
          </p:cNvPr>
          <p:cNvCxnSpPr>
            <a:cxnSpLocks/>
          </p:cNvCxnSpPr>
          <p:nvPr userDrawn="1"/>
        </p:nvCxnSpPr>
        <p:spPr>
          <a:xfrm>
            <a:off x="7898257" y="2699233"/>
            <a:ext cx="0" cy="2154436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0AB6A3C0-DC19-4923-DEF9-33A5C0E9B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48751" y="2806015"/>
            <a:ext cx="1094613" cy="1094613"/>
          </a:xfrm>
          <a:prstGeom prst="ellipse">
            <a:avLst/>
          </a:prstGeom>
          <a:solidFill>
            <a:schemeClr val="bg1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A336EAC-D346-6DF8-3616-4C95CF8D83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549987" y="2806015"/>
            <a:ext cx="1094613" cy="1094613"/>
          </a:xfrm>
          <a:prstGeom prst="ellipse">
            <a:avLst/>
          </a:prstGeom>
          <a:solidFill>
            <a:schemeClr val="bg1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D7E0EEB-44DC-D41A-F151-6905AE0FD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151683" y="2806015"/>
            <a:ext cx="1094613" cy="1094613"/>
          </a:xfrm>
          <a:prstGeom prst="ellipse">
            <a:avLst/>
          </a:prstGeom>
          <a:solidFill>
            <a:schemeClr val="bg1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E26CDD1-7901-4653-D8D7-DE38CD1A509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3BD9DED-CB08-082E-FDDA-0BAA2E0E404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53948" y="3973246"/>
            <a:ext cx="3284220" cy="1231106"/>
          </a:xfrm>
        </p:spPr>
        <p:txBody>
          <a:bodyPr lIns="0" tIns="0" rIns="0" bIns="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7A94E522-332F-F142-99E2-722F59E9C191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55414" y="3973246"/>
            <a:ext cx="3284220" cy="1231106"/>
          </a:xfrm>
        </p:spPr>
        <p:txBody>
          <a:bodyPr lIns="0" tIns="0" rIns="0" bIns="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F1EF1979-AEBB-DBAA-83A0-ED92D92E23F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056880" y="3973246"/>
            <a:ext cx="3284220" cy="1231106"/>
          </a:xfrm>
        </p:spPr>
        <p:txBody>
          <a:bodyPr lIns="0" tIns="0" rIns="0" bIns="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88099151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2AB0DA82-D720-0985-50E3-BFCF4DF645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97737E7-53FD-4237-3F7F-2EDB7D6EAB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FE70C3BC-27DA-B08D-354D-5D7B29280B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  <a:gradFill flip="none" rotWithShape="1">
                <a:gsLst>
                  <a:gs pos="0">
                    <a:srgbClr val="A8DAA2"/>
                  </a:gs>
                  <a:gs pos="40000">
                    <a:srgbClr val="57B9C5"/>
                  </a:gs>
                  <a:gs pos="88000">
                    <a:srgbClr val="0F656B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9525" cap="flat">
                <a:noFill/>
                <a:prstDash val="solid"/>
                <a:miter/>
              </a:ln>
              <a:effectLst>
                <a:outerShdw blurRad="50800" dist="254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3E9644D-1C61-A1F2-DA64-F90CB0EEE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53C5B0A-CC75-1BA8-7472-42D277CC6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667329"/>
              <a:ext cx="11018520" cy="43019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CDF58D0E-224D-3FA1-F4A0-375844895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787979"/>
              <a:ext cx="10804396" cy="4060654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322D794-1174-A318-05ED-1724B0B7462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3" y="2699225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33E68FA-36B5-B59D-135C-7B185F1BAA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1" y="2699225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8E6A9D5-D682-FBAA-0B98-A2EB22B2C9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1" y="2699225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BBFCB70-9EA4-C67A-B76A-CE2B7C1BA4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527823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CFA6F4A-C826-BB30-2C12-A377C2916C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228922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717B505-0482-0211-BB3B-308334BD5E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930021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E9B21D2-FAAE-761D-DC21-CCE0C0655F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631120" y="2808630"/>
              <a:ext cx="1036102" cy="1036102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CCAF9B6-E3E0-AD49-8B05-8AF37B637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3BD9DED-CB08-082E-FDDA-0BAA2E0E40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3326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68DE010B-B9C4-D788-0521-AD51B1D7934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524424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3" name="Text Placeholder 25">
            <a:extLst>
              <a:ext uri="{FF2B5EF4-FFF2-40B4-BE49-F238E27FC236}">
                <a16:creationId xmlns:a16="http://schemas.microsoft.com/office/drawing/2014/main" id="{0A589FA1-7817-F007-634A-39D1EE53F6FF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225523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1" name="Text Placeholder 25">
            <a:extLst>
              <a:ext uri="{FF2B5EF4-FFF2-40B4-BE49-F238E27FC236}">
                <a16:creationId xmlns:a16="http://schemas.microsoft.com/office/drawing/2014/main" id="{67F7275B-1CE2-450B-7C97-C8CACBF4385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8926623" y="3968744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97889954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Column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CC536E1-C784-73F2-F6DF-D4FCB8C679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97737E7-53FD-4237-3F7F-2EDB7D6EAB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FE70C3BC-27DA-B08D-354D-5D7B29280B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  <a:gradFill flip="none" rotWithShape="1">
                <a:gsLst>
                  <a:gs pos="0">
                    <a:srgbClr val="A8DAA2"/>
                  </a:gs>
                  <a:gs pos="40000">
                    <a:srgbClr val="57B9C5"/>
                  </a:gs>
                  <a:gs pos="88000">
                    <a:srgbClr val="0F656B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9525" cap="flat">
                <a:noFill/>
                <a:prstDash val="solid"/>
                <a:miter/>
              </a:ln>
              <a:effectLst>
                <a:outerShdw blurRad="50800" dist="254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3E9644D-1C61-A1F2-DA64-F90CB0EEE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53C5B0A-CC75-1BA8-7472-42D277CC6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667329"/>
              <a:ext cx="11018520" cy="43019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CDF58D0E-224D-3FA1-F4A0-375844895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787979"/>
              <a:ext cx="10804396" cy="4060654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99F8546-CE82-A78C-0BBF-A4BD702FDC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4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5C90097-2F31-DAC8-E35A-02678FEF03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3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F02CD68-AFDC-454B-79D6-5AED219C5C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2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91167A5-92CD-D130-0716-50FBDC7BEF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1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5E19E29-F14D-5AAF-CEC4-229C51353F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367532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34538A6-442E-CDA7-8BE1-BE1E69B6276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528411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E9DE165-6145-2EC2-7C70-5A908F310E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689290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372925BF-9F6B-82CB-1350-D52D7C86FB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850169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A56DA6E-FD33-72FD-B2A5-7D0CA3A18B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011049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4CBD5D5-40EA-F508-1751-8D2961C656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3BD9DED-CB08-082E-FDDA-0BAA2E0E40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360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3" name="Text Placeholder 25">
            <a:extLst>
              <a:ext uri="{FF2B5EF4-FFF2-40B4-BE49-F238E27FC236}">
                <a16:creationId xmlns:a16="http://schemas.microsoft.com/office/drawing/2014/main" id="{1AC0983B-C634-CEF8-3583-7CA7FF2F2ED7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991239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4" name="Text Placeholder 25">
            <a:extLst>
              <a:ext uri="{FF2B5EF4-FFF2-40B4-BE49-F238E27FC236}">
                <a16:creationId xmlns:a16="http://schemas.microsoft.com/office/drawing/2014/main" id="{D24A97A6-1EA8-6B66-1057-931798BFA05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152118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36B38729-A0A6-F264-ADCB-4646C1814C7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312997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2" name="Text Placeholder 25">
            <a:extLst>
              <a:ext uri="{FF2B5EF4-FFF2-40B4-BE49-F238E27FC236}">
                <a16:creationId xmlns:a16="http://schemas.microsoft.com/office/drawing/2014/main" id="{0FE31903-BBD7-E808-7C7A-A6A46FD5F3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473876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1936643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DD07EA9-3CB3-E8C6-F695-388225B9E0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3F2502F-654E-0747-57A7-F9F623456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A809D1E4-E3C3-FA64-49E0-8C972CB579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565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B908AC18-017E-FCDB-BE40-11B4D32A89E7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C0FE920-4C8B-22E5-E004-1524C1896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2832100"/>
              <a:ext cx="11018520" cy="27906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4ACC00B-574C-8287-F96C-4D727A9B6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2948058"/>
              <a:ext cx="10804396" cy="2558738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B6F6DB8-E62C-03BC-C07C-03FA32CDC8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6790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D6F9F09-0FA9-F1D0-D877-D07C71D7876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98255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81CCDC2-47B5-2844-578C-EDF604D75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973" y="928832"/>
            <a:ext cx="11087100" cy="738664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05A93F-4B9F-F168-F47D-204BD4B4FE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973" y="1805894"/>
            <a:ext cx="11087100" cy="430887"/>
          </a:xfrm>
        </p:spPr>
        <p:txBody>
          <a:bodyPr/>
          <a:lstStyle>
            <a:lvl1pPr marL="0" indent="0" algn="ctr">
              <a:buNone/>
              <a:defRPr>
                <a:gradFill>
                  <a:gsLst>
                    <a:gs pos="100000">
                      <a:srgbClr val="0078D4"/>
                    </a:gs>
                    <a:gs pos="56000">
                      <a:srgbClr val="31838E"/>
                    </a:gs>
                  </a:gsLst>
                  <a:lin ang="0" scaled="1"/>
                </a:gradFill>
                <a:latin typeface="Segoe Sans Display Semilight" pitchFamily="2" charset="0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CFFD686-DC89-9E54-07F1-4FDD843123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1187" y="4073538"/>
            <a:ext cx="3329741" cy="307777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3A0CEF-15EA-4F25-02E1-949287E47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2652" y="4073538"/>
            <a:ext cx="3329741" cy="307777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F268C7BD-0316-6FEE-EB12-4133C67B9F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4117" y="4073538"/>
            <a:ext cx="3329741" cy="307777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111108149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D09EA0E5-B03F-1523-68E5-5097224A4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3F2502F-654E-0747-57A7-F9F623456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A809D1E4-E3C3-FA64-49E0-8C972CB579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565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B908AC18-017E-FCDB-BE40-11B4D32A89E7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C0FE920-4C8B-22E5-E004-1524C1896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2832100"/>
              <a:ext cx="11018520" cy="27906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4ACC00B-574C-8287-F96C-4D727A9B6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2948058"/>
              <a:ext cx="10804396" cy="2558738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FAEDA99-68B5-322C-C81A-9868ECA7B4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3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A5945DC-3FD2-D053-D632-9E400E26BF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1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A49D353-8E90-625F-7D95-45A31BC9AC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1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81CCDC2-47B5-2844-578C-EDF604D75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449" y="928832"/>
            <a:ext cx="11087100" cy="738664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05A93F-4B9F-F168-F47D-204BD4B4FE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1805894"/>
            <a:ext cx="11087100" cy="430887"/>
          </a:xfrm>
        </p:spPr>
        <p:txBody>
          <a:bodyPr/>
          <a:lstStyle>
            <a:lvl1pPr marL="0" indent="0" algn="ctr">
              <a:buNone/>
              <a:defRPr>
                <a:gradFill>
                  <a:gsLst>
                    <a:gs pos="100000">
                      <a:srgbClr val="0078D4"/>
                    </a:gs>
                    <a:gs pos="56000">
                      <a:srgbClr val="31838E"/>
                    </a:gs>
                  </a:gsLst>
                  <a:lin ang="0" scaled="1"/>
                </a:gradFill>
                <a:latin typeface="Segoe Sans Display Semilight" pitchFamily="2" charset="0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CFFD686-DC89-9E54-07F1-4FDD843123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3326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3A0CEF-15EA-4F25-02E1-949287E47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4424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F268C7BD-0316-6FEE-EB12-4133C67B9F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5523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1238FE33-2976-5504-46ED-B7F8B2A67C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26623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3278815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1FA6C9D-1521-4CCF-F73B-55E91B3B40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F1654F7-FD13-E9D5-C11F-4F5EB5EBA9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14B6233-BD7B-7A8C-B157-BF93D5A11A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413B1B5-900A-4ABA-DFB9-219C2BE7D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054278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D27B66C4-92B3-62EE-1ADC-4989E3F898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3F2502F-654E-0747-57A7-F9F623456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A809D1E4-E3C3-FA64-49E0-8C972CB579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565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B908AC18-017E-FCDB-BE40-11B4D32A89E7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C0FE920-4C8B-22E5-E004-1524C1896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2832100"/>
              <a:ext cx="11018520" cy="27906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4ACC00B-574C-8287-F96C-4D727A9B6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2948058"/>
              <a:ext cx="10804396" cy="2558738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5100C0B-E72C-72F9-2853-D659DF97D2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4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0629200-A673-33E6-C5E1-75FED3B170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3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35638A-E181-C55C-B88B-BE008AEA94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2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ACC6ECA-C2B6-5D31-363B-32936CA438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1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81CCDC2-47B5-2844-578C-EDF604D75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449" y="928832"/>
            <a:ext cx="11087100" cy="738664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05A93F-4B9F-F168-F47D-204BD4B4FE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1805894"/>
            <a:ext cx="11087100" cy="430887"/>
          </a:xfrm>
        </p:spPr>
        <p:txBody>
          <a:bodyPr/>
          <a:lstStyle>
            <a:lvl1pPr marL="0" indent="0" algn="ctr">
              <a:buNone/>
              <a:defRPr>
                <a:gradFill>
                  <a:gsLst>
                    <a:gs pos="100000">
                      <a:srgbClr val="0078D4"/>
                    </a:gs>
                    <a:gs pos="56000">
                      <a:srgbClr val="31838E"/>
                    </a:gs>
                  </a:gsLst>
                  <a:lin ang="0" scaled="1"/>
                </a:gradFill>
                <a:latin typeface="Segoe Sans Display Semilight" pitchFamily="2" charset="0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CFFD686-DC89-9E54-07F1-4FDD843123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62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3A0CEF-15EA-4F25-02E1-949287E47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79441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F268C7BD-0316-6FEE-EB12-4133C67B9F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0320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1238FE33-2976-5504-46ED-B7F8B2A67C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01199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3F4A6CFD-4C13-0CC3-8E12-26A51D8A0B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62078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834532858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Row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C615CE1-F07D-5AFC-3575-A3E6A52370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0775" y="0"/>
            <a:ext cx="10961227" cy="6858000"/>
            <a:chOff x="1230775" y="0"/>
            <a:chExt cx="1096122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5C9EE4-C10D-7B3D-9040-294201FA24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1A8CEC-882A-1156-0753-DD25176FCB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0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36">
              <a:extLst>
                <a:ext uri="{FF2B5EF4-FFF2-40B4-BE49-F238E27FC236}">
                  <a16:creationId xmlns:a16="http://schemas.microsoft.com/office/drawing/2014/main" id="{85F5104E-025D-ECE3-5CA1-227944802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6134034" y="-9526"/>
              <a:ext cx="5238882" cy="6877051"/>
            </a:xfrm>
            <a:prstGeom prst="round2SameRect">
              <a:avLst>
                <a:gd name="adj1" fmla="val 2613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81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6" name="Rounded Rectangle 38">
              <a:extLst>
                <a:ext uri="{FF2B5EF4-FFF2-40B4-BE49-F238E27FC236}">
                  <a16:creationId xmlns:a16="http://schemas.microsoft.com/office/drawing/2014/main" id="{CF5D267C-41BF-B59E-5D09-CBFA4A1990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6419342" y="85576"/>
              <a:ext cx="4858472" cy="6686848"/>
            </a:xfrm>
            <a:prstGeom prst="round2SameRect">
              <a:avLst>
                <a:gd name="adj1" fmla="val 1788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E297AC1-52CC-E845-426B-15EEF8822C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7" y="2805039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EB44C4D-3736-7263-FF26-6AB8442932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7" y="4052959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90BF04ED-00CF-F146-ADF8-793FC1258C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1" y="2598003"/>
            <a:ext cx="4329113" cy="1107996"/>
          </a:xfrm>
        </p:spPr>
        <p:txBody>
          <a:bodyPr anchor="ctr"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DA4CC2E3-75FA-03DF-B853-2246AFD424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43483" y="1962175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CBE4911-C72B-010E-92AC-197C85A48B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6378" y="2027191"/>
            <a:ext cx="5201422" cy="307777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47930BF3-4CCA-22C6-935F-A81E231D14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3483" y="3210095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FBE41CD-14B6-ED3B-332F-247AA4A1C3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6378" y="3275110"/>
            <a:ext cx="5201422" cy="307777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8" name="Picture Placeholder 22">
            <a:extLst>
              <a:ext uri="{FF2B5EF4-FFF2-40B4-BE49-F238E27FC236}">
                <a16:creationId xmlns:a16="http://schemas.microsoft.com/office/drawing/2014/main" id="{82DDDDE4-414B-F894-7DD8-0B1B2629FC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43483" y="4458015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9BDE4C3-81CD-B685-0F6A-0BF1174256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06378" y="4523031"/>
            <a:ext cx="5201422" cy="307777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579943498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Row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D9E3361E-D3D0-D24B-385F-4B93D0B3FF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0775" y="0"/>
            <a:ext cx="10961227" cy="6858000"/>
            <a:chOff x="1230775" y="0"/>
            <a:chExt cx="1096122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5C9EE4-C10D-7B3D-9040-294201FA24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1A8CEC-882A-1156-0753-DD25176FCB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0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36">
              <a:extLst>
                <a:ext uri="{FF2B5EF4-FFF2-40B4-BE49-F238E27FC236}">
                  <a16:creationId xmlns:a16="http://schemas.microsoft.com/office/drawing/2014/main" id="{85F5104E-025D-ECE3-5CA1-227944802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6134034" y="-9526"/>
              <a:ext cx="5238882" cy="6877051"/>
            </a:xfrm>
            <a:prstGeom prst="round2SameRect">
              <a:avLst>
                <a:gd name="adj1" fmla="val 2613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81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6" name="Rounded Rectangle 38">
              <a:extLst>
                <a:ext uri="{FF2B5EF4-FFF2-40B4-BE49-F238E27FC236}">
                  <a16:creationId xmlns:a16="http://schemas.microsoft.com/office/drawing/2014/main" id="{CF5D267C-41BF-B59E-5D09-CBFA4A1990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6419342" y="85576"/>
              <a:ext cx="4858472" cy="6686848"/>
            </a:xfrm>
            <a:prstGeom prst="round2SameRect">
              <a:avLst>
                <a:gd name="adj1" fmla="val 1788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290AF011-3795-8E34-8B43-ED21F876B0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6" y="2298555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A2ECB14-C4F2-4FFD-3650-F8F6824DF6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6" y="3429000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B0E5C52-8D37-FADB-CE15-FB452D4E16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6" y="4559445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FA1DE64F-957A-A233-CFB0-3F9376616C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1" y="2598003"/>
            <a:ext cx="4329113" cy="1107996"/>
          </a:xfrm>
        </p:spPr>
        <p:txBody>
          <a:bodyPr anchor="ctr"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DA4CC2E3-75FA-03DF-B853-2246AFD424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43483" y="1514428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 dirty="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CBE4911-C72B-010E-92AC-197C85A48B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6376" y="1594833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47930BF3-4CCA-22C6-935F-A81E231D14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3483" y="2644873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 dirty="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FBE41CD-14B6-ED3B-332F-247AA4A1C3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6376" y="2725277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8" name="Picture Placeholder 22">
            <a:extLst>
              <a:ext uri="{FF2B5EF4-FFF2-40B4-BE49-F238E27FC236}">
                <a16:creationId xmlns:a16="http://schemas.microsoft.com/office/drawing/2014/main" id="{82DDDDE4-414B-F894-7DD8-0B1B2629FC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43483" y="3775318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9BDE4C3-81CD-B685-0F6A-0BF1174256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06376" y="3855722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82DE6A1B-C705-57ED-5D21-422B7272AD3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43483" y="4905763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89EE348C-96E1-D36F-C098-3F670FA1DF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6376" y="4986167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801264215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Row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8336471-DF8E-293A-1C5E-A0FBC2173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0775" y="0"/>
            <a:ext cx="10961227" cy="6858000"/>
            <a:chOff x="1230775" y="0"/>
            <a:chExt cx="1096122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5C9EE4-C10D-7B3D-9040-294201FA24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1A8CEC-882A-1156-0753-DD25176FCB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0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36">
              <a:extLst>
                <a:ext uri="{FF2B5EF4-FFF2-40B4-BE49-F238E27FC236}">
                  <a16:creationId xmlns:a16="http://schemas.microsoft.com/office/drawing/2014/main" id="{85F5104E-025D-ECE3-5CA1-227944802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6134034" y="-9526"/>
              <a:ext cx="5238882" cy="6877051"/>
            </a:xfrm>
            <a:prstGeom prst="round2SameRect">
              <a:avLst>
                <a:gd name="adj1" fmla="val 2613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81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6" name="Rounded Rectangle 38">
              <a:extLst>
                <a:ext uri="{FF2B5EF4-FFF2-40B4-BE49-F238E27FC236}">
                  <a16:creationId xmlns:a16="http://schemas.microsoft.com/office/drawing/2014/main" id="{CF5D267C-41BF-B59E-5D09-CBFA4A1990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6419342" y="85576"/>
              <a:ext cx="4858472" cy="6686848"/>
            </a:xfrm>
            <a:prstGeom prst="round2SameRect">
              <a:avLst>
                <a:gd name="adj1" fmla="val 1800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270CB02-7EFE-CC8B-E384-981C216CCF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1971458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C2A9C6F-8F54-4C5E-ED2B-1C3DCD92BD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2943153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D8B869C-F8CC-1C53-F103-A3026670B4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3914848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7483BB6-D282-CE62-8782-CD9810E894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4886543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330CDF3-495A-F4F1-9344-C69EA023DD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1" y="2598003"/>
            <a:ext cx="4329113" cy="1107996"/>
          </a:xfrm>
        </p:spPr>
        <p:txBody>
          <a:bodyPr anchor="ctr"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DA4CC2E3-75FA-03DF-B853-2246AFD424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43483" y="1262498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CBE4911-C72B-010E-92AC-197C85A48B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6377" y="1358292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47930BF3-4CCA-22C6-935F-A81E231D14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3483" y="2234193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FBE41CD-14B6-ED3B-332F-247AA4A1C3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6377" y="2329986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8" name="Picture Placeholder 22">
            <a:extLst>
              <a:ext uri="{FF2B5EF4-FFF2-40B4-BE49-F238E27FC236}">
                <a16:creationId xmlns:a16="http://schemas.microsoft.com/office/drawing/2014/main" id="{82DDDDE4-414B-F894-7DD8-0B1B2629FC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43483" y="3205888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9BDE4C3-81CD-B685-0F6A-0BF1174256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06377" y="3301681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82DE6A1B-C705-57ED-5D21-422B7272AD3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43483" y="4177583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89EE348C-96E1-D36F-C098-3F670FA1DF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6377" y="4273376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5" name="Picture Placeholder 22">
            <a:extLst>
              <a:ext uri="{FF2B5EF4-FFF2-40B4-BE49-F238E27FC236}">
                <a16:creationId xmlns:a16="http://schemas.microsoft.com/office/drawing/2014/main" id="{05D7DA5F-A044-B252-F234-F0BDF9AF3CF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43483" y="5149278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79DEA43A-4C65-DE5E-DA6C-F3CE7EF442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6377" y="5245071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340319504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s With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665F012-10DD-9679-ECCC-693C177A0C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1AA96F5-1BDF-F65A-E96A-BA5695794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BE4FD4-DCCB-144B-93C7-68382DCDAF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D181186-378B-65D0-51AA-1CAC9C642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436688"/>
              <a:ext cx="11018520" cy="4841133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E378FBA-7993-4EE5-34B5-03885D5AAB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538514"/>
              <a:ext cx="10804396" cy="4637480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BC94A3C-9B34-1A0A-6287-C7E8596339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95325" y="1894793"/>
              <a:ext cx="10804396" cy="92460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E2CA89C-CC32-1FEC-C753-BAC8E05644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9825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BB519F7-742D-3BC7-8EDC-55F2763997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6790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34_1">
              <a:extLst>
                <a:ext uri="{FF2B5EF4-FFF2-40B4-BE49-F238E27FC236}">
                  <a16:creationId xmlns:a16="http://schemas.microsoft.com/office/drawing/2014/main" id="{DE63D16C-789A-CBFD-A85A-24460C0BC77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4243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5" name="Graphic 16" descr="Icon of a forward pointing arrow">
              <a:extLst>
                <a:ext uri="{FF2B5EF4-FFF2-40B4-BE49-F238E27FC236}">
                  <a16:creationId xmlns:a16="http://schemas.microsoft.com/office/drawing/2014/main" id="{EDA80957-28A6-EAC3-BD09-4B6186358BA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1831270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1DE6904-D51A-C12C-4B15-CCED57CF3D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9825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9EED113-4FF9-E4B8-4489-A2A44757EF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6790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34_1">
              <a:extLst>
                <a:ext uri="{FF2B5EF4-FFF2-40B4-BE49-F238E27FC236}">
                  <a16:creationId xmlns:a16="http://schemas.microsoft.com/office/drawing/2014/main" id="{E0F4E953-6AE3-75FE-F806-83ADC2E4DB7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5479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0" name="Graphic 16" descr="Icon of a forward pointing arrow">
              <a:extLst>
                <a:ext uri="{FF2B5EF4-FFF2-40B4-BE49-F238E27FC236}">
                  <a16:creationId xmlns:a16="http://schemas.microsoft.com/office/drawing/2014/main" id="{F6C547B2-C44B-75D4-5224-C49437A590C4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5432506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" name="Oval 34_1">
              <a:extLst>
                <a:ext uri="{FF2B5EF4-FFF2-40B4-BE49-F238E27FC236}">
                  <a16:creationId xmlns:a16="http://schemas.microsoft.com/office/drawing/2014/main" id="{422EB85E-288A-1687-F9EB-A5AAE68F42DB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7173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3" name="Graphic 16" descr="Icon of a forward pointing arrow">
              <a:extLst>
                <a:ext uri="{FF2B5EF4-FFF2-40B4-BE49-F238E27FC236}">
                  <a16:creationId xmlns:a16="http://schemas.microsoft.com/office/drawing/2014/main" id="{494E6564-20E9-F141-5C00-34424D2767A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9034200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A559581-970D-F07F-7AF5-419CCB479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>
                <a:solidFill>
                  <a:srgbClr val="454142"/>
                </a:solidFill>
              </a:rPr>
              <a:t>Lorem ipsum dolor sit 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37" name="Picture Placeholder 35">
            <a:extLst>
              <a:ext uri="{FF2B5EF4-FFF2-40B4-BE49-F238E27FC236}">
                <a16:creationId xmlns:a16="http://schemas.microsoft.com/office/drawing/2014/main" id="{39D1D15A-5E8B-87F9-77A1-65A2EE74E5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583708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0F0874C-DD87-22B2-BC30-B438C28CA3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187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5AF2F96E-74DB-CD63-D225-1D6394F23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6405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E6116428-8F89-9766-9040-9B5398B0A05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85173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D2783A76-804D-8011-B18D-BE26AF1C7C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32652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D2C67434-F448-64CD-5B1E-B5AA7CED84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37641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41" name="Picture Placeholder 35">
            <a:extLst>
              <a:ext uri="{FF2B5EF4-FFF2-40B4-BE49-F238E27FC236}">
                <a16:creationId xmlns:a16="http://schemas.microsoft.com/office/drawing/2014/main" id="{47626B74-A52F-4614-322D-CACDA52DB3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786639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80AA847F-C394-F0C1-2241-96C04C34AC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4117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054EF6A0-A8DC-0D5E-5F4D-5262727787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9335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</p:spTree>
    <p:extLst>
      <p:ext uri="{BB962C8B-B14F-4D97-AF65-F5344CB8AC3E}">
        <p14:creationId xmlns:p14="http://schemas.microsoft.com/office/powerpoint/2010/main" val="3566392397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 With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8519523-0AB8-CE7F-2A3A-40EF4FBE07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1AA96F5-1BDF-F65A-E96A-BA5695794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BE4FD4-DCCB-144B-93C7-68382DCDAF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D181186-378B-65D0-51AA-1CAC9C642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436688"/>
              <a:ext cx="11018520" cy="4841133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E378FBA-7993-4EE5-34B5-03885D5AAB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538514"/>
              <a:ext cx="10804396" cy="4637480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4883295-0753-D88F-8705-BE3C44BDAE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95325" y="1894793"/>
              <a:ext cx="10804396" cy="92460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71F7A586-025A-66C6-4FF9-F3C4A3D95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FDE5295-6467-67F3-B300-B53DB27142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3E40F6D-8042-8E9B-549A-640EB1381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CEDD79D-ED87-58C6-D949-A16C89FA83C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4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3BAF2BF-3FC9-435B-02C9-52DC9735EC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4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9292BB9-274B-7BE0-2DBA-EE28DB9766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9B6DA9E9-713E-3095-AEAA-4DF0BA0BEC5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04061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63" name="Graphic 16" descr="Icon of a forward pointing arrow">
              <a:extLst>
                <a:ext uri="{FF2B5EF4-FFF2-40B4-BE49-F238E27FC236}">
                  <a16:creationId xmlns:a16="http://schemas.microsoft.com/office/drawing/2014/main" id="{1289E6A0-DEBA-AD72-259C-160B6165FC2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1381088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23" name="Oval 34_1">
              <a:extLst>
                <a:ext uri="{FF2B5EF4-FFF2-40B4-BE49-F238E27FC236}">
                  <a16:creationId xmlns:a16="http://schemas.microsoft.com/office/drawing/2014/main" id="{735CC24D-4F84-1966-17EE-0B434D653FE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05160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24" name="Graphic 16" descr="Icon of a forward pointing arrow">
              <a:extLst>
                <a:ext uri="{FF2B5EF4-FFF2-40B4-BE49-F238E27FC236}">
                  <a16:creationId xmlns:a16="http://schemas.microsoft.com/office/drawing/2014/main" id="{81EAC87E-C8FB-3AC0-7CDF-B09B4389B73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4082187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27" name="Oval 34_1">
              <a:extLst>
                <a:ext uri="{FF2B5EF4-FFF2-40B4-BE49-F238E27FC236}">
                  <a16:creationId xmlns:a16="http://schemas.microsoft.com/office/drawing/2014/main" id="{05EA2839-E4E2-65D0-0CD9-372390F9D3C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6260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28" name="Graphic 16" descr="Icon of a forward pointing arrow">
              <a:extLst>
                <a:ext uri="{FF2B5EF4-FFF2-40B4-BE49-F238E27FC236}">
                  <a16:creationId xmlns:a16="http://schemas.microsoft.com/office/drawing/2014/main" id="{1E633B4A-38A9-56C3-9967-CCB81E04FC7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6783287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1" name="Oval 34_1">
              <a:extLst>
                <a:ext uri="{FF2B5EF4-FFF2-40B4-BE49-F238E27FC236}">
                  <a16:creationId xmlns:a16="http://schemas.microsoft.com/office/drawing/2014/main" id="{3B152BFA-0C24-E97A-7CD0-8B9ED88B6629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7357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32" name="Graphic 16" descr="Icon of a forward pointing arrow">
              <a:extLst>
                <a:ext uri="{FF2B5EF4-FFF2-40B4-BE49-F238E27FC236}">
                  <a16:creationId xmlns:a16="http://schemas.microsoft.com/office/drawing/2014/main" id="{2CCC892C-6D3E-9A65-7331-75FEDE6582B0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9484384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A559581-970D-F07F-7AF5-419CCB479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>
                <a:solidFill>
                  <a:srgbClr val="454142"/>
                </a:solidFill>
              </a:rPr>
              <a:t>Lorem ipsum dolor sit 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138" name="Picture Placeholder 35">
            <a:extLst>
              <a:ext uri="{FF2B5EF4-FFF2-40B4-BE49-F238E27FC236}">
                <a16:creationId xmlns:a16="http://schemas.microsoft.com/office/drawing/2014/main" id="{FC7F1915-DFB0-222B-BC47-472C28C820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13352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0F0874C-DD87-22B2-BC30-B438C28CA3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33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82" name="Text Placeholder 28">
            <a:extLst>
              <a:ext uri="{FF2B5EF4-FFF2-40B4-BE49-F238E27FC236}">
                <a16:creationId xmlns:a16="http://schemas.microsoft.com/office/drawing/2014/main" id="{10CABBE8-2638-BAC2-E832-618C53F3FE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5994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39" name="Picture Placeholder 35">
            <a:extLst>
              <a:ext uri="{FF2B5EF4-FFF2-40B4-BE49-F238E27FC236}">
                <a16:creationId xmlns:a16="http://schemas.microsoft.com/office/drawing/2014/main" id="{0D40BF4B-A5BF-46BC-6196-3A6AA9238C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83462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D2783A76-804D-8011-B18D-BE26AF1C7C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244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5AF2F96E-74DB-CD63-D225-1D6394F23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87093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0" name="Picture Placeholder 35">
            <a:extLst>
              <a:ext uri="{FF2B5EF4-FFF2-40B4-BE49-F238E27FC236}">
                <a16:creationId xmlns:a16="http://schemas.microsoft.com/office/drawing/2014/main" id="{153455A0-B802-51EB-4881-44A60B1A86C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535725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80AA847F-C394-F0C1-2241-96C04C34AC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55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D2C67434-F448-64CD-5B1E-B5AA7CED84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8191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1" name="Picture Placeholder 35">
            <a:extLst>
              <a:ext uri="{FF2B5EF4-FFF2-40B4-BE49-F238E27FC236}">
                <a16:creationId xmlns:a16="http://schemas.microsoft.com/office/drawing/2014/main" id="{94CBFB06-E612-8812-905E-426934B978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36822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1" name="Text Placeholder 28">
            <a:extLst>
              <a:ext uri="{FF2B5EF4-FFF2-40B4-BE49-F238E27FC236}">
                <a16:creationId xmlns:a16="http://schemas.microsoft.com/office/drawing/2014/main" id="{DD83EEF1-01E9-8119-E92A-2C8F2ECB37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266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054EF6A0-A8DC-0D5E-5F4D-5262727787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89290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</p:spTree>
    <p:extLst>
      <p:ext uri="{BB962C8B-B14F-4D97-AF65-F5344CB8AC3E}">
        <p14:creationId xmlns:p14="http://schemas.microsoft.com/office/powerpoint/2010/main" val="3959806114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Columns With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A3AEB20-3B06-F9A1-EEE9-04824346C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1AA96F5-1BDF-F65A-E96A-BA5695794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BE4FD4-DCCB-144B-93C7-68382DCDAF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D181186-378B-65D0-51AA-1CAC9C642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436688"/>
              <a:ext cx="11018520" cy="4841133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E378FBA-7993-4EE5-34B5-03885D5AAB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538514"/>
              <a:ext cx="10804396" cy="4637480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0B9FD821-861D-2EBD-340F-7FFC336F34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95325" y="1894793"/>
              <a:ext cx="10804396" cy="92460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9AFDBB06-056C-F43B-DA07-6F4B4DFABD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F342D02-8FC1-6829-E9E0-5E7BEEB105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770233AA-FCB2-B8CA-52C7-1E386A5DD6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4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C1F7DC8D-A6D5-ED89-4FD1-94C4440C7A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3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l 34_1">
              <a:extLst>
                <a:ext uri="{FF2B5EF4-FFF2-40B4-BE49-F238E27FC236}">
                  <a16:creationId xmlns:a16="http://schemas.microsoft.com/office/drawing/2014/main" id="{ED2CB4A8-98B0-1EBE-5417-11191CC88C0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951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94" name="Graphic 16" descr="Icon of a forward pointing arrow">
              <a:extLst>
                <a:ext uri="{FF2B5EF4-FFF2-40B4-BE49-F238E27FC236}">
                  <a16:creationId xmlns:a16="http://schemas.microsoft.com/office/drawing/2014/main" id="{E3968D37-1D29-99C9-3188-212955497EE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1110978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96" name="Oval 34_1">
              <a:extLst>
                <a:ext uri="{FF2B5EF4-FFF2-40B4-BE49-F238E27FC236}">
                  <a16:creationId xmlns:a16="http://schemas.microsoft.com/office/drawing/2014/main" id="{AB7F968F-BFF9-4E1D-EE5F-F121ADB8EB4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5710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97" name="Graphic 16" descr="Icon of a forward pointing arrow">
              <a:extLst>
                <a:ext uri="{FF2B5EF4-FFF2-40B4-BE49-F238E27FC236}">
                  <a16:creationId xmlns:a16="http://schemas.microsoft.com/office/drawing/2014/main" id="{C43994D0-27B1-567C-B208-2242805E3CC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5432737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02" name="Oval 34_1">
              <a:extLst>
                <a:ext uri="{FF2B5EF4-FFF2-40B4-BE49-F238E27FC236}">
                  <a16:creationId xmlns:a16="http://schemas.microsoft.com/office/drawing/2014/main" id="{03363F12-9BAF-22D1-161D-F8E174F4A0C8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94831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3" name="Graphic 16" descr="Icon of a forward pointing arrow">
              <a:extLst>
                <a:ext uri="{FF2B5EF4-FFF2-40B4-BE49-F238E27FC236}">
                  <a16:creationId xmlns:a16="http://schemas.microsoft.com/office/drawing/2014/main" id="{B1221598-A85E-F8D2-EF86-030FA59DC5C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3271858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05" name="Oval 34_1">
              <a:extLst>
                <a:ext uri="{FF2B5EF4-FFF2-40B4-BE49-F238E27FC236}">
                  <a16:creationId xmlns:a16="http://schemas.microsoft.com/office/drawing/2014/main" id="{25331CE2-100C-71D5-2655-ED622BBCB7BA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6589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6" name="Graphic 16" descr="Icon of a forward pointing arrow">
              <a:extLst>
                <a:ext uri="{FF2B5EF4-FFF2-40B4-BE49-F238E27FC236}">
                  <a16:creationId xmlns:a16="http://schemas.microsoft.com/office/drawing/2014/main" id="{65112361-974E-0D5D-C4D8-B49E2612A8A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7593616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93B8826-7E11-7D0A-C050-B8DD7D288B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631B97DE-A29B-C60B-70E7-E4C477A87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F03A490F-5D35-EE20-5021-69D137A5ED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4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00CD3CC5-01BA-A149-28AD-577FA4D3D1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3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Oval 34_1">
              <a:extLst>
                <a:ext uri="{FF2B5EF4-FFF2-40B4-BE49-F238E27FC236}">
                  <a16:creationId xmlns:a16="http://schemas.microsoft.com/office/drawing/2014/main" id="{7F0EDB24-78C9-A63A-0C0C-3EAB402F572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77468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0" name="Graphic 16" descr="Icon of a forward pointing arrow">
              <a:extLst>
                <a:ext uri="{FF2B5EF4-FFF2-40B4-BE49-F238E27FC236}">
                  <a16:creationId xmlns:a16="http://schemas.microsoft.com/office/drawing/2014/main" id="{8E31534D-DFF5-EDDC-EBD9-F586BCA03FD0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9754495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A559581-970D-F07F-7AF5-419CCB479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>
                <a:solidFill>
                  <a:srgbClr val="454142"/>
                </a:solidFill>
              </a:rPr>
              <a:t>Lorem ipsum dolor sit 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146" name="Picture Placeholder 35">
            <a:extLst>
              <a:ext uri="{FF2B5EF4-FFF2-40B4-BE49-F238E27FC236}">
                <a16:creationId xmlns:a16="http://schemas.microsoft.com/office/drawing/2014/main" id="{266DFEED-2FDF-143B-331D-CB8D8129C399}"/>
              </a:ext>
            </a:extLst>
          </p:cNvPr>
          <p:cNvSpPr>
            <a:spLocks noGrp="1"/>
          </p:cNvSpPr>
          <p:nvPr userDrawn="1">
            <p:ph type="pic" sz="quarter" idx="20" hasCustomPrompt="1"/>
          </p:nvPr>
        </p:nvSpPr>
        <p:spPr>
          <a:xfrm>
            <a:off x="86341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0F0874C-DD87-22B2-BC30-B438C28CA39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18563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82" name="Text Placeholder 28">
            <a:extLst>
              <a:ext uri="{FF2B5EF4-FFF2-40B4-BE49-F238E27FC236}">
                <a16:creationId xmlns:a16="http://schemas.microsoft.com/office/drawing/2014/main" id="{10CABBE8-2638-BAC2-E832-618C53F3FE2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15884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7" name="Picture Placeholder 35">
            <a:extLst>
              <a:ext uri="{FF2B5EF4-FFF2-40B4-BE49-F238E27FC236}">
                <a16:creationId xmlns:a16="http://schemas.microsoft.com/office/drawing/2014/main" id="{EF2A6C6A-F038-05BA-D0E8-AF00E9C23B6A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302429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D2783A76-804D-8011-B18D-BE26AF1C7C8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979443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5AF2F96E-74DB-CD63-D225-1D6394F23F3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676764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8" name="Picture Placeholder 35">
            <a:extLst>
              <a:ext uri="{FF2B5EF4-FFF2-40B4-BE49-F238E27FC236}">
                <a16:creationId xmlns:a16="http://schemas.microsoft.com/office/drawing/2014/main" id="{B3A4636C-8D5A-BCDE-7ADB-7CD4BF4BC07A}"/>
              </a:ext>
            </a:extLst>
          </p:cNvPr>
          <p:cNvSpPr>
            <a:spLocks noGrp="1"/>
          </p:cNvSpPr>
          <p:nvPr userDrawn="1">
            <p:ph type="pic" sz="quarter" idx="22" hasCustomPrompt="1"/>
          </p:nvPr>
        </p:nvSpPr>
        <p:spPr>
          <a:xfrm>
            <a:off x="5185175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80AA847F-C394-F0C1-2241-96C04C34AC7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140322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D2C67434-F448-64CD-5B1E-B5AA7CED848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837643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9" name="Picture Placeholder 35">
            <a:extLst>
              <a:ext uri="{FF2B5EF4-FFF2-40B4-BE49-F238E27FC236}">
                <a16:creationId xmlns:a16="http://schemas.microsoft.com/office/drawing/2014/main" id="{8C5FF639-A8E6-F4C2-CFB1-1C00EA8DC7CE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7346055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1" name="Text Placeholder 28">
            <a:extLst>
              <a:ext uri="{FF2B5EF4-FFF2-40B4-BE49-F238E27FC236}">
                <a16:creationId xmlns:a16="http://schemas.microsoft.com/office/drawing/2014/main" id="{DD83EEF1-01E9-8119-E92A-2C8F2ECB370B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301201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118" name="Text Placeholder 28">
            <a:extLst>
              <a:ext uri="{FF2B5EF4-FFF2-40B4-BE49-F238E27FC236}">
                <a16:creationId xmlns:a16="http://schemas.microsoft.com/office/drawing/2014/main" id="{15F76C39-C98A-4B20-67C6-6F4615B573DA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998522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50" name="Picture Placeholder 35">
            <a:extLst>
              <a:ext uri="{FF2B5EF4-FFF2-40B4-BE49-F238E27FC236}">
                <a16:creationId xmlns:a16="http://schemas.microsoft.com/office/drawing/2014/main" id="{B1C3EAF9-9BBC-7AA0-5F6D-AE36881C6906}"/>
              </a:ext>
            </a:extLst>
          </p:cNvPr>
          <p:cNvSpPr>
            <a:spLocks noGrp="1"/>
          </p:cNvSpPr>
          <p:nvPr userDrawn="1">
            <p:ph type="pic" sz="quarter" idx="24" hasCustomPrompt="1"/>
          </p:nvPr>
        </p:nvSpPr>
        <p:spPr>
          <a:xfrm>
            <a:off x="9506934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17" name="Text Placeholder 28">
            <a:extLst>
              <a:ext uri="{FF2B5EF4-FFF2-40B4-BE49-F238E27FC236}">
                <a16:creationId xmlns:a16="http://schemas.microsoft.com/office/drawing/2014/main" id="{C26EEDAE-6293-5D8C-29C3-DA0425B152C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462080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054EF6A0-A8DC-0D5E-5F4D-52627277871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159401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</p:spTree>
    <p:extLst>
      <p:ext uri="{BB962C8B-B14F-4D97-AF65-F5344CB8AC3E}">
        <p14:creationId xmlns:p14="http://schemas.microsoft.com/office/powerpoint/2010/main" val="3467302801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46C996C-EE31-6DDE-0311-14BE23B5F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832" y="1436688"/>
            <a:ext cx="12221496" cy="5421312"/>
            <a:chOff x="-9832" y="1436688"/>
            <a:chExt cx="12221496" cy="5421312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8033685-E0A8-2074-E605-6C3FEB0820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FBD5C9D-8F90-698B-C906-3CF91D371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832" y="1436688"/>
              <a:ext cx="12221496" cy="4841133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0F8AC82-6D22-0F68-8B35-E0F7B5203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538514"/>
              <a:ext cx="12192000" cy="463748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8FBFC72-FE0A-867F-5B01-381258BA52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2391723"/>
              <a:ext cx="12192000" cy="0"/>
            </a:xfrm>
            <a:prstGeom prst="line">
              <a:avLst/>
            </a:prstGeom>
            <a:ln w="57150">
              <a:gradFill flip="none" rotWithShape="1">
                <a:gsLst>
                  <a:gs pos="0">
                    <a:srgbClr val="B5D7EC"/>
                  </a:gs>
                  <a:gs pos="100000">
                    <a:srgbClr val="57B9C5"/>
                  </a:gs>
                </a:gsLst>
                <a:lin ang="0" scaled="1"/>
                <a:tileRect/>
              </a:gradFill>
              <a:headEnd type="none"/>
              <a:tailEnd type="none"/>
            </a:ln>
            <a:effectLst>
              <a:outerShdw blurRad="50800" dist="38100" dir="2700000" algn="tl" rotWithShape="0">
                <a:srgbClr val="CFCBBB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34_1">
              <a:extLst>
                <a:ext uri="{FF2B5EF4-FFF2-40B4-BE49-F238E27FC236}">
                  <a16:creationId xmlns:a16="http://schemas.microsoft.com/office/drawing/2014/main" id="{E03DFB26-0834-85B7-6E0B-CEE43D59C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8377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018E7340-EDB0-3940-FA6A-620E65A05B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816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3" name="Oval 34_1">
              <a:extLst>
                <a:ext uri="{FF2B5EF4-FFF2-40B4-BE49-F238E27FC236}">
                  <a16:creationId xmlns:a16="http://schemas.microsoft.com/office/drawing/2014/main" id="{6D60BEFE-5287-46A4-A3FE-2E1CDB4213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255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B5B755F-1F23-CFA1-D05F-5720C98716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019717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ED37B9-A0F3-DF2F-74FC-30B9981DB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75328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C9514E4-4D97-9DD6-9E46-1FC29CAEF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B38686-8F02-1A26-32BA-09C64EE9C4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ACC12E5-21FF-1BFE-F2D2-8D5365A83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32652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753221A-E9B0-B89B-CAAB-C1F6E7528B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77042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1857630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8DBDCA3-1755-F009-E430-C8F3A5D98B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832" y="1436688"/>
            <a:ext cx="12221496" cy="5421312"/>
            <a:chOff x="-9832" y="1436688"/>
            <a:chExt cx="12221496" cy="5421312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8033685-E0A8-2074-E605-6C3FEB0820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FBD5C9D-8F90-698B-C906-3CF91D371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832" y="1436688"/>
              <a:ext cx="12221496" cy="4841133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0F8AC82-6D22-0F68-8B35-E0F7B5203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538514"/>
              <a:ext cx="12192000" cy="463748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8FBFC72-FE0A-867F-5B01-381258BA52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2391723"/>
              <a:ext cx="12192000" cy="0"/>
            </a:xfrm>
            <a:prstGeom prst="line">
              <a:avLst/>
            </a:prstGeom>
            <a:ln w="57150">
              <a:gradFill flip="none" rotWithShape="1">
                <a:gsLst>
                  <a:gs pos="0">
                    <a:srgbClr val="B5D7EC"/>
                  </a:gs>
                  <a:gs pos="100000">
                    <a:srgbClr val="57B9C5"/>
                  </a:gs>
                </a:gsLst>
                <a:lin ang="0" scaled="1"/>
                <a:tileRect/>
              </a:gradFill>
              <a:headEnd type="none"/>
              <a:tailEnd type="none"/>
            </a:ln>
            <a:effectLst>
              <a:outerShdw blurRad="50800" dist="38100" dir="2700000" algn="tl" rotWithShape="0">
                <a:srgbClr val="CFCBBB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34_1">
              <a:extLst>
                <a:ext uri="{FF2B5EF4-FFF2-40B4-BE49-F238E27FC236}">
                  <a16:creationId xmlns:a16="http://schemas.microsoft.com/office/drawing/2014/main" id="{E03DFB26-0834-85B7-6E0B-CEE43D59C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2296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018E7340-EDB0-3940-FA6A-620E65A05B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9542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3" name="Oval 34_1">
              <a:extLst>
                <a:ext uri="{FF2B5EF4-FFF2-40B4-BE49-F238E27FC236}">
                  <a16:creationId xmlns:a16="http://schemas.microsoft.com/office/drawing/2014/main" id="{6D60BEFE-5287-46A4-A3FE-2E1CDB4213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788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B5B755F-1F23-CFA1-D05F-5720C98716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40278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ED37B9-A0F3-DF2F-74FC-30B9981DB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4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2EC1888-5B75-E1B1-5D10-B341386289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54770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34_1">
              <a:extLst>
                <a:ext uri="{FF2B5EF4-FFF2-40B4-BE49-F238E27FC236}">
                  <a16:creationId xmlns:a16="http://schemas.microsoft.com/office/drawing/2014/main" id="{9D22A76C-D26D-96DB-F63B-4C04B167AF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14032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C9514E4-4D97-9DD6-9E46-1FC29CAEF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B38686-8F02-1A26-32BA-09C64EE9C4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ACC12E5-21FF-1BFE-F2D2-8D5365A83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45509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753221A-E9B0-B89B-CAAB-C1F6E7528B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2755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8B5E0DB-CDD8-0FE0-0B67-CFAC7B6D24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9999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40746263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ED5E79E-ED46-7136-75B6-E56C92149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832" y="1436688"/>
            <a:ext cx="12221496" cy="5421312"/>
            <a:chOff x="-9832" y="1436688"/>
            <a:chExt cx="12221496" cy="5421312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8033685-E0A8-2074-E605-6C3FEB0820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FBD5C9D-8F90-698B-C906-3CF91D371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832" y="1436688"/>
              <a:ext cx="12221496" cy="4841133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0F8AC82-6D22-0F68-8B35-E0F7B5203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538514"/>
              <a:ext cx="12192000" cy="463748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8FBFC72-FE0A-867F-5B01-381258BA52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2391723"/>
              <a:ext cx="12192000" cy="0"/>
            </a:xfrm>
            <a:prstGeom prst="line">
              <a:avLst/>
            </a:prstGeom>
            <a:ln w="57150">
              <a:gradFill flip="none" rotWithShape="1">
                <a:gsLst>
                  <a:gs pos="0">
                    <a:srgbClr val="B5D7EC"/>
                  </a:gs>
                  <a:gs pos="100000">
                    <a:srgbClr val="57B9C5"/>
                  </a:gs>
                </a:gsLst>
                <a:lin ang="0" scaled="1"/>
                <a:tileRect/>
              </a:gradFill>
              <a:headEnd type="none"/>
              <a:tailEnd type="none"/>
            </a:ln>
            <a:effectLst>
              <a:outerShdw blurRad="50800" dist="38100" dir="2700000" algn="tl" rotWithShape="0">
                <a:srgbClr val="CFCBBB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34_1">
              <a:extLst>
                <a:ext uri="{FF2B5EF4-FFF2-40B4-BE49-F238E27FC236}">
                  <a16:creationId xmlns:a16="http://schemas.microsoft.com/office/drawing/2014/main" id="{E03DFB26-0834-85B7-6E0B-CEE43D59C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9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018E7340-EDB0-3940-FA6A-620E65A05B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9180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3" name="Oval 34_1">
              <a:extLst>
                <a:ext uri="{FF2B5EF4-FFF2-40B4-BE49-F238E27FC236}">
                  <a16:creationId xmlns:a16="http://schemas.microsoft.com/office/drawing/2014/main" id="{6D60BEFE-5287-46A4-A3FE-2E1CDB4213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8166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B5B755F-1F23-CFA1-D05F-5720C98716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64046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ED37B9-A0F3-DF2F-74FC-30B9981DB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53032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2EC1888-5B75-E1B1-5D10-B341386289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242018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34_1">
              <a:extLst>
                <a:ext uri="{FF2B5EF4-FFF2-40B4-BE49-F238E27FC236}">
                  <a16:creationId xmlns:a16="http://schemas.microsoft.com/office/drawing/2014/main" id="{9D22A76C-D26D-96DB-F63B-4C04B167AF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7152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30" name="Oval 34_1">
              <a:extLst>
                <a:ext uri="{FF2B5EF4-FFF2-40B4-BE49-F238E27FC236}">
                  <a16:creationId xmlns:a16="http://schemas.microsoft.com/office/drawing/2014/main" id="{9463EDDE-B279-0FC7-5885-895DD2EF9C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0613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FE824D8-9BE0-16B0-3EEE-4C939FC4E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31004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C9514E4-4D97-9DD6-9E46-1FC29CAEF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B38686-8F02-1A26-32BA-09C64EE9C4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ACC12E5-21FF-1BFE-F2D2-8D5365A83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7249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753221A-E9B0-B89B-CAAB-C1F6E7528B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66235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8B5E0DB-CDD8-0FE0-0B67-CFAC7B6D24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5221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9EB0181-84E6-CDCF-36C1-9A87981E65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44203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6733940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4487D11-2ECE-85B1-EC88-0F6BA75EA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483F80E8-0561-9982-DB00-79AAF7F9EE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F0781E78-8CDC-5019-D09E-8447477865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DA8A5465-4B37-01D6-4D65-7F2E2A4E0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348011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1FA6C9D-1521-4CCF-F73B-55E91B3B40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F1654F7-FD13-E9D5-C11F-4F5EB5EBA9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14B6233-BD7B-7A8C-B157-BF93D5A11A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413B1B5-900A-4ABA-DFB9-219C2BE7D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195814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AC10587-3139-813D-FBE9-2DF33E9BEC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BDD249F-13FC-82E9-835C-B85B250C22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E8E0BF4-AA58-0C9A-6979-81FC44AED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7B3F5920-F053-AF09-9535-93C621787D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0800000" flipH="1" flipV="1">
              <a:off x="572647" y="1536977"/>
              <a:ext cx="3645020" cy="4403170"/>
            </a:xfrm>
            <a:prstGeom prst="roundRect">
              <a:avLst>
                <a:gd name="adj" fmla="val 3854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D02AE6D-D5C1-E95A-2D2E-FBE2B9CB77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0800000" flipH="1" flipV="1">
              <a:off x="4428903" y="1536977"/>
              <a:ext cx="7174483" cy="4403170"/>
            </a:xfrm>
            <a:prstGeom prst="roundRect">
              <a:avLst>
                <a:gd name="adj" fmla="val 2989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413B1B5-900A-4ABA-DFB9-219C2BE7D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982911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8017CF9-8D63-B6A6-2572-4BCD1A3504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E738DB2-363C-B74C-F640-4AB2956C7B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DDB2926D-0246-88D9-97EA-8F29FF528F3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900B17AF-0AE6-4EC5-61A2-C125C452B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B9C7F5F-F35B-9EE1-A58E-55C47992DF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3734130" y="1925479"/>
              <a:ext cx="462355" cy="3266472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31750" cap="flat">
              <a:solidFill>
                <a:schemeClr val="bg2"/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" name="Rectangle: Rounded Corners 36">
              <a:extLst>
                <a:ext uri="{FF2B5EF4-FFF2-40B4-BE49-F238E27FC236}">
                  <a16:creationId xmlns:a16="http://schemas.microsoft.com/office/drawing/2014/main" id="{FD0F4B89-F4A5-79B1-1D22-E564EB529E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588963" y="1765299"/>
              <a:ext cx="3145167" cy="3586831"/>
            </a:xfrm>
            <a:prstGeom prst="roundRect">
              <a:avLst>
                <a:gd name="adj" fmla="val 3578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1" name="Rounded Rectangle 21">
              <a:extLst>
                <a:ext uri="{FF2B5EF4-FFF2-40B4-BE49-F238E27FC236}">
                  <a16:creationId xmlns:a16="http://schemas.microsoft.com/office/drawing/2014/main" id="{68ECE701-0FD7-BFB0-67DC-7F7540451E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196486" y="1765299"/>
              <a:ext cx="7409727" cy="3586831"/>
            </a:xfrm>
            <a:prstGeom prst="roundRect">
              <a:avLst>
                <a:gd name="adj" fmla="val 394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413B1B5-900A-4ABA-DFB9-219C2BE7D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138275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070A1E7-2211-84E8-E2A0-F7AF90411B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50DA670-FF71-8D2F-2E55-EC96E31B6D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75693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95320803-AD6C-B766-EE53-41AB4661833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5693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AAFADB1F-176C-478C-E033-1653DE65B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93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7A9A2D5-E08B-B0D6-B6C2-D27589820D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8263" y="1685194"/>
              <a:ext cx="11018520" cy="4583844"/>
            </a:xfrm>
            <a:prstGeom prst="roundRect">
              <a:avLst>
                <a:gd name="adj" fmla="val 187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lgDash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7" name="Title 28">
            <a:extLst>
              <a:ext uri="{FF2B5EF4-FFF2-40B4-BE49-F238E27FC236}">
                <a16:creationId xmlns:a16="http://schemas.microsoft.com/office/drawing/2014/main" id="{D588AA19-C94D-43DC-E34A-A343E7137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454142"/>
                </a:solidFill>
              </a:rPr>
              <a:t>Lorem ipsum dolor sit </a:t>
            </a:r>
            <a:r>
              <a:rPr lang="en-US" err="1">
                <a:solidFill>
                  <a:srgbClr val="454142"/>
                </a:solidFill>
              </a:rPr>
              <a:t>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403423-7803-ECBC-D072-5D496A9D87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3" y="1098807"/>
            <a:ext cx="11017250" cy="276999"/>
          </a:xfr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444799453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4487D11-2ECE-85B1-EC88-0F6BA75EA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483F80E8-0561-9982-DB00-79AAF7F9EE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F0781E78-8CDC-5019-D09E-8447477865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DA8A5465-4B37-01D6-4D65-7F2E2A4E0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910657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4487D11-2ECE-85B1-EC88-0F6BA75EA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483F80E8-0561-9982-DB00-79AAF7F9EE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F0781E78-8CDC-5019-D09E-8447477865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DA8A5465-4B37-01D6-4D65-7F2E2A4E0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0A404E1-61F1-7AF3-0C7D-ECCFB49BB6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15143" y="4851400"/>
            <a:ext cx="11164888" cy="1417638"/>
          </a:xfrm>
          <a:prstGeom prst="roundRect">
            <a:avLst>
              <a:gd name="adj" fmla="val 8067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18900000" scaled="1"/>
            <a:tileRect/>
          </a:gradFill>
          <a:ln w="28575">
            <a:solidFill>
              <a:schemeClr val="bg1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CCC9786-CEEB-FD12-E7CB-054357D659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588962" y="1436688"/>
            <a:ext cx="11017250" cy="3709595"/>
          </a:xfrm>
          <a:prstGeom prst="roundRect">
            <a:avLst>
              <a:gd name="adj" fmla="val 2853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722385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7213A9F-6D7F-76BC-94D5-31BAA0E98E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4200" y="0"/>
            <a:ext cx="11607800" cy="6858000"/>
            <a:chOff x="584200" y="0"/>
            <a:chExt cx="11607800" cy="685800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724546D-8525-4E01-B337-C160E8829F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9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61842" y="0"/>
              <a:ext cx="7830158" cy="68580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1FEE1CC-CCE0-D310-2EDC-C0056DF632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4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4200" y="1123951"/>
              <a:ext cx="11022585" cy="4610101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</p:spPr>
        </p:pic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6F18D58C-D972-C8B3-1E7F-141E1ACB03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>
              <a:off x="3790442" y="-2082292"/>
              <a:ext cx="4610100" cy="11022584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32000"/>
                  </a:schemeClr>
                </a:gs>
                <a:gs pos="100000">
                  <a:schemeClr val="bg1"/>
                </a:gs>
              </a:gsLst>
              <a:lin ang="8100000" scaled="1"/>
            </a:gradFill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3" name="Title 22">
            <a:extLst>
              <a:ext uri="{FF2B5EF4-FFF2-40B4-BE49-F238E27FC236}">
                <a16:creationId xmlns:a16="http://schemas.microsoft.com/office/drawing/2014/main" id="{469FC3D9-DA5E-15AE-D759-10EE33A2DC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9" y="2836708"/>
            <a:ext cx="10604726" cy="923330"/>
          </a:xfrm>
        </p:spPr>
        <p:txBody>
          <a:bodyPr/>
          <a:lstStyle>
            <a:lvl1pPr algn="ctr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D4639D9-274B-8505-7343-DEEB563B4B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129" y="3883252"/>
            <a:ext cx="10604726" cy="27699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u="sng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607446034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7BBF39B-2CCF-5E4D-0194-0AD3BDF678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8354" y="1536974"/>
            <a:ext cx="11603646" cy="5321023"/>
            <a:chOff x="588354" y="1536974"/>
            <a:chExt cx="11603646" cy="532102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2466C642-81BB-1C92-21FF-B679C51495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B3003A9-0770-68BE-19A9-09CA203BC6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3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8354" y="1536974"/>
              <a:ext cx="11023075" cy="4628042"/>
            </a:xfrm>
            <a:custGeom>
              <a:avLst/>
              <a:gdLst>
                <a:gd name="connsiteX0" fmla="*/ 91635 w 11023075"/>
                <a:gd name="connsiteY0" fmla="*/ 0 h 4628042"/>
                <a:gd name="connsiteX1" fmla="*/ 10931440 w 11023075"/>
                <a:gd name="connsiteY1" fmla="*/ 0 h 4628042"/>
                <a:gd name="connsiteX2" fmla="*/ 11023075 w 11023075"/>
                <a:gd name="connsiteY2" fmla="*/ 91635 h 4628042"/>
                <a:gd name="connsiteX3" fmla="*/ 11023075 w 11023075"/>
                <a:gd name="connsiteY3" fmla="*/ 4536407 h 4628042"/>
                <a:gd name="connsiteX4" fmla="*/ 10931440 w 11023075"/>
                <a:gd name="connsiteY4" fmla="*/ 4628042 h 4628042"/>
                <a:gd name="connsiteX5" fmla="*/ 91635 w 11023075"/>
                <a:gd name="connsiteY5" fmla="*/ 4628042 h 4628042"/>
                <a:gd name="connsiteX6" fmla="*/ 0 w 11023075"/>
                <a:gd name="connsiteY6" fmla="*/ 4536407 h 4628042"/>
                <a:gd name="connsiteX7" fmla="*/ 0 w 11023075"/>
                <a:gd name="connsiteY7" fmla="*/ 91635 h 4628042"/>
                <a:gd name="connsiteX8" fmla="*/ 91635 w 11023075"/>
                <a:gd name="connsiteY8" fmla="*/ 0 h 46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3075" h="4628042">
                  <a:moveTo>
                    <a:pt x="91635" y="0"/>
                  </a:moveTo>
                  <a:lnTo>
                    <a:pt x="10931440" y="0"/>
                  </a:lnTo>
                  <a:cubicBezTo>
                    <a:pt x="10982049" y="0"/>
                    <a:pt x="11023075" y="41026"/>
                    <a:pt x="11023075" y="91635"/>
                  </a:cubicBezTo>
                  <a:lnTo>
                    <a:pt x="11023075" y="4536407"/>
                  </a:lnTo>
                  <a:cubicBezTo>
                    <a:pt x="11023075" y="4587016"/>
                    <a:pt x="10982049" y="4628042"/>
                    <a:pt x="10931440" y="4628042"/>
                  </a:cubicBezTo>
                  <a:lnTo>
                    <a:pt x="91635" y="4628042"/>
                  </a:lnTo>
                  <a:cubicBezTo>
                    <a:pt x="41026" y="4628042"/>
                    <a:pt x="0" y="4587016"/>
                    <a:pt x="0" y="4536407"/>
                  </a:cubicBezTo>
                  <a:lnTo>
                    <a:pt x="0" y="91635"/>
                  </a:lnTo>
                  <a:cubicBezTo>
                    <a:pt x="0" y="41026"/>
                    <a:pt x="41026" y="0"/>
                    <a:pt x="91635" y="0"/>
                  </a:cubicBezTo>
                  <a:close/>
                </a:path>
              </a:pathLst>
            </a:custGeom>
          </p:spPr>
        </p:pic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957032CC-E913-585C-2740-1A385C6C40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8354" y="1536974"/>
              <a:ext cx="11023075" cy="4628042"/>
            </a:xfrm>
            <a:prstGeom prst="roundRect">
              <a:avLst>
                <a:gd name="adj" fmla="val 198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CB0F998-E7E2-A095-D39B-0E86B4536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7667384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5289E-6 3.30912E-6 L -2.95289E-6 0.01815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Pic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71FE53F-3B7B-1EAA-BAAD-791F606E0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61D77A9-7D0D-7581-2814-997A76CB3E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DFC53BA2-2EDA-7CE7-98C2-4DFE2F3922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7B865D66-EEB3-1043-A4CB-FAFCA8373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0BF2B51-2457-348D-8A19-C7E52A2548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7375" y="1436688"/>
              <a:ext cx="11017250" cy="4698936"/>
            </a:xfrm>
            <a:prstGeom prst="roundRect">
              <a:avLst>
                <a:gd name="adj" fmla="val 3866"/>
              </a:avLst>
            </a:prstGeom>
            <a:solidFill>
              <a:schemeClr val="bg2"/>
            </a:solidFill>
            <a:ln w="19050" cap="flat">
              <a:solidFill>
                <a:schemeClr val="bg1"/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tx1"/>
                </a:solidFill>
                <a:latin typeface="+mj-lt"/>
                <a:cs typeface="Segoe Sans Display Semibold" pitchFamily="2" charset="0"/>
              </a:endParaRPr>
            </a:p>
          </p:txBody>
        </p:sp>
        <p:sp>
          <p:nvSpPr>
            <p:cNvPr id="7" name="Round Same Side Corner Rectangle 32">
              <a:extLst>
                <a:ext uri="{FF2B5EF4-FFF2-40B4-BE49-F238E27FC236}">
                  <a16:creationId xmlns:a16="http://schemas.microsoft.com/office/drawing/2014/main" id="{1731657A-028B-6CDA-E891-FF42248354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587375" y="3724274"/>
              <a:ext cx="11017251" cy="2411347"/>
            </a:xfrm>
            <a:prstGeom prst="round2SameRect">
              <a:avLst>
                <a:gd name="adj1" fmla="val 7110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noFill/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7C7E02B-91B5-801C-389D-B1F46EA3E6F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Lorem ipsum dolor sit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69CF01DC-E362-785D-CD71-80BEBC2B30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27443" y="3965968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0FDDA3F4-55AC-6571-C087-FE266D98BCF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03645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4224447-F3E0-0934-6636-8849D1A4057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79848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1D7B2D0-DFB2-99EA-9CAC-BA82BC2057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56051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4F1DE414-2A5D-DB03-4D60-2694E44F3A8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32254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1ED89A5-E840-7E54-979F-4C3EB5CECA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08457" y="3967726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970571481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3E025C7-4683-B76E-54E7-D476805D9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584200" y="0"/>
            <a:chExt cx="12192000" cy="6858000"/>
          </a:xfrm>
        </p:grpSpPr>
        <p:pic>
          <p:nvPicPr>
            <p:cNvPr id="4" name="Picture 3" descr="A close-up of a spiral&#10;&#10;Description automatically generated">
              <a:extLst>
                <a:ext uri="{FF2B5EF4-FFF2-40B4-BE49-F238E27FC236}">
                  <a16:creationId xmlns:a16="http://schemas.microsoft.com/office/drawing/2014/main" id="{22F5BCBC-65CB-F2C5-F7E5-A49212343667}"/>
                </a:ext>
              </a:extLst>
            </p:cNvPr>
            <p:cNvPicPr/>
            <p:nvPr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t="-565"/>
            <a:stretch/>
          </p:blipFill>
          <p:spPr>
            <a:xfrm>
              <a:off x="58420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FCD74B7-1D41-A60C-A214-CA1C0CA51115}"/>
                </a:ext>
              </a:extLst>
            </p:cNvPr>
            <p:cNvSpPr/>
            <p:nvPr/>
          </p:nvSpPr>
          <p:spPr bwMode="auto">
            <a:xfrm rot="10800000">
              <a:off x="58420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" name="Rectangle: Rounded Corners 36">
            <a:extLst>
              <a:ext uri="{FF2B5EF4-FFF2-40B4-BE49-F238E27FC236}">
                <a16:creationId xmlns:a16="http://schemas.microsoft.com/office/drawing/2014/main" id="{180F8F63-158E-89DB-C7AC-13CFDF5E5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84200" y="1431734"/>
            <a:ext cx="11022013" cy="4486466"/>
          </a:xfrm>
          <a:prstGeom prst="roundRect">
            <a:avLst>
              <a:gd name="adj" fmla="val 2504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27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GB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8A3A76F-F5F1-8653-D613-F2BEA4959A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22313" y="1565588"/>
            <a:ext cx="10745788" cy="4218758"/>
          </a:xfrm>
          <a:prstGeom prst="roundRect">
            <a:avLst>
              <a:gd name="adj" fmla="val 2036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1D6FC8-DFA8-C5E4-12A0-5362355F421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7601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6 0.03888 L 2.08333E-6 4.07407E-6 " pathEditMode="relative" rAng="0" ptsTypes="AA">
                                      <p:cBhvr>
                                        <p:cTn id="9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6 0.03888 L 2.08333E-6 4.07407E-6 " pathEditMode="relative" rAng="0" ptsTypes="AA">
                                      <p:cBhvr>
                                        <p:cTn id="14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lide Withou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C942705-DC45-1FDE-D48E-49A3E3BA79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3687" y="0"/>
            <a:ext cx="11509459" cy="6561438"/>
            <a:chOff x="293687" y="0"/>
            <a:chExt cx="11509459" cy="6561438"/>
          </a:xfrm>
        </p:grpSpPr>
        <p:sp>
          <p:nvSpPr>
            <p:cNvPr id="3" name="Rectangle: Top Corners Rounded 5">
              <a:extLst>
                <a:ext uri="{FF2B5EF4-FFF2-40B4-BE49-F238E27FC236}">
                  <a16:creationId xmlns:a16="http://schemas.microsoft.com/office/drawing/2014/main" id="{25176C7D-8DA6-C9F3-6B85-61090A915A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293687" y="0"/>
              <a:ext cx="4062413" cy="6561438"/>
            </a:xfrm>
            <a:prstGeom prst="round2SameRect">
              <a:avLst>
                <a:gd name="adj1" fmla="val 0"/>
                <a:gd name="adj2" fmla="val 4714"/>
              </a:avLst>
            </a:prstGeom>
            <a:gradFill flip="none" rotWithShape="1">
              <a:gsLst>
                <a:gs pos="32000">
                  <a:schemeClr val="bg2"/>
                </a:gs>
                <a:gs pos="100000">
                  <a:schemeClr val="bg2">
                    <a:lumMod val="95000"/>
                  </a:schemeClr>
                </a:gs>
              </a:gsLst>
              <a:lin ang="135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chemeClr val="bg1">
                  <a:lumMod val="50000"/>
                </a:schemeClr>
              </a:outerShdw>
            </a:effectLst>
          </p:spPr>
          <p:txBody>
            <a:bodyPr rot="0" spcFirstLastPara="0" vertOverflow="overflow" horzOverflow="overflow" vert="horz" wrap="square" lIns="0" tIns="457200" rIns="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 kern="0">
                <a:solidFill>
                  <a:srgbClr val="000000"/>
                </a:solidFill>
                <a:latin typeface="Segoe Sans Small" pitchFamily="2" charset="0"/>
                <a:cs typeface="Segoe Sans Small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8E33276-5D08-D85D-B656-615C0089F5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293687" y="1345023"/>
              <a:ext cx="3300317" cy="152167"/>
              <a:chOff x="353635" y="4046193"/>
              <a:chExt cx="3300317" cy="15216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91B839CF-4C95-EAB5-7D2B-CA763278A1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53635" y="4122276"/>
                <a:ext cx="2703004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A672B4-4B84-04AC-3617-D1EB1361C7D1}"/>
                  </a:ext>
                </a:extLst>
              </p:cNvPr>
              <p:cNvGrpSpPr/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55B39D24-0E3C-B8FD-A29D-53F46298B5B8}"/>
                    </a:ext>
                  </a:extLst>
                </p:cNvPr>
                <p:cNvSpPr/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09D23AAD-188D-515A-B7B8-750FBAE0E9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16F2EE8A-B9E9-ED2C-F118-EAEF32C968F1}"/>
                    </a:ext>
                  </a:extLst>
                </p:cNvPr>
                <p:cNvSpPr/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8EC8E9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402716-7F38-D62A-A81B-4445CE2849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1077800" y="5191231"/>
              <a:ext cx="415932" cy="1403132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rgbClr val="FFFFFF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4" name="Graphic 16" descr="Icon of a forward pointing arrow">
              <a:extLst>
                <a:ext uri="{FF2B5EF4-FFF2-40B4-BE49-F238E27FC236}">
                  <a16:creationId xmlns:a16="http://schemas.microsoft.com/office/drawing/2014/main" id="{24E7F838-E391-99C2-390B-D1F732B80C6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647320" y="5768797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280A9B1-BF02-8938-C988-E1B9DA9A9836}"/>
                </a:ext>
              </a:extLst>
            </p:cNvPr>
            <p:cNvPicPr>
              <a:picLocks/>
            </p:cNvPicPr>
            <p:nvPr userDrawn="1"/>
          </p:nvPicPr>
          <p:blipFill>
            <a:blip r:embed="rId2">
              <a:alphaModFix amt="4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89263" y="6397455"/>
              <a:ext cx="7213883" cy="163983"/>
            </a:xfrm>
            <a:prstGeom prst="rect">
              <a:avLst/>
            </a:prstGeom>
          </p:spPr>
        </p:pic>
      </p:grpSp>
      <p:sp>
        <p:nvSpPr>
          <p:cNvPr id="26" name="Title 25">
            <a:extLst>
              <a:ext uri="{FF2B5EF4-FFF2-40B4-BE49-F238E27FC236}">
                <a16:creationId xmlns:a16="http://schemas.microsoft.com/office/drawing/2014/main" id="{8D242A61-7B69-4E76-E485-2576E9D1B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2616200"/>
            <a:ext cx="3198813" cy="166199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DE69DB48-AF41-DFE2-4441-A11FEB38D4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100" y="484481"/>
            <a:ext cx="2412856" cy="516759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latin typeface="+mj-lt"/>
              </a:defRPr>
            </a:lvl1pPr>
          </a:lstStyle>
          <a:p>
            <a:r>
              <a:rPr lang="en-IN"/>
              <a:t>Logo</a:t>
            </a:r>
            <a:endParaRPr lang="en-US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94B11F76-CB40-F446-693F-95D5DA15E4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4347" y="5795847"/>
            <a:ext cx="880049" cy="18466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 u="sng">
                <a:solidFill>
                  <a:srgbClr val="1C628B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Read mor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A5902F29-6EE4-F7C1-46C1-9FB7CD1C0C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56100" y="3"/>
            <a:ext cx="7835900" cy="327042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D33E086-FDF1-07B0-6B6F-3BC96881B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6100" y="3280719"/>
            <a:ext cx="7835900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rgbClr val="57B9C5"/>
                </a:gs>
              </a:gsLst>
              <a:lin ang="0" scaled="1"/>
              <a:tileRect/>
            </a:gradFill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FE35E6D3-10C1-214D-0980-9F9405DB16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48729" y="3657600"/>
            <a:ext cx="1951251" cy="243912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6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hallenge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B40E3E7-136F-7BD8-CAB9-67A964DB4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40" y="3657600"/>
            <a:ext cx="1951251" cy="243912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6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Solution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C4761A2A-35E5-113F-41CB-21E44A939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56551" y="3657600"/>
            <a:ext cx="1951251" cy="243912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6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Result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B1EC98F-BACD-D870-2A71-67D5E694B299}"/>
              </a:ext>
            </a:extLst>
          </p:cNvPr>
          <p:cNvGrpSpPr/>
          <p:nvPr userDrawn="1"/>
        </p:nvGrpSpPr>
        <p:grpSpPr>
          <a:xfrm>
            <a:off x="6981250" y="4041906"/>
            <a:ext cx="2465600" cy="2227132"/>
            <a:chOff x="6981250" y="4041906"/>
            <a:chExt cx="2465600" cy="192024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9CBE1A2-0FB6-C9DD-592F-A518DA332C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81250" y="4041906"/>
              <a:ext cx="0" cy="1920240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DF9CA28-F6F2-80F5-6702-D1089EF042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46850" y="4041906"/>
              <a:ext cx="0" cy="1920240"/>
            </a:xfrm>
            <a:prstGeom prst="line">
              <a:avLst/>
            </a:prstGeom>
            <a:ln w="6350" cap="rnd">
              <a:solidFill>
                <a:schemeClr val="bg1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797747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 Titl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>
            <a:extLst>
              <a:ext uri="{FF2B5EF4-FFF2-40B4-BE49-F238E27FC236}">
                <a16:creationId xmlns:a16="http://schemas.microsoft.com/office/drawing/2014/main" id="{E67FA29C-2B87-F0BD-BDBC-E952DC250DFD}"/>
              </a:ext>
            </a:extLst>
          </p:cNvPr>
          <p:cNvGrpSpPr/>
          <p:nvPr userDrawn="1"/>
        </p:nvGrpSpPr>
        <p:grpSpPr>
          <a:xfrm>
            <a:off x="1230775" y="1"/>
            <a:ext cx="10961225" cy="6858000"/>
            <a:chOff x="1230775" y="1"/>
            <a:chExt cx="10961225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877DF6D-3889-DE36-4112-1974712F4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E5CD9E6-6754-0B8D-A4BB-B883BCE52C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1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" name="Rounded Rectangle 64">
            <a:extLst>
              <a:ext uri="{FF2B5EF4-FFF2-40B4-BE49-F238E27FC236}">
                <a16:creationId xmlns:a16="http://schemas.microsoft.com/office/drawing/2014/main" id="{01D6C565-7317-AFAD-851C-C9EEE8C7C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314950" y="1127760"/>
            <a:ext cx="6316277" cy="4602480"/>
          </a:xfrm>
          <a:prstGeom prst="roundRect">
            <a:avLst>
              <a:gd name="adj" fmla="val 2222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27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5855214-42FC-9C83-F5BE-416BE11ABD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8264" y="3152001"/>
            <a:ext cx="4302479" cy="553998"/>
          </a:xfrm>
        </p:spPr>
        <p:txBody>
          <a:bodyPr anchor="ctr"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7975036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1.04167E-6 0 L 1.041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6BECD2E-18ED-9413-D174-3A2829AB4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1F53F01-2D08-B795-8385-E6CCF646C4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86A2AF43-8BC9-0B60-FC15-371991A6A0D2}"/>
                  </a:ext>
                </a:extLst>
              </p:cNvPr>
              <p:cNvPicPr/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7C165707-9A10-1629-1689-2838EEF0D660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ounded Rectangle 64">
              <a:extLst>
                <a:ext uri="{FF2B5EF4-FFF2-40B4-BE49-F238E27FC236}">
                  <a16:creationId xmlns:a16="http://schemas.microsoft.com/office/drawing/2014/main" id="{33CED9F0-8E79-CCCD-AD06-87DE5B3658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4200" y="1773950"/>
              <a:ext cx="11018520" cy="4790308"/>
            </a:xfrm>
            <a:prstGeom prst="roundRect">
              <a:avLst>
                <a:gd name="adj" fmla="val 222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pPr lvl="0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06632EA-1E3E-35E2-8869-D5598A8423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46679" y="1835876"/>
              <a:ext cx="10894669" cy="4666458"/>
            </a:xfrm>
            <a:prstGeom prst="roundRect">
              <a:avLst>
                <a:gd name="adj" fmla="val 1973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accent6">
                    <a:lumMod val="10000"/>
                  </a:schemeClr>
                </a:solidFill>
                <a:latin typeface="+mj-lt"/>
                <a:cs typeface="Segoe Sans Display Semibold" pitchFamily="2" charset="0"/>
              </a:endParaRPr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DE9B605C-A680-0781-9696-E4D53FFF864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4200" y="1020708"/>
            <a:ext cx="11018520" cy="553998"/>
          </a:xfrm>
        </p:spPr>
        <p:txBody>
          <a:bodyPr lIns="0" tIns="0" rIns="0" bIns="0"/>
          <a:lstStyle/>
          <a:p>
            <a:r>
              <a:rPr lang="en-US"/>
              <a:t>Lorem Ipsu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4ADCE1-33E2-6223-AB12-5A28979891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457200"/>
            <a:ext cx="11018520" cy="430887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2800" kern="1200" dirty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Lorem ipsum:</a:t>
            </a:r>
          </a:p>
        </p:txBody>
      </p:sp>
    </p:spTree>
    <p:extLst>
      <p:ext uri="{BB962C8B-B14F-4D97-AF65-F5344CB8AC3E}">
        <p14:creationId xmlns:p14="http://schemas.microsoft.com/office/powerpoint/2010/main" val="1352188720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F8D5A82-3B93-4121-DF93-4058878D6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F71CE6A-B47C-AC82-5A64-E3F1BCF2AB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38D137C9-B027-5F2D-1296-AD2CEED1A2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565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3421CD9-F831-FF87-5FE0-8834B9C75E78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Top Corners Rounded 125">
              <a:extLst>
                <a:ext uri="{FF2B5EF4-FFF2-40B4-BE49-F238E27FC236}">
                  <a16:creationId xmlns:a16="http://schemas.microsoft.com/office/drawing/2014/main" id="{B72EC590-4273-F6F7-6762-9C4CCEAFFA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8263" y="1236459"/>
              <a:ext cx="11018520" cy="5327854"/>
            </a:xfrm>
            <a:prstGeom prst="roundRect">
              <a:avLst>
                <a:gd name="adj" fmla="val 1812"/>
              </a:avLst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8100000" scaled="1"/>
            </a:gradFill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405014-95B6-B6F8-3EB4-F6FA0D690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706070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F7F7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ADB0D8C-5046-EC06-5442-050BDE13DB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 descr="A blue and white wavy design&#10;&#10;Description automatically generated">
              <a:extLst>
                <a:ext uri="{FF2B5EF4-FFF2-40B4-BE49-F238E27FC236}">
                  <a16:creationId xmlns:a16="http://schemas.microsoft.com/office/drawing/2014/main" id="{DF724F75-6E52-6BE5-DCAD-DFEC3F56F5D4}"/>
                </a:ext>
              </a:extLst>
            </p:cNvPr>
            <p:cNvPicPr/>
            <p:nvPr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A10C9C8-1A0F-7739-FECF-D937B5E704DB}"/>
                </a:ext>
              </a:extLst>
            </p:cNvPr>
            <p:cNvSpPr/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" name="Rounded Rectangle 64">
            <a:extLst>
              <a:ext uri="{FF2B5EF4-FFF2-40B4-BE49-F238E27FC236}">
                <a16:creationId xmlns:a16="http://schemas.microsoft.com/office/drawing/2014/main" id="{0F791BA7-3F63-A7FD-BCD6-C65CB54D8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525781" y="1314450"/>
            <a:ext cx="11142494" cy="5249808"/>
          </a:xfrm>
          <a:prstGeom prst="roundRect">
            <a:avLst>
              <a:gd name="adj" fmla="val 2222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27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9351467-46C5-34C1-1774-DCB3AE271A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88963" y="1379034"/>
            <a:ext cx="11017250" cy="5120640"/>
          </a:xfrm>
          <a:prstGeom prst="roundRect">
            <a:avLst>
              <a:gd name="adj" fmla="val 1361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solidFill>
                <a:schemeClr val="accent6">
                  <a:lumMod val="10000"/>
                </a:schemeClr>
              </a:solidFill>
              <a:latin typeface="+mj-lt"/>
              <a:cs typeface="Segoe Sans Display Semibold" pitchFamily="2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87271-B96E-FDDA-2CA9-064F66AF9B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80201"/>
            <a:ext cx="11018520" cy="215444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4"/>
                </a:solidFill>
                <a:latin typeface="Segoe UI Variable Small Light" pitchFamily="2" charset="0"/>
              </a:defRPr>
            </a:lvl1pPr>
          </a:lstStyle>
          <a:p>
            <a:pPr lvl="0"/>
            <a:r>
              <a:rPr lang="en-US"/>
              <a:t>Lorem Ipsum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24D304-9540-E41A-6BE3-9DE754C33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6646659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rgbClr val="F7F7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ADB0D8C-5046-EC06-5442-050BDE13DB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 descr="A blue and white wavy design&#10;&#10;Description automatically generated">
              <a:extLst>
                <a:ext uri="{FF2B5EF4-FFF2-40B4-BE49-F238E27FC236}">
                  <a16:creationId xmlns:a16="http://schemas.microsoft.com/office/drawing/2014/main" id="{DF724F75-6E52-6BE5-DCAD-DFEC3F56F5D4}"/>
                </a:ext>
              </a:extLst>
            </p:cNvPr>
            <p:cNvPicPr/>
            <p:nvPr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A10C9C8-1A0F-7739-FECF-D937B5E704DB}"/>
                </a:ext>
              </a:extLst>
            </p:cNvPr>
            <p:cNvSpPr/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01DD2F1-DD48-A6DD-6A27-85C17CAD7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87271-B96E-FDDA-2CA9-064F66AF9B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80201"/>
            <a:ext cx="11018520" cy="215444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4"/>
                </a:solidFill>
                <a:latin typeface="Segoe UI Variable Small Light" pitchFamily="2" charset="0"/>
              </a:defRPr>
            </a:lvl1pPr>
          </a:lstStyle>
          <a:p>
            <a:pPr lvl="0"/>
            <a:r>
              <a:rPr lang="en-US"/>
              <a:t>Lorem Ipsum:</a:t>
            </a:r>
          </a:p>
        </p:txBody>
      </p:sp>
    </p:spTree>
    <p:extLst>
      <p:ext uri="{BB962C8B-B14F-4D97-AF65-F5344CB8AC3E}">
        <p14:creationId xmlns:p14="http://schemas.microsoft.com/office/powerpoint/2010/main" val="2123226274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6E849EEE-D5A0-FA48-F6A1-73A692B67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8F8E3F5-AEA8-6C67-8864-8AF5B5B728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94F908EE-C7F3-C52A-6F0C-CA037210DB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63245B3-9632-EA6E-9085-BFDA0F1A9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ounded Rectangle 64">
              <a:extLst>
                <a:ext uri="{FF2B5EF4-FFF2-40B4-BE49-F238E27FC236}">
                  <a16:creationId xmlns:a16="http://schemas.microsoft.com/office/drawing/2014/main" id="{B85062FC-9327-5EF3-FCCC-A9D2066B77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2470150" y="1735580"/>
              <a:ext cx="9136633" cy="4186988"/>
            </a:xfrm>
            <a:prstGeom prst="roundRect">
              <a:avLst>
                <a:gd name="adj" fmla="val 2649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accent6">
                    <a:lumMod val="10000"/>
                  </a:schemeClr>
                </a:solidFill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1FC40CE0-E13E-8700-3D2D-31637E5567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111223" y="3131243"/>
              <a:ext cx="8128278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8F8B965-D9FE-24E2-C061-DC49767FD0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111223" y="4526906"/>
              <a:ext cx="8128278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54142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34B052-AE25-43B3-B43B-7907751F19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4760" y="1735580"/>
            <a:ext cx="2205900" cy="4186988"/>
          </a:xfrm>
          <a:prstGeom prst="roundRect">
            <a:avLst>
              <a:gd name="adj" fmla="val 4472"/>
            </a:avLst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t="-30000"/>
            </a:stretch>
          </a:blipFill>
          <a:ln w="31750">
            <a:solidFill>
              <a:schemeClr val="bg2"/>
            </a:solidFill>
          </a:ln>
          <a:effectLst>
            <a:outerShdw blurRad="114300" dist="38100" dir="10800000" algn="ctr" rotWithShape="0">
              <a:schemeClr val="bg1">
                <a:lumMod val="75000"/>
                <a:alpha val="40000"/>
              </a:schemeClr>
            </a:outerShdw>
          </a:effectLst>
        </p:spPr>
        <p:txBody>
          <a:bodyPr lIns="182880" tIns="146304" rIns="182880" bIns="146304" anchor="ctr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tabLst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DEB2ACF-E279-AD68-1868-E2F6F5A497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11223" y="2052707"/>
            <a:ext cx="8128278" cy="73866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6DFC4C0C-9D69-B586-F0BC-3B16C9F699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11223" y="3459741"/>
            <a:ext cx="8128278" cy="73866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11D98D9-27C2-B3B1-E690-A56F870B7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1223" y="4855405"/>
            <a:ext cx="8128278" cy="73866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81088975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92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44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314189C-1ED7-96D2-53F3-009E06644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9D0836D-D666-1A60-B299-66691DD71B2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C67BECE-2038-6E2D-1947-8048AB7EAF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8E987406-DE0E-47B1-67E5-E3EE60356A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Rectangle: Top Corners Rounded 32">
            <a:extLst>
              <a:ext uri="{FF2B5EF4-FFF2-40B4-BE49-F238E27FC236}">
                <a16:creationId xmlns:a16="http://schemas.microsoft.com/office/drawing/2014/main" id="{EB8D7223-DA03-D0E8-CCF9-DE074D438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261619" y="445706"/>
            <a:ext cx="407205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386A23D-6ABB-76C4-FBFB-90E7ABF66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52537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BAE18A-AFE4-3CF4-24FC-9E1FD69313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3471902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7AAF762-2D62-A6BA-BF09-C020CD22E5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253968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E53545FB-6BED-49C3-9A8D-1A39FDE9E0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380240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A3ABBABB-A2F4-49D0-6704-F70C87819B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06512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67A59-FB1C-F67C-EF01-487C1F675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712839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ACD6B564-8611-D9B1-22D4-2E27C05661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802889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C1F63D9-AFF9-7B0E-DC97-1DB2CD3EB5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05081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8BB52D7-D21F-75F1-1A3F-B2AB197CE56C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16" name="Picture Placeholder 3">
              <a:extLst>
                <a:ext uri="{FF2B5EF4-FFF2-40B4-BE49-F238E27FC236}">
                  <a16:creationId xmlns:a16="http://schemas.microsoft.com/office/drawing/2014/main" id="{0449F706-6E85-C9E9-C561-00C8245A3C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17" name="Rectangle: Rounded Corners 36">
              <a:extLst>
                <a:ext uri="{FF2B5EF4-FFF2-40B4-BE49-F238E27FC236}">
                  <a16:creationId xmlns:a16="http://schemas.microsoft.com/office/drawing/2014/main" id="{72CBBDBB-9E8C-DD91-B595-81EAC07C4F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18" name="Rectangle: Top Corners Rounded 6">
              <a:extLst>
                <a:ext uri="{FF2B5EF4-FFF2-40B4-BE49-F238E27FC236}">
                  <a16:creationId xmlns:a16="http://schemas.microsoft.com/office/drawing/2014/main" id="{01591739-5EBB-D11E-A247-65D88604B9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69F0EEB-FB38-AD06-F3F3-AD8A9AF0D8E5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C4DE41-B4B4-A59C-F01F-23490C406DAC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1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A837DF51-FEC7-3B85-1468-6239BF4C76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2" name="Graphic 16">
              <a:hlinkClick r:id="rId6"/>
              <a:extLst>
                <a:ext uri="{FF2B5EF4-FFF2-40B4-BE49-F238E27FC236}">
                  <a16:creationId xmlns:a16="http://schemas.microsoft.com/office/drawing/2014/main" id="{B403D72C-B634-6860-E897-9ECFBF5311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DE7BB84-CA90-0812-66A0-2D1860FAFF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1308" y="2976452"/>
            <a:ext cx="3244164" cy="1538883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4A687005-386D-484E-2C98-477FD3A424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CA28FADC-4FC5-ADE6-3306-F2B583B247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400" b="1" u="sng" kern="1200" dirty="0">
                <a:solidFill>
                  <a:srgbClr val="1C628B"/>
                </a:solidFill>
                <a:latin typeface="+mj-lt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38387090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459250-4824-872A-ECF7-84EDBCBDA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56C54-3611-54A8-5EF6-FF4FA8DF5DB8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480D405D-CA1F-7AC8-5C1F-AFFE3BDD8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7486F846-9E5D-4E3D-6562-4966E75AA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Rectangle: Top Corners Rounded 32">
            <a:extLst>
              <a:ext uri="{FF2B5EF4-FFF2-40B4-BE49-F238E27FC236}">
                <a16:creationId xmlns:a16="http://schemas.microsoft.com/office/drawing/2014/main" id="{0A0289BD-0BAA-A5E5-6E47-0D53C6E97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154580" y="402231"/>
            <a:ext cx="428613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8E1299C-88F5-FEC8-4D79-244AD65A88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240546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502843F-91A4-D868-C1E5-009310D5B8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5" y="3058208"/>
            <a:ext cx="6140748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3B34D76-9FEF-63A5-A08D-CCEA66AA04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2084" y="2254855"/>
            <a:ext cx="6140748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FD97B290-9474-B3F3-029A-E26BF9655B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4" y="4360273"/>
            <a:ext cx="6140748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297246C0-E46B-F1EB-CC57-F5320B40F2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4" y="5412982"/>
            <a:ext cx="6140748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F9513-A35A-F17E-907C-9433CA67B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5" y="5163626"/>
            <a:ext cx="6140748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E9989D58-594E-897C-5DDD-6078827CE4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434596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5E890BB-6F66-D359-6E9B-8AE07E3CD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39867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75F99B-2B37-F3DF-CCAD-86E137100F75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16" name="Picture Placeholder 3">
              <a:extLst>
                <a:ext uri="{FF2B5EF4-FFF2-40B4-BE49-F238E27FC236}">
                  <a16:creationId xmlns:a16="http://schemas.microsoft.com/office/drawing/2014/main" id="{759C07A3-A3FC-4AFC-5E29-6A72DCED5E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17" name="Rectangle: Rounded Corners 36">
              <a:extLst>
                <a:ext uri="{FF2B5EF4-FFF2-40B4-BE49-F238E27FC236}">
                  <a16:creationId xmlns:a16="http://schemas.microsoft.com/office/drawing/2014/main" id="{C4AEF803-9F70-320A-EA65-79F5C677B3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18" name="Rectangle: Top Corners Rounded 6">
              <a:extLst>
                <a:ext uri="{FF2B5EF4-FFF2-40B4-BE49-F238E27FC236}">
                  <a16:creationId xmlns:a16="http://schemas.microsoft.com/office/drawing/2014/main" id="{AE84CC87-BEF1-10D6-F100-4C32A124DE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05F00A52-60B9-9C65-B50A-547EDAB406CE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B2BA963-980C-85FD-E115-DE19A743D046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1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27712D29-410C-DB14-8939-4F0D330702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2" name="Graphic 16">
              <a:hlinkClick r:id="rId6"/>
              <a:extLst>
                <a:ext uri="{FF2B5EF4-FFF2-40B4-BE49-F238E27FC236}">
                  <a16:creationId xmlns:a16="http://schemas.microsoft.com/office/drawing/2014/main" id="{88FD28A2-006E-ABE6-501E-B17B1CA7D5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6F2CF5C-6744-942F-8F59-78AD542226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1308" y="2976452"/>
            <a:ext cx="3244164" cy="1538883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0B4898FB-9205-D82D-5CD6-10D7C5EF50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C79C630F-C550-ED4E-AE59-35E7863A1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400" b="1" u="sng" kern="1200" dirty="0">
                <a:solidFill>
                  <a:srgbClr val="1C628B"/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BF75870C-3E15-B5F4-E4BE-9196447AD9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2084" y="3307564"/>
            <a:ext cx="6140748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AA82774-EDEB-43A7-C080-A6FAD60A9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293255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7BAD022-EA39-1D6E-BB4D-E5F276293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5" y="4110917"/>
            <a:ext cx="6140748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912531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0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8">
          <p15:clr>
            <a:srgbClr val="A4A3A4"/>
          </p15:clr>
        </p15:guide>
        <p15:guide id="13" pos="2744">
          <p15:clr>
            <a:srgbClr val="A4A3A4"/>
          </p15:clr>
        </p15:guide>
        <p15:guide id="14" pos="3168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AB207AD-DEAE-154A-A901-6FD356CDE8A4}"/>
              </a:ext>
            </a:extLst>
          </p:cNvPr>
          <p:cNvSpPr/>
          <p:nvPr userDrawn="1"/>
        </p:nvSpPr>
        <p:spPr>
          <a:xfrm>
            <a:off x="2961411" y="3291776"/>
            <a:ext cx="9230589" cy="1414956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C7BF76F-4846-4D42-BB24-41761B401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6270" y="6299345"/>
            <a:ext cx="1554480" cy="33310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5F6FC98-BF54-8E4B-ADCE-416C088B5FD5}"/>
              </a:ext>
            </a:extLst>
          </p:cNvPr>
          <p:cNvSpPr txBox="1"/>
          <p:nvPr userDrawn="1"/>
        </p:nvSpPr>
        <p:spPr>
          <a:xfrm>
            <a:off x="3268758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uation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CEABE899-10A3-484A-9A5F-6B1D4CB09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8758" y="3460224"/>
            <a:ext cx="8643841" cy="83026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1800" b="0" i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28">
            <a:extLst>
              <a:ext uri="{FF2B5EF4-FFF2-40B4-BE49-F238E27FC236}">
                <a16:creationId xmlns:a16="http://schemas.microsoft.com/office/drawing/2014/main" id="{E03D0DEC-BC71-A445-A3E5-9B83B80381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68758" y="5162439"/>
            <a:ext cx="256032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F5AC1971-A820-D44B-949E-127EE43819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57" y="4423180"/>
            <a:ext cx="8643841" cy="158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>
                <a:solidFill>
                  <a:schemeClr val="bg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9E8476-D4FE-3D4F-9EC9-5DA909E29651}"/>
              </a:ext>
            </a:extLst>
          </p:cNvPr>
          <p:cNvSpPr txBox="1"/>
          <p:nvPr userDrawn="1"/>
        </p:nvSpPr>
        <p:spPr>
          <a:xfrm>
            <a:off x="6066854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lution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847B54F4-C98A-7F4F-8633-A67212D37E3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35863" y="5162439"/>
            <a:ext cx="228600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1EBCCF4-5394-C04F-AA62-05007544FC0C}"/>
              </a:ext>
            </a:extLst>
          </p:cNvPr>
          <p:cNvSpPr txBox="1"/>
          <p:nvPr userDrawn="1"/>
        </p:nvSpPr>
        <p:spPr>
          <a:xfrm>
            <a:off x="8728648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mpact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817B977B-57E9-154C-AA12-E0B3A70688D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28648" y="5162439"/>
            <a:ext cx="301752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70BBFF-3B0B-644F-878A-E178AF5B45E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01737" y="436245"/>
            <a:ext cx="2103120" cy="21031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C57D4FA-1216-4944-BBF6-C83155F9ED20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960688" y="0"/>
            <a:ext cx="9235440" cy="3292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Horizontal banner image</a:t>
            </a:r>
          </a:p>
        </p:txBody>
      </p:sp>
      <p:sp>
        <p:nvSpPr>
          <p:cNvPr id="17" name="Text Placeholder 44">
            <a:extLst>
              <a:ext uri="{FF2B5EF4-FFF2-40B4-BE49-F238E27FC236}">
                <a16:creationId xmlns:a16="http://schemas.microsoft.com/office/drawing/2014/main" id="{7EE6957E-64E7-4044-BFE8-2BF3980E5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0297" y="3596575"/>
            <a:ext cx="2286000" cy="239782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1000" b="1" i="0">
                <a:solidFill>
                  <a:schemeClr val="bg1">
                    <a:lumMod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97074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er Sto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806525-DE5C-2A73-FC52-B45FE5ED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168099" y="3649663"/>
            <a:ext cx="8023901" cy="0"/>
          </a:xfrm>
          <a:prstGeom prst="line">
            <a:avLst/>
          </a:prstGeom>
          <a:ln w="107950">
            <a:gradFill flip="none" rotWithShape="1">
              <a:gsLst>
                <a:gs pos="0">
                  <a:schemeClr val="tx1">
                    <a:lumMod val="10000"/>
                    <a:lumOff val="90000"/>
                  </a:schemeClr>
                </a:gs>
                <a:gs pos="100000">
                  <a:schemeClr val="tx1">
                    <a:lumMod val="25000"/>
                    <a:lumOff val="75000"/>
                  </a:schemeClr>
                </a:gs>
              </a:gsLst>
              <a:lin ang="3000000" scaled="0"/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B0DF3B8-CE76-F9D2-1168-C3F04360B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4559017" y="3224475"/>
            <a:ext cx="850376" cy="850376"/>
            <a:chOff x="5047758" y="912128"/>
            <a:chExt cx="763571" cy="771525"/>
          </a:xfrm>
          <a:effectLst>
            <a:outerShdw blurRad="63500" sx="102000" sy="102000" algn="ctr" rotWithShape="0">
              <a:schemeClr val="bg1">
                <a:lumMod val="75000"/>
                <a:alpha val="40000"/>
              </a:schemeClr>
            </a:outerShdw>
          </a:effectLst>
        </p:grpSpPr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9CBDCD4F-C35A-0D20-90B0-D7BCF550C5C9}"/>
                </a:ext>
              </a:extLst>
            </p:cNvPr>
            <p:cNvSpPr/>
            <p:nvPr/>
          </p:nvSpPr>
          <p:spPr>
            <a:xfrm>
              <a:off x="5047758" y="912128"/>
              <a:ext cx="763571" cy="771525"/>
            </a:xfrm>
            <a:custGeom>
              <a:avLst/>
              <a:gdLst>
                <a:gd name="connsiteX0" fmla="*/ -664 w 763571"/>
                <a:gd name="connsiteY0" fmla="*/ 385541 h 771525"/>
                <a:gd name="connsiteX1" fmla="*/ 381122 w 763571"/>
                <a:gd name="connsiteY1" fmla="*/ -222 h 771525"/>
                <a:gd name="connsiteX2" fmla="*/ 762907 w 763571"/>
                <a:gd name="connsiteY2" fmla="*/ 385541 h 771525"/>
                <a:gd name="connsiteX3" fmla="*/ 381122 w 763571"/>
                <a:gd name="connsiteY3" fmla="*/ 771303 h 771525"/>
                <a:gd name="connsiteX4" fmla="*/ -664 w 763571"/>
                <a:gd name="connsiteY4" fmla="*/ 385541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571" h="771525">
                  <a:moveTo>
                    <a:pt x="-664" y="385541"/>
                  </a:moveTo>
                  <a:cubicBezTo>
                    <a:pt x="-664" y="172485"/>
                    <a:pt x="170263" y="-222"/>
                    <a:pt x="381122" y="-222"/>
                  </a:cubicBezTo>
                  <a:cubicBezTo>
                    <a:pt x="591980" y="-222"/>
                    <a:pt x="762907" y="172485"/>
                    <a:pt x="762907" y="385541"/>
                  </a:cubicBezTo>
                  <a:cubicBezTo>
                    <a:pt x="762907" y="598596"/>
                    <a:pt x="591980" y="771303"/>
                    <a:pt x="381122" y="771303"/>
                  </a:cubicBezTo>
                  <a:cubicBezTo>
                    <a:pt x="170263" y="771303"/>
                    <a:pt x="-664" y="598596"/>
                    <a:pt x="-664" y="385541"/>
                  </a:cubicBezTo>
                  <a:close/>
                </a:path>
              </a:pathLst>
            </a:custGeom>
            <a:solidFill>
              <a:srgbClr val="FFFFFF"/>
            </a:solidFill>
            <a:ln w="942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AFD0939E-DD77-591D-EA85-50536385172A}"/>
                </a:ext>
              </a:extLst>
            </p:cNvPr>
            <p:cNvSpPr/>
            <p:nvPr/>
          </p:nvSpPr>
          <p:spPr>
            <a:xfrm>
              <a:off x="5118460" y="983566"/>
              <a:ext cx="622169" cy="628650"/>
            </a:xfrm>
            <a:custGeom>
              <a:avLst/>
              <a:gdLst>
                <a:gd name="connsiteX0" fmla="*/ -664 w 622169"/>
                <a:gd name="connsiteY0" fmla="*/ 314103 h 628650"/>
                <a:gd name="connsiteX1" fmla="*/ 310421 w 622169"/>
                <a:gd name="connsiteY1" fmla="*/ -222 h 628650"/>
                <a:gd name="connsiteX2" fmla="*/ 621505 w 622169"/>
                <a:gd name="connsiteY2" fmla="*/ 314103 h 628650"/>
                <a:gd name="connsiteX3" fmla="*/ 310421 w 622169"/>
                <a:gd name="connsiteY3" fmla="*/ 628428 h 628650"/>
                <a:gd name="connsiteX4" fmla="*/ -664 w 622169"/>
                <a:gd name="connsiteY4" fmla="*/ 314103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628650">
                  <a:moveTo>
                    <a:pt x="-664" y="314103"/>
                  </a:moveTo>
                  <a:cubicBezTo>
                    <a:pt x="-664" y="140510"/>
                    <a:pt x="138617" y="-222"/>
                    <a:pt x="310421" y="-222"/>
                  </a:cubicBezTo>
                  <a:cubicBezTo>
                    <a:pt x="482224" y="-222"/>
                    <a:pt x="621505" y="140510"/>
                    <a:pt x="621505" y="314103"/>
                  </a:cubicBezTo>
                  <a:cubicBezTo>
                    <a:pt x="621505" y="487696"/>
                    <a:pt x="482224" y="628428"/>
                    <a:pt x="310421" y="628428"/>
                  </a:cubicBezTo>
                  <a:cubicBezTo>
                    <a:pt x="138617" y="628428"/>
                    <a:pt x="-664" y="487696"/>
                    <a:pt x="-664" y="314103"/>
                  </a:cubicBezTo>
                  <a:close/>
                </a:path>
              </a:pathLst>
            </a:custGeom>
            <a:noFill/>
            <a:ln w="15875" cap="flat">
              <a:gradFill flip="none" rotWithShape="1">
                <a:gsLst>
                  <a:gs pos="0">
                    <a:srgbClr val="49C5B1"/>
                  </a:gs>
                  <a:gs pos="100000">
                    <a:schemeClr val="tx2"/>
                  </a:gs>
                </a:gsLst>
                <a:path path="circle">
                  <a:fillToRect l="100000" t="100000"/>
                </a:path>
                <a:tileRect r="-100000" b="-100000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2C85C5B-AB16-B643-4172-7EC4E8603604}"/>
              </a:ext>
            </a:extLst>
          </p:cNvPr>
          <p:cNvSpPr/>
          <p:nvPr userDrawn="1"/>
        </p:nvSpPr>
        <p:spPr>
          <a:xfrm>
            <a:off x="0" y="0"/>
            <a:ext cx="4168099" cy="6858000"/>
          </a:xfrm>
          <a:custGeom>
            <a:avLst/>
            <a:gdLst>
              <a:gd name="connsiteX0" fmla="*/ 0 w 1641815"/>
              <a:gd name="connsiteY0" fmla="*/ 0 h 1641815"/>
              <a:gd name="connsiteX1" fmla="*/ 1641816 w 1641815"/>
              <a:gd name="connsiteY1" fmla="*/ 0 h 1641815"/>
              <a:gd name="connsiteX2" fmla="*/ 1641816 w 1641815"/>
              <a:gd name="connsiteY2" fmla="*/ 1641816 h 1641815"/>
              <a:gd name="connsiteX3" fmla="*/ 0 w 1641815"/>
              <a:gd name="connsiteY3" fmla="*/ 1641816 h 1641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1815" h="1641815">
                <a:moveTo>
                  <a:pt x="0" y="0"/>
                </a:moveTo>
                <a:lnTo>
                  <a:pt x="1641816" y="0"/>
                </a:lnTo>
                <a:lnTo>
                  <a:pt x="1641816" y="1641816"/>
                </a:lnTo>
                <a:lnTo>
                  <a:pt x="0" y="1641816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5000"/>
                  <a:lumOff val="95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  <a:tileRect/>
          </a:gradFill>
          <a:ln w="3416" cap="flat">
            <a:noFill/>
            <a:prstDash val="solid"/>
            <a:miter/>
          </a:ln>
          <a:effectLst>
            <a:outerShdw blurRad="152400" dist="38100" algn="l" rotWithShape="0">
              <a:schemeClr val="bg1">
                <a:lumMod val="75000"/>
                <a:alpha val="62000"/>
              </a:schemeClr>
            </a:outerShdw>
          </a:effectLst>
        </p:spPr>
        <p:txBody>
          <a:bodyPr rtlCol="0" anchor="ctr"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C2B701-E635-EC9B-8CEA-C3400000BA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832"/>
          <a:stretch/>
        </p:blipFill>
        <p:spPr>
          <a:xfrm>
            <a:off x="4411980" y="6010508"/>
            <a:ext cx="7213883" cy="32268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82670F0-0464-EE0B-C775-4FBF45B2C44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7675" y="2197101"/>
            <a:ext cx="3329508" cy="886397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FC94FA6-63EB-11E4-37AD-82E3649A944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4168100" y="-4"/>
            <a:ext cx="8023901" cy="2925072"/>
          </a:xfrm>
        </p:spPr>
        <p:txBody>
          <a:bodyPr>
            <a:noAutofit/>
          </a:bodyPr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F0CA992-FB73-6E07-B004-739348FE828A}"/>
              </a:ext>
            </a:extLst>
          </p:cNvPr>
          <p:cNvGrpSpPr/>
          <p:nvPr userDrawn="1"/>
        </p:nvGrpSpPr>
        <p:grpSpPr>
          <a:xfrm>
            <a:off x="0" y="1285959"/>
            <a:ext cx="3300317" cy="152167"/>
            <a:chOff x="0" y="1285959"/>
            <a:chExt cx="3300317" cy="152167"/>
          </a:xfrm>
          <a:effectLst>
            <a:outerShdw blurRad="50800" dist="254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4D68D92-5763-52FB-A3A7-5270C27AB546}"/>
                </a:ext>
              </a:extLst>
            </p:cNvPr>
            <p:cNvGrpSpPr/>
            <p:nvPr userDrawn="1"/>
          </p:nvGrpSpPr>
          <p:grpSpPr>
            <a:xfrm>
              <a:off x="2696191" y="1285959"/>
              <a:ext cx="604126" cy="152167"/>
              <a:chOff x="3049826" y="4046193"/>
              <a:chExt cx="604126" cy="152167"/>
            </a:xfrm>
            <a:effectLst>
              <a:outerShdw blurRad="25400" dist="25400" dir="5400000" algn="t" rotWithShape="0">
                <a:schemeClr val="bg1">
                  <a:lumMod val="50000"/>
                  <a:alpha val="30000"/>
                </a:schemeClr>
              </a:outerShdw>
            </a:effectLst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09E4DF60-CD3E-F5C7-2843-D8963FD99175}"/>
                  </a:ext>
                </a:extLst>
              </p:cNvPr>
              <p:cNvSpPr/>
              <p:nvPr/>
            </p:nvSpPr>
            <p:spPr bwMode="auto">
              <a:xfrm>
                <a:off x="3049826" y="4046193"/>
                <a:ext cx="152167" cy="152167"/>
              </a:xfrm>
              <a:prstGeom prst="ellipse">
                <a:avLst/>
              </a:prstGeom>
              <a:solidFill>
                <a:schemeClr val="tx2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A010AE7-E660-7D90-7181-8E4E5E5C3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805" y="4046193"/>
                <a:ext cx="152167" cy="152167"/>
              </a:xfrm>
              <a:prstGeom prst="ellipse">
                <a:avLst/>
              </a:prstGeom>
              <a:solidFill>
                <a:srgbClr val="49C5B1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9C1F5B9B-FABF-8C65-F276-6E4F3B4AFD8F}"/>
                  </a:ext>
                </a:extLst>
              </p:cNvPr>
              <p:cNvSpPr/>
              <p:nvPr/>
            </p:nvSpPr>
            <p:spPr bwMode="auto">
              <a:xfrm>
                <a:off x="3501785" y="4046193"/>
                <a:ext cx="152167" cy="152167"/>
              </a:xfrm>
              <a:prstGeom prst="ellipse">
                <a:avLst/>
              </a:prstGeom>
              <a:solidFill>
                <a:srgbClr val="8DC8E8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A26C962-2C8D-97B9-DB60-C84F0E37AEF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2566"/>
              <a:ext cx="2703004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  <a:headEnd type="none" w="lg" len="med"/>
              <a:tailEnd type="none" w="lg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8698836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lid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6B594A7-54B4-B108-65D5-C4E58AD69A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3687" y="0"/>
            <a:ext cx="11509459" cy="6561438"/>
            <a:chOff x="293687" y="0"/>
            <a:chExt cx="11509459" cy="6561438"/>
          </a:xfrm>
        </p:grpSpPr>
        <p:sp>
          <p:nvSpPr>
            <p:cNvPr id="3" name="Rectangle: Top Corners Rounded 5">
              <a:extLst>
                <a:ext uri="{FF2B5EF4-FFF2-40B4-BE49-F238E27FC236}">
                  <a16:creationId xmlns:a16="http://schemas.microsoft.com/office/drawing/2014/main" id="{25176C7D-8DA6-C9F3-6B85-61090A915A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293687" y="0"/>
              <a:ext cx="4062413" cy="6561438"/>
            </a:xfrm>
            <a:prstGeom prst="round2SameRect">
              <a:avLst>
                <a:gd name="adj1" fmla="val 0"/>
                <a:gd name="adj2" fmla="val 4714"/>
              </a:avLst>
            </a:prstGeom>
            <a:gradFill flip="none" rotWithShape="1">
              <a:gsLst>
                <a:gs pos="32000">
                  <a:schemeClr val="bg2"/>
                </a:gs>
                <a:gs pos="100000">
                  <a:schemeClr val="bg2">
                    <a:lumMod val="95000"/>
                  </a:schemeClr>
                </a:gs>
              </a:gsLst>
              <a:lin ang="135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chemeClr val="bg1">
                  <a:lumMod val="50000"/>
                </a:schemeClr>
              </a:outerShdw>
            </a:effectLst>
          </p:spPr>
          <p:txBody>
            <a:bodyPr rot="0" spcFirstLastPara="0" vertOverflow="overflow" horzOverflow="overflow" vert="horz" wrap="square" lIns="0" tIns="457200" rIns="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 kern="0">
                <a:solidFill>
                  <a:srgbClr val="000000"/>
                </a:solidFill>
                <a:latin typeface="Segoe Sans Small" pitchFamily="2" charset="0"/>
                <a:cs typeface="Segoe Sans Small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8E33276-5D08-D85D-B656-615C0089F5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293687" y="1345023"/>
              <a:ext cx="3300317" cy="152167"/>
              <a:chOff x="353635" y="4046193"/>
              <a:chExt cx="3300317" cy="15216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91B839CF-4C95-EAB5-7D2B-CA763278A1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53635" y="4122276"/>
                <a:ext cx="2703004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A672B4-4B84-04AC-3617-D1EB1361C7D1}"/>
                  </a:ext>
                </a:extLst>
              </p:cNvPr>
              <p:cNvGrpSpPr/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55B39D24-0E3C-B8FD-A29D-53F46298B5B8}"/>
                    </a:ext>
                  </a:extLst>
                </p:cNvPr>
                <p:cNvSpPr/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09D23AAD-188D-515A-B7B8-750FBAE0E9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16F2EE8A-B9E9-ED2C-F118-EAEF32C968F1}"/>
                    </a:ext>
                  </a:extLst>
                </p:cNvPr>
                <p:cNvSpPr/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8EC8E9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402716-7F38-D62A-A81B-4445CE2849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1077800" y="5191231"/>
              <a:ext cx="415932" cy="1403132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rgbClr val="FFFFFF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IN" sz="2000" b="0" i="0" u="none" strike="noStrike" kern="0" cap="none" spc="0" normalizeH="0" baseline="0">
                <a:ln>
                  <a:noFill/>
                </a:ln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/>
                <a:uLnTx/>
                <a:uFillTx/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4" name="Graphic 16" descr="Icon of a forward pointing arrow">
              <a:extLst>
                <a:ext uri="{FF2B5EF4-FFF2-40B4-BE49-F238E27FC236}">
                  <a16:creationId xmlns:a16="http://schemas.microsoft.com/office/drawing/2014/main" id="{24E7F838-E391-99C2-390B-D1F732B80C6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647320" y="5768797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AA060FE-9B36-952A-4121-A942A1CD5D43}"/>
                </a:ext>
              </a:extLst>
            </p:cNvPr>
            <p:cNvPicPr>
              <a:picLocks/>
            </p:cNvPicPr>
            <p:nvPr userDrawn="1"/>
          </p:nvPicPr>
          <p:blipFill>
            <a:blip r:embed="rId2">
              <a:alphaModFix amt="4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89263" y="6397455"/>
              <a:ext cx="7213883" cy="163983"/>
            </a:xfrm>
            <a:prstGeom prst="rect">
              <a:avLst/>
            </a:prstGeom>
          </p:spPr>
        </p:pic>
      </p:grpSp>
      <p:sp>
        <p:nvSpPr>
          <p:cNvPr id="26" name="Title 25">
            <a:extLst>
              <a:ext uri="{FF2B5EF4-FFF2-40B4-BE49-F238E27FC236}">
                <a16:creationId xmlns:a16="http://schemas.microsoft.com/office/drawing/2014/main" id="{8D242A61-7B69-4E76-E485-2576E9D1B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2616200"/>
            <a:ext cx="3198813" cy="166199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DE69DB48-AF41-DFE2-4441-A11FEB38D4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100" y="484481"/>
            <a:ext cx="2412856" cy="516759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latin typeface="+mj-lt"/>
              </a:defRPr>
            </a:lvl1pPr>
          </a:lstStyle>
          <a:p>
            <a:r>
              <a:rPr lang="en-IN"/>
              <a:t>Logo</a:t>
            </a:r>
            <a:endParaRPr lang="en-US"/>
          </a:p>
        </p:txBody>
      </p:sp>
      <p:sp>
        <p:nvSpPr>
          <p:cNvPr id="15" name="Picture Placeholder 23">
            <a:extLst>
              <a:ext uri="{FF2B5EF4-FFF2-40B4-BE49-F238E27FC236}">
                <a16:creationId xmlns:a16="http://schemas.microsoft.com/office/drawing/2014/main" id="{D2CFEC5A-20EB-6417-B196-43563C0483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56100" y="3"/>
            <a:ext cx="7835900" cy="3270427"/>
          </a:xfrm>
          <a:custGeom>
            <a:avLst/>
            <a:gdLst>
              <a:gd name="connsiteX0" fmla="*/ 0 w 7835900"/>
              <a:gd name="connsiteY0" fmla="*/ 0 h 3270427"/>
              <a:gd name="connsiteX1" fmla="*/ 7835900 w 7835900"/>
              <a:gd name="connsiteY1" fmla="*/ 0 h 3270427"/>
              <a:gd name="connsiteX2" fmla="*/ 7835900 w 7835900"/>
              <a:gd name="connsiteY2" fmla="*/ 3270427 h 3270427"/>
              <a:gd name="connsiteX3" fmla="*/ 1030310 w 7835900"/>
              <a:gd name="connsiteY3" fmla="*/ 3270427 h 3270427"/>
              <a:gd name="connsiteX4" fmla="*/ 1023844 w 7835900"/>
              <a:gd name="connsiteY4" fmla="*/ 3206279 h 3270427"/>
              <a:gd name="connsiteX5" fmla="*/ 661988 w 7835900"/>
              <a:gd name="connsiteY5" fmla="*/ 2911358 h 3270427"/>
              <a:gd name="connsiteX6" fmla="*/ 300133 w 7835900"/>
              <a:gd name="connsiteY6" fmla="*/ 3206279 h 3270427"/>
              <a:gd name="connsiteX7" fmla="*/ 293667 w 7835900"/>
              <a:gd name="connsiteY7" fmla="*/ 3270427 h 3270427"/>
              <a:gd name="connsiteX8" fmla="*/ 0 w 7835900"/>
              <a:gd name="connsiteY8" fmla="*/ 3270427 h 3270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35900" h="3270427">
                <a:moveTo>
                  <a:pt x="0" y="0"/>
                </a:moveTo>
                <a:lnTo>
                  <a:pt x="7835900" y="0"/>
                </a:lnTo>
                <a:lnTo>
                  <a:pt x="7835900" y="3270427"/>
                </a:lnTo>
                <a:lnTo>
                  <a:pt x="1030310" y="3270427"/>
                </a:lnTo>
                <a:lnTo>
                  <a:pt x="1023844" y="3206279"/>
                </a:lnTo>
                <a:cubicBezTo>
                  <a:pt x="989402" y="3037968"/>
                  <a:pt x="840481" y="2911358"/>
                  <a:pt x="661988" y="2911358"/>
                </a:cubicBezTo>
                <a:cubicBezTo>
                  <a:pt x="483496" y="2911358"/>
                  <a:pt x="334575" y="3037968"/>
                  <a:pt x="300133" y="3206279"/>
                </a:cubicBezTo>
                <a:lnTo>
                  <a:pt x="293667" y="3270427"/>
                </a:lnTo>
                <a:lnTo>
                  <a:pt x="0" y="327042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7C2CC3-245B-72E5-8C33-8C99B215C9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6100" y="3280719"/>
            <a:ext cx="7835900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rgbClr val="57B9C5"/>
                </a:gs>
              </a:gsLst>
              <a:lin ang="0" scaled="1"/>
              <a:tileRect/>
            </a:gradFill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34_1">
            <a:extLst>
              <a:ext uri="{FF2B5EF4-FFF2-40B4-BE49-F238E27FC236}">
                <a16:creationId xmlns:a16="http://schemas.microsoft.com/office/drawing/2014/main" id="{E9FFC9D0-DE1E-FF9C-71B9-72E0690231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4648729" y="2911360"/>
            <a:ext cx="738718" cy="738718"/>
          </a:xfrm>
          <a:prstGeom prst="ellipse">
            <a:avLst/>
          </a:prstGeom>
          <a:solidFill>
            <a:schemeClr val="bg2"/>
          </a:solidFill>
          <a:ln w="25400" cap="flat">
            <a:noFill/>
            <a:prstDash val="solid"/>
            <a:miter/>
          </a:ln>
          <a:effectLst>
            <a:outerShdw blurRad="190500" dist="114300" dir="5400000" sx="96000" sy="96000" algn="t" rotWithShape="0">
              <a:schemeClr val="bg1">
                <a:lumMod val="65000"/>
                <a:alpha val="48000"/>
              </a:scheme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9486E329-5EE9-C422-9BDA-4BD2C7534E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8729" y="4099782"/>
            <a:ext cx="6959073" cy="1615827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 i="1">
                <a:solidFill>
                  <a:schemeClr val="tx1"/>
                </a:solidFill>
              </a:defRPr>
            </a:lvl1pPr>
            <a:lvl2pPr marL="228600" indent="0" algn="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  <a:p>
            <a:pPr lvl="1"/>
            <a:r>
              <a:rPr lang="en-US"/>
              <a:t>— 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94B11F76-CB40-F446-693F-95D5DA15E4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4347" y="5800464"/>
            <a:ext cx="880049" cy="18466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 u="sng">
                <a:solidFill>
                  <a:srgbClr val="1C628B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Read more</a:t>
            </a:r>
          </a:p>
        </p:txBody>
      </p:sp>
    </p:spTree>
    <p:extLst>
      <p:ext uri="{BB962C8B-B14F-4D97-AF65-F5344CB8AC3E}">
        <p14:creationId xmlns:p14="http://schemas.microsoft.com/office/powerpoint/2010/main" val="2334770919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er Sto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hlinkClick r:id="rId2"/>
            <a:extLst>
              <a:ext uri="{FF2B5EF4-FFF2-40B4-BE49-F238E27FC236}">
                <a16:creationId xmlns:a16="http://schemas.microsoft.com/office/drawing/2014/main" id="{500FAD07-86F3-4E70-06CB-30C65B1236A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 userDrawn="1"/>
        </p:nvSpPr>
        <p:spPr bwMode="auto">
          <a:xfrm>
            <a:off x="4356100" y="3740"/>
            <a:ext cx="7835900" cy="2643381"/>
          </a:xfrm>
          <a:prstGeom prst="rect">
            <a:avLst/>
          </a:prstGeom>
          <a:gradFill flip="none" rotWithShape="1">
            <a:gsLst>
              <a:gs pos="54000">
                <a:srgbClr val="EDF0F6">
                  <a:alpha val="28000"/>
                </a:srgbClr>
              </a:gs>
              <a:gs pos="100000">
                <a:schemeClr val="bg1"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22225">
            <a:gradFill flip="none" rotWithShape="1">
              <a:gsLst>
                <a:gs pos="0">
                  <a:schemeClr val="bg1">
                    <a:alpha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3800000" scaled="0"/>
              <a:tileRect/>
            </a:gradFill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31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tx1"/>
              </a:solidFill>
              <a:latin typeface="Segoe Sans Text Semibold" pitchFamily="2" charset="0"/>
              <a:cs typeface="Segoe Sans Text Semibold" pitchFamily="2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D52FB54-DF86-26DE-3395-4FA0923C97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6100" y="3280719"/>
            <a:ext cx="7835900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rgbClr val="57B9C5"/>
                </a:gs>
              </a:gsLst>
              <a:lin ang="0" scaled="1"/>
              <a:tileRect/>
            </a:gradFill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4_1">
            <a:extLst>
              <a:ext uri="{FF2B5EF4-FFF2-40B4-BE49-F238E27FC236}">
                <a16:creationId xmlns:a16="http://schemas.microsoft.com/office/drawing/2014/main" id="{3C3D9862-8FFF-CA67-363C-CF5AA9142B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4648729" y="2911360"/>
            <a:ext cx="738718" cy="738718"/>
          </a:xfrm>
          <a:prstGeom prst="ellipse">
            <a:avLst/>
          </a:prstGeom>
          <a:solidFill>
            <a:schemeClr val="bg1"/>
          </a:solidFill>
          <a:ln w="25400" cap="flat">
            <a:noFill/>
            <a:prstDash val="solid"/>
            <a:miter/>
          </a:ln>
          <a:effectLst>
            <a:outerShdw blurRad="190500" dist="114300" dir="5400000" sx="96000" sy="96000" algn="t" rotWithShape="0">
              <a:schemeClr val="bg1">
                <a:lumMod val="65000"/>
                <a:alpha val="48000"/>
              </a:scheme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7485420-5CAD-13F1-47B2-0C994487C6C4}"/>
              </a:ext>
            </a:extLst>
          </p:cNvPr>
          <p:cNvSpPr/>
          <p:nvPr userDrawn="1"/>
        </p:nvSpPr>
        <p:spPr>
          <a:xfrm>
            <a:off x="293687" y="0"/>
            <a:ext cx="4062413" cy="6561438"/>
          </a:xfrm>
          <a:prstGeom prst="round2SameRect">
            <a:avLst>
              <a:gd name="adj1" fmla="val 0"/>
              <a:gd name="adj2" fmla="val 4714"/>
            </a:avLst>
          </a:pr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49000"/>
              </a:srgbClr>
            </a:outerShdw>
          </a:effectLst>
        </p:spPr>
        <p:txBody>
          <a:bodyPr rot="0" spcFirstLastPara="0" vertOverflow="overflow" horzOverflow="overflow" vert="horz" wrap="square" lIns="0" tIns="4572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kern="0">
              <a:solidFill>
                <a:srgbClr val="000000"/>
              </a:solidFill>
              <a:latin typeface="Segoe Sans Small" pitchFamily="2" charset="0"/>
              <a:cs typeface="Segoe Sans Small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1BD506-6345-AEE6-1FBD-AA769E3A2B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832"/>
          <a:stretch/>
        </p:blipFill>
        <p:spPr>
          <a:xfrm>
            <a:off x="4411980" y="6053393"/>
            <a:ext cx="7213883" cy="322688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7C0AA97-E3A4-47CA-D834-12FF6EB578B0}"/>
              </a:ext>
            </a:extLst>
          </p:cNvPr>
          <p:cNvGrpSpPr/>
          <p:nvPr userDrawn="1"/>
        </p:nvGrpSpPr>
        <p:grpSpPr>
          <a:xfrm>
            <a:off x="293687" y="1345023"/>
            <a:ext cx="3300317" cy="152167"/>
            <a:chOff x="353635" y="4046193"/>
            <a:chExt cx="3300317" cy="152167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C77A246-9A05-B2BB-A944-D8C96D62162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3635" y="4122276"/>
              <a:ext cx="2703004" cy="0"/>
            </a:xfrm>
            <a:prstGeom prst="line">
              <a:avLst/>
            </a:prstGeom>
            <a:noFill/>
            <a:ln w="22225" cap="flat" cmpd="sng" algn="ctr">
              <a:solidFill>
                <a:schemeClr val="bg1"/>
              </a:solidFill>
              <a:prstDash val="solid"/>
              <a:headEnd type="none" w="lg" len="med"/>
              <a:tailEnd type="none" w="lg" len="med"/>
            </a:ln>
            <a:effectLst>
              <a:outerShdw blurRad="25400" dist="25400" dir="5400000" algn="t" rotWithShape="0">
                <a:schemeClr val="bg1">
                  <a:lumMod val="50000"/>
                  <a:alpha val="30000"/>
                </a:schemeClr>
              </a:outerShdw>
            </a:effectLst>
          </p:spPr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999A071-8C7B-8C4B-453C-F5BE4623B880}"/>
                </a:ext>
              </a:extLst>
            </p:cNvPr>
            <p:cNvGrpSpPr/>
            <p:nvPr userDrawn="1"/>
          </p:nvGrpSpPr>
          <p:grpSpPr>
            <a:xfrm>
              <a:off x="3049826" y="4046193"/>
              <a:ext cx="604126" cy="152167"/>
              <a:chOff x="3049826" y="4046193"/>
              <a:chExt cx="604126" cy="152167"/>
            </a:xfrm>
            <a:effectLst>
              <a:outerShdw blurRad="25400" dist="25400" dir="5400000" algn="t" rotWithShape="0">
                <a:schemeClr val="bg1">
                  <a:lumMod val="50000"/>
                  <a:alpha val="30000"/>
                </a:schemeClr>
              </a:outerShdw>
            </a:effectLst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03020CCD-4FC2-30FE-85FC-13E1B0B8FD0D}"/>
                  </a:ext>
                </a:extLst>
              </p:cNvPr>
              <p:cNvSpPr/>
              <p:nvPr/>
            </p:nvSpPr>
            <p:spPr bwMode="auto">
              <a:xfrm>
                <a:off x="3049826" y="4046193"/>
                <a:ext cx="152167" cy="152167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E7B6DD8-2BFB-0F07-BC30-53F635133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805" y="4046193"/>
                <a:ext cx="152167" cy="152167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303A6BF6-9A9B-256B-AE98-1FC38DD4FFFD}"/>
                  </a:ext>
                </a:extLst>
              </p:cNvPr>
              <p:cNvSpPr/>
              <p:nvPr/>
            </p:nvSpPr>
            <p:spPr bwMode="auto">
              <a:xfrm>
                <a:off x="3501785" y="4046193"/>
                <a:ext cx="152167" cy="152167"/>
              </a:xfrm>
              <a:prstGeom prst="ellipse">
                <a:avLst/>
              </a:prstGeom>
              <a:solidFill>
                <a:srgbClr val="8EC8E9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582670F0-0464-EE0B-C775-4FBF45B2C44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197101"/>
            <a:ext cx="3329508" cy="984885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FC94FA6-63EB-11E4-37AD-82E3649A944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4356100" y="3740"/>
            <a:ext cx="7835900" cy="2643381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903284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losing slide with picture">
    <p:bg>
      <p:bgPr>
        <a:solidFill>
          <a:srgbClr val="F4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C741F4E-1804-4F41-0474-970A7B079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" y="5084956"/>
            <a:ext cx="7478457" cy="1119106"/>
          </a:xfrm>
          <a:custGeom>
            <a:avLst/>
            <a:gdLst>
              <a:gd name="connsiteX0" fmla="*/ 0 w 7478457"/>
              <a:gd name="connsiteY0" fmla="*/ 0 h 1119106"/>
              <a:gd name="connsiteX1" fmla="*/ 6506683 w 7478457"/>
              <a:gd name="connsiteY1" fmla="*/ 0 h 1119106"/>
              <a:gd name="connsiteX2" fmla="*/ 6578364 w 7478457"/>
              <a:gd name="connsiteY2" fmla="*/ 95986 h 1119106"/>
              <a:gd name="connsiteX3" fmla="*/ 7383338 w 7478457"/>
              <a:gd name="connsiteY3" fmla="*/ 771963 h 1119106"/>
              <a:gd name="connsiteX4" fmla="*/ 7478457 w 7478457"/>
              <a:gd name="connsiteY4" fmla="*/ 934001 h 1119106"/>
              <a:gd name="connsiteX5" fmla="*/ 7295634 w 7478457"/>
              <a:gd name="connsiteY5" fmla="*/ 1119106 h 1119106"/>
              <a:gd name="connsiteX6" fmla="*/ 0 w 7478457"/>
              <a:gd name="connsiteY6" fmla="*/ 1119106 h 1119106"/>
              <a:gd name="connsiteX7" fmla="*/ 0 w 7478457"/>
              <a:gd name="connsiteY7" fmla="*/ 0 h 111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78457" h="1119106">
                <a:moveTo>
                  <a:pt x="0" y="0"/>
                </a:moveTo>
                <a:lnTo>
                  <a:pt x="6506683" y="0"/>
                </a:lnTo>
                <a:lnTo>
                  <a:pt x="6578364" y="95986"/>
                </a:lnTo>
                <a:cubicBezTo>
                  <a:pt x="6798839" y="371791"/>
                  <a:pt x="7072388" y="602408"/>
                  <a:pt x="7383338" y="771963"/>
                </a:cubicBezTo>
                <a:cubicBezTo>
                  <a:pt x="7441956" y="803902"/>
                  <a:pt x="7478457" y="866258"/>
                  <a:pt x="7478457" y="934001"/>
                </a:cubicBezTo>
                <a:cubicBezTo>
                  <a:pt x="7478457" y="1036408"/>
                  <a:pt x="7396393" y="1118916"/>
                  <a:pt x="7295634" y="1119106"/>
                </a:cubicBezTo>
                <a:lnTo>
                  <a:pt x="0" y="111910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84000"/>
              </a:srgb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00" kern="0" noProof="0">
              <a:gradFill flip="none" rotWithShape="1">
                <a:gsLst>
                  <a:gs pos="18000">
                    <a:schemeClr val="tx1">
                      <a:lumMod val="50000"/>
                      <a:lumOff val="50000"/>
                    </a:schemeClr>
                  </a:gs>
                  <a:gs pos="67000">
                    <a:schemeClr val="tx1">
                      <a:lumMod val="90000"/>
                      <a:lumOff val="1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A103FBF-1DDB-A8C3-2052-B35335183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9800540" y="5084956"/>
            <a:ext cx="2391460" cy="1119106"/>
          </a:xfrm>
          <a:custGeom>
            <a:avLst/>
            <a:gdLst>
              <a:gd name="connsiteX0" fmla="*/ 971821 w 2391460"/>
              <a:gd name="connsiteY0" fmla="*/ 0 h 1119106"/>
              <a:gd name="connsiteX1" fmla="*/ 2391460 w 2391460"/>
              <a:gd name="connsiteY1" fmla="*/ 0 h 1119106"/>
              <a:gd name="connsiteX2" fmla="*/ 2391460 w 2391460"/>
              <a:gd name="connsiteY2" fmla="*/ 1119106 h 1119106"/>
              <a:gd name="connsiteX3" fmla="*/ 182824 w 2391460"/>
              <a:gd name="connsiteY3" fmla="*/ 1119106 h 1119106"/>
              <a:gd name="connsiteX4" fmla="*/ 0 w 2391460"/>
              <a:gd name="connsiteY4" fmla="*/ 934001 h 1119106"/>
              <a:gd name="connsiteX5" fmla="*/ 95118 w 2391460"/>
              <a:gd name="connsiteY5" fmla="*/ 771963 h 1119106"/>
              <a:gd name="connsiteX6" fmla="*/ 900138 w 2391460"/>
              <a:gd name="connsiteY6" fmla="*/ 95986 h 1119106"/>
              <a:gd name="connsiteX7" fmla="*/ 971821 w 2391460"/>
              <a:gd name="connsiteY7" fmla="*/ 0 h 111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1460" h="1119106">
                <a:moveTo>
                  <a:pt x="971821" y="0"/>
                </a:moveTo>
                <a:lnTo>
                  <a:pt x="2391460" y="0"/>
                </a:lnTo>
                <a:lnTo>
                  <a:pt x="2391460" y="1119106"/>
                </a:lnTo>
                <a:lnTo>
                  <a:pt x="182824" y="1119106"/>
                </a:lnTo>
                <a:cubicBezTo>
                  <a:pt x="82066" y="1118916"/>
                  <a:pt x="0" y="1036408"/>
                  <a:pt x="0" y="934001"/>
                </a:cubicBezTo>
                <a:cubicBezTo>
                  <a:pt x="0" y="866258"/>
                  <a:pt x="36500" y="803902"/>
                  <a:pt x="95118" y="771963"/>
                </a:cubicBezTo>
                <a:cubicBezTo>
                  <a:pt x="406093" y="602408"/>
                  <a:pt x="679657" y="371791"/>
                  <a:pt x="900138" y="95986"/>
                </a:cubicBezTo>
                <a:lnTo>
                  <a:pt x="971821" y="0"/>
                </a:ln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84000"/>
              </a:srgb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00" kern="0" noProof="0">
              <a:gradFill flip="none" rotWithShape="1">
                <a:gsLst>
                  <a:gs pos="18000">
                    <a:schemeClr val="tx1">
                      <a:lumMod val="50000"/>
                      <a:lumOff val="50000"/>
                    </a:schemeClr>
                  </a:gs>
                  <a:gs pos="67000">
                    <a:schemeClr val="tx1">
                      <a:lumMod val="90000"/>
                      <a:lumOff val="1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F7C7CF5-48FA-7FD0-84C0-BA8FF0A5CB2F}"/>
              </a:ext>
            </a:extLst>
          </p:cNvPr>
          <p:cNvSpPr/>
          <p:nvPr/>
        </p:nvSpPr>
        <p:spPr>
          <a:xfrm>
            <a:off x="0" y="820934"/>
            <a:ext cx="12192000" cy="5427487"/>
          </a:xfrm>
          <a:custGeom>
            <a:avLst/>
            <a:gdLst>
              <a:gd name="connsiteX0" fmla="*/ 8639530 w 12192000"/>
              <a:gd name="connsiteY0" fmla="*/ 0 h 5427487"/>
              <a:gd name="connsiteX1" fmla="*/ 11288160 w 12192000"/>
              <a:gd name="connsiteY1" fmla="*/ 2677908 h 5427487"/>
              <a:gd name="connsiteX2" fmla="*/ 9895658 w 12192000"/>
              <a:gd name="connsiteY2" fmla="*/ 5035985 h 5427487"/>
              <a:gd name="connsiteX3" fmla="*/ 9800540 w 12192000"/>
              <a:gd name="connsiteY3" fmla="*/ 5198023 h 5427487"/>
              <a:gd name="connsiteX4" fmla="*/ 9983364 w 12192000"/>
              <a:gd name="connsiteY4" fmla="*/ 5383128 h 5427487"/>
              <a:gd name="connsiteX5" fmla="*/ 12192000 w 12192000"/>
              <a:gd name="connsiteY5" fmla="*/ 5383128 h 5427487"/>
              <a:gd name="connsiteX6" fmla="*/ 12192000 w 12192000"/>
              <a:gd name="connsiteY6" fmla="*/ 5427487 h 5427487"/>
              <a:gd name="connsiteX7" fmla="*/ 9983490 w 12192000"/>
              <a:gd name="connsiteY7" fmla="*/ 5427487 h 5427487"/>
              <a:gd name="connsiteX8" fmla="*/ 9756308 w 12192000"/>
              <a:gd name="connsiteY8" fmla="*/ 5198023 h 5427487"/>
              <a:gd name="connsiteX9" fmla="*/ 9874558 w 12192000"/>
              <a:gd name="connsiteY9" fmla="*/ 4997076 h 5427487"/>
              <a:gd name="connsiteX10" fmla="*/ 11243928 w 12192000"/>
              <a:gd name="connsiteY10" fmla="*/ 2677908 h 5427487"/>
              <a:gd name="connsiteX11" fmla="*/ 8639656 w 12192000"/>
              <a:gd name="connsiteY11" fmla="*/ 44359 h 5427487"/>
              <a:gd name="connsiteX12" fmla="*/ 6035322 w 12192000"/>
              <a:gd name="connsiteY12" fmla="*/ 2677908 h 5427487"/>
              <a:gd name="connsiteX13" fmla="*/ 7404695 w 12192000"/>
              <a:gd name="connsiteY13" fmla="*/ 4997076 h 5427487"/>
              <a:gd name="connsiteX14" fmla="*/ 7522944 w 12192000"/>
              <a:gd name="connsiteY14" fmla="*/ 5198023 h 5427487"/>
              <a:gd name="connsiteX15" fmla="*/ 7295761 w 12192000"/>
              <a:gd name="connsiteY15" fmla="*/ 5427487 h 5427487"/>
              <a:gd name="connsiteX16" fmla="*/ 2974277 w 12192000"/>
              <a:gd name="connsiteY16" fmla="*/ 5427487 h 5427487"/>
              <a:gd name="connsiteX17" fmla="*/ 427545 w 12192000"/>
              <a:gd name="connsiteY17" fmla="*/ 5427487 h 5427487"/>
              <a:gd name="connsiteX18" fmla="*/ 0 w 12192000"/>
              <a:gd name="connsiteY18" fmla="*/ 5427487 h 5427487"/>
              <a:gd name="connsiteX19" fmla="*/ 0 w 12192000"/>
              <a:gd name="connsiteY19" fmla="*/ 5383128 h 5427487"/>
              <a:gd name="connsiteX20" fmla="*/ 7295634 w 12192000"/>
              <a:gd name="connsiteY20" fmla="*/ 5383128 h 5427487"/>
              <a:gd name="connsiteX21" fmla="*/ 7478457 w 12192000"/>
              <a:gd name="connsiteY21" fmla="*/ 5198023 h 5427487"/>
              <a:gd name="connsiteX22" fmla="*/ 7383338 w 12192000"/>
              <a:gd name="connsiteY22" fmla="*/ 5035985 h 5427487"/>
              <a:gd name="connsiteX23" fmla="*/ 5990836 w 12192000"/>
              <a:gd name="connsiteY23" fmla="*/ 2677908 h 5427487"/>
              <a:gd name="connsiteX24" fmla="*/ 8639530 w 12192000"/>
              <a:gd name="connsiteY24" fmla="*/ 0 h 5427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192000" h="5427487">
                <a:moveTo>
                  <a:pt x="8639530" y="0"/>
                </a:moveTo>
                <a:cubicBezTo>
                  <a:pt x="10102754" y="0"/>
                  <a:pt x="11285562" y="1199412"/>
                  <a:pt x="11288160" y="2677908"/>
                </a:cubicBezTo>
                <a:cubicBezTo>
                  <a:pt x="11288160" y="3697475"/>
                  <a:pt x="10724924" y="4583837"/>
                  <a:pt x="9895658" y="5035985"/>
                </a:cubicBezTo>
                <a:cubicBezTo>
                  <a:pt x="9837040" y="5067924"/>
                  <a:pt x="9800540" y="5130280"/>
                  <a:pt x="9800540" y="5198023"/>
                </a:cubicBezTo>
                <a:cubicBezTo>
                  <a:pt x="9800540" y="5300430"/>
                  <a:pt x="9882606" y="5382938"/>
                  <a:pt x="9983364" y="5383128"/>
                </a:cubicBezTo>
                <a:lnTo>
                  <a:pt x="12192000" y="5383128"/>
                </a:lnTo>
                <a:lnTo>
                  <a:pt x="12192000" y="5427487"/>
                </a:lnTo>
                <a:lnTo>
                  <a:pt x="9983490" y="5427487"/>
                </a:lnTo>
                <a:cubicBezTo>
                  <a:pt x="9857826" y="5427487"/>
                  <a:pt x="9756560" y="5324574"/>
                  <a:pt x="9756308" y="5198023"/>
                </a:cubicBezTo>
                <a:cubicBezTo>
                  <a:pt x="9756308" y="5114374"/>
                  <a:pt x="9801364" y="5036999"/>
                  <a:pt x="9874558" y="4997076"/>
                </a:cubicBezTo>
                <a:cubicBezTo>
                  <a:pt x="10689880" y="4552469"/>
                  <a:pt x="11243928" y="3680872"/>
                  <a:pt x="11243928" y="2677908"/>
                </a:cubicBezTo>
                <a:cubicBezTo>
                  <a:pt x="11243928" y="1223556"/>
                  <a:pt x="10077976" y="47021"/>
                  <a:pt x="8639656" y="44359"/>
                </a:cubicBezTo>
                <a:cubicBezTo>
                  <a:pt x="7201338" y="47021"/>
                  <a:pt x="6035386" y="1223556"/>
                  <a:pt x="6035322" y="2677908"/>
                </a:cubicBezTo>
                <a:cubicBezTo>
                  <a:pt x="6035322" y="3680872"/>
                  <a:pt x="6589370" y="4552405"/>
                  <a:pt x="7404695" y="4997076"/>
                </a:cubicBezTo>
                <a:cubicBezTo>
                  <a:pt x="7477888" y="5036999"/>
                  <a:pt x="7522944" y="5114374"/>
                  <a:pt x="7522944" y="5198023"/>
                </a:cubicBezTo>
                <a:cubicBezTo>
                  <a:pt x="7522690" y="5324574"/>
                  <a:pt x="7421424" y="5427424"/>
                  <a:pt x="7295761" y="5427487"/>
                </a:cubicBezTo>
                <a:lnTo>
                  <a:pt x="2974277" y="5427487"/>
                </a:lnTo>
                <a:cubicBezTo>
                  <a:pt x="2974277" y="5427487"/>
                  <a:pt x="1842396" y="5427487"/>
                  <a:pt x="427545" y="5427487"/>
                </a:cubicBezTo>
                <a:lnTo>
                  <a:pt x="0" y="5427487"/>
                </a:lnTo>
                <a:lnTo>
                  <a:pt x="0" y="5383128"/>
                </a:lnTo>
                <a:lnTo>
                  <a:pt x="7295634" y="5383128"/>
                </a:lnTo>
                <a:cubicBezTo>
                  <a:pt x="7396393" y="5382938"/>
                  <a:pt x="7478457" y="5300430"/>
                  <a:pt x="7478457" y="5198023"/>
                </a:cubicBezTo>
                <a:cubicBezTo>
                  <a:pt x="7478457" y="5130280"/>
                  <a:pt x="7441956" y="5067924"/>
                  <a:pt x="7383338" y="5035985"/>
                </a:cubicBezTo>
                <a:cubicBezTo>
                  <a:pt x="6554137" y="4583837"/>
                  <a:pt x="5990900" y="3697475"/>
                  <a:pt x="5990836" y="2677908"/>
                </a:cubicBezTo>
                <a:cubicBezTo>
                  <a:pt x="5993561" y="1199412"/>
                  <a:pt x="7176307" y="0"/>
                  <a:pt x="8639530" y="0"/>
                </a:cubicBezTo>
                <a:close/>
              </a:path>
            </a:pathLst>
          </a:custGeom>
          <a:gradFill>
            <a:gsLst>
              <a:gs pos="0">
                <a:srgbClr val="D4EC8E"/>
              </a:gs>
              <a:gs pos="100000">
                <a:srgbClr val="0078D4"/>
              </a:gs>
              <a:gs pos="43000">
                <a:srgbClr val="57B9C5"/>
              </a:gs>
            </a:gsLst>
            <a:lin ang="8100000" scaled="1"/>
          </a:gradFill>
          <a:ln w="57150">
            <a:noFill/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206A45-989B-06C6-325B-39DCF16C00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112315-6B05-4F03-9382-D36C5DB47D7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FD5648-ABB2-5316-5528-0DF78B946C7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84900" y="1043224"/>
            <a:ext cx="4873752" cy="4874975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24CA03A-6FE5-864F-3EDD-067CC675913B}"/>
              </a:ext>
            </a:extLst>
          </p:cNvPr>
          <p:cNvSpPr/>
          <p:nvPr userDrawn="1"/>
        </p:nvSpPr>
        <p:spPr bwMode="auto">
          <a:xfrm>
            <a:off x="7636807" y="903572"/>
            <a:ext cx="182623" cy="182623"/>
          </a:xfrm>
          <a:prstGeom prst="ellipse">
            <a:avLst/>
          </a:prstGeom>
          <a:solidFill>
            <a:srgbClr val="225B62"/>
          </a:solidFill>
          <a:ln w="2222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5400000" algn="t" rotWithShape="0">
              <a:srgbClr val="CFCBBB">
                <a:alpha val="74000"/>
              </a:srgb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AC42D23-EDA7-08F1-F97F-360F4D16DC5B}"/>
              </a:ext>
            </a:extLst>
          </p:cNvPr>
          <p:cNvSpPr/>
          <p:nvPr userDrawn="1"/>
        </p:nvSpPr>
        <p:spPr bwMode="auto">
          <a:xfrm>
            <a:off x="4927831" y="6118197"/>
            <a:ext cx="182623" cy="182623"/>
          </a:xfrm>
          <a:prstGeom prst="ellipse">
            <a:avLst/>
          </a:prstGeom>
          <a:solidFill>
            <a:srgbClr val="57B9C5"/>
          </a:solidFill>
          <a:ln w="2222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50800" dir="5400000" algn="t" rotWithShape="0">
              <a:schemeClr val="bg1">
                <a:lumMod val="65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7238E09-6661-0DE9-4559-A9C3EF14E2D1}"/>
              </a:ext>
            </a:extLst>
          </p:cNvPr>
          <p:cNvSpPr/>
          <p:nvPr userDrawn="1"/>
        </p:nvSpPr>
        <p:spPr bwMode="auto">
          <a:xfrm>
            <a:off x="10411924" y="5277441"/>
            <a:ext cx="182623" cy="182623"/>
          </a:xfrm>
          <a:prstGeom prst="ellipse">
            <a:avLst/>
          </a:prstGeom>
          <a:solidFill>
            <a:srgbClr val="8EC8E9"/>
          </a:solidFill>
          <a:ln w="2222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5400000" algn="t" rotWithShape="0">
              <a:srgbClr val="CFCBBB">
                <a:alpha val="74000"/>
              </a:srgb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0524403-ADBF-75DD-D045-7FD9E5F42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264878"/>
            <a:ext cx="510149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4400" b="0" kern="1200" cap="none" spc="0" baseline="0" dirty="0">
                <a:ln w="3175">
                  <a:noFill/>
                </a:ln>
                <a:gradFill>
                  <a:gsLst>
                    <a:gs pos="3500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</a:gradFill>
                <a:effectLst/>
                <a:latin typeface="+mj-lt"/>
                <a:ea typeface="+mj-lt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pic>
        <p:nvPicPr>
          <p:cNvPr id="11" name="Picture 10" descr="A logo on a black background&#10;&#10;Description automatically generated">
            <a:extLst>
              <a:ext uri="{FF2B5EF4-FFF2-40B4-BE49-F238E27FC236}">
                <a16:creationId xmlns:a16="http://schemas.microsoft.com/office/drawing/2014/main" id="{049C8672-92A6-A189-B5FC-4CF6572CDA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849" y="372907"/>
            <a:ext cx="1495551" cy="670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140077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loud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744B96A6-18A9-F27D-BC82-FD95B47ED5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6328" b="28068"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noFill/>
          <a:effectLst/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4500" y="2264878"/>
            <a:ext cx="550513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6D0F175-A804-44E4-9CB6-DEA9AAF61F5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4501" y="4787900"/>
            <a:ext cx="2343826" cy="430887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dirty="0" smtClean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r>
              <a:rPr lang="en-US" sz="2800">
                <a:solidFill>
                  <a:schemeClr val="bg1"/>
                </a:solidFill>
              </a:rPr>
              <a:t>Speaker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4500" y="5470723"/>
            <a:ext cx="2343826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tx1"/>
                </a:solidFill>
                <a:latin typeface="Segoe Sans Display" pitchFamily="2" charset="0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88375748-275D-5C36-977C-87AC454336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302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oud Title Blue">
    <p:bg>
      <p:bgPr>
        <a:gradFill flip="none" rotWithShape="1">
          <a:gsLst>
            <a:gs pos="0">
              <a:srgbClr val="D4EC8E"/>
            </a:gs>
            <a:gs pos="45110">
              <a:srgbClr val="57B9C5"/>
            </a:gs>
            <a:gs pos="100000">
              <a:srgbClr val="00777B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431FB4-813C-0C66-C786-62B8BBACA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alphaModFix amt="5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06F7015-754B-A4C8-8A45-54DF43B271C5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4EC8E">
                  <a:alpha val="0"/>
                </a:srgbClr>
              </a:gs>
              <a:gs pos="53000">
                <a:srgbClr val="57B9C5">
                  <a:alpha val="15768"/>
                </a:srgbClr>
              </a:gs>
              <a:gs pos="100000">
                <a:schemeClr val="accent3">
                  <a:lumMod val="50000"/>
                  <a:alpha val="64000"/>
                </a:schemeClr>
              </a:gs>
            </a:gsLst>
            <a:path path="circle">
              <a:fillToRect l="100000" t="100000"/>
            </a:path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noFill/>
          <a:effectLst/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4500" y="2264878"/>
            <a:ext cx="550513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6D0F175-A804-44E4-9CB6-DEA9AAF61F5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4501" y="4787900"/>
            <a:ext cx="2343826" cy="430887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dirty="0" smtClean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r>
              <a:rPr lang="en-US" sz="2800">
                <a:solidFill>
                  <a:schemeClr val="bg1"/>
                </a:solidFill>
              </a:rPr>
              <a:t>Speaker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4500" y="5470723"/>
            <a:ext cx="2343826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tx1"/>
                </a:solidFill>
                <a:latin typeface="Segoe Sans Display" pitchFamily="2" charset="0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88375748-275D-5C36-977C-87AC454336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176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7790-3570-22E9-DECB-0E8DE6C33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462699-F861-5231-C693-797F9BB8D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9D0DD-4710-4B6C-AFA4-09A41EF20E6D}" type="datetimeFigureOut">
              <a:rPr lang="en-CH" smtClean="0"/>
              <a:t>11/7/25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141100-BE66-3A14-425C-96E503AD0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28A50E-F2E1-787B-9976-B93DCFEF5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B13F6-5B24-4026-AFF6-046B3818C94F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2916173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wo-column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5">
            <a:extLst>
              <a:ext uri="{FF2B5EF4-FFF2-40B4-BE49-F238E27FC236}">
                <a16:creationId xmlns:a16="http://schemas.microsoft.com/office/drawing/2014/main" id="{80549859-3554-905A-844F-75540399196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1007097" y="6311900"/>
            <a:ext cx="2078736" cy="365125"/>
          </a:xfrm>
        </p:spPr>
        <p:txBody>
          <a:bodyPr/>
          <a:lstStyle/>
          <a:p>
            <a:r>
              <a:rPr lang="en-US"/>
              <a:t>Microsoft Fabric</a:t>
            </a:r>
          </a:p>
        </p:txBody>
      </p:sp>
      <p:sp>
        <p:nvSpPr>
          <p:cNvPr id="6" name="Slide Number Placeholder 26">
            <a:extLst>
              <a:ext uri="{FF2B5EF4-FFF2-40B4-BE49-F238E27FC236}">
                <a16:creationId xmlns:a16="http://schemas.microsoft.com/office/drawing/2014/main" id="{72B42226-58C3-41D5-C7C7-26648D06DCB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607809" y="6311900"/>
            <a:ext cx="399288" cy="365125"/>
          </a:xfrm>
        </p:spPr>
        <p:txBody>
          <a:bodyPr/>
          <a:lstStyle/>
          <a:p>
            <a:fld id="{B1356FBF-028C-F74E-A7B4-9B8ED246DD1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47F334F-1225-59F2-A5AF-B9FE6C3DC8A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244862" y="0"/>
            <a:ext cx="4947137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24">
            <a:extLst>
              <a:ext uri="{FF2B5EF4-FFF2-40B4-BE49-F238E27FC236}">
                <a16:creationId xmlns:a16="http://schemas.microsoft.com/office/drawing/2014/main" id="{E62BE408-BD00-FD03-93A6-222F205A58E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821580" y="1850760"/>
            <a:ext cx="2891804" cy="26535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 b="0" i="0">
                <a:solidFill>
                  <a:schemeClr val="bg1"/>
                </a:solidFill>
                <a:latin typeface="Segoe Sans Text Semilight" pitchFamily="2" charset="0"/>
                <a:cs typeface="Segoe Sans Text Semilight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e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dolar</a:t>
            </a:r>
            <a:r>
              <a:rPr lang="en-US"/>
              <a:t>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88722149-B8C1-B1A2-70E4-07FD02D5B9D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21580" y="4704299"/>
            <a:ext cx="2891804" cy="2545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1" i="0">
                <a:solidFill>
                  <a:schemeClr val="accent2"/>
                </a:solidFill>
                <a:latin typeface="Segoe Sans Small" pitchFamily="2" charset="0"/>
                <a:cs typeface="Segoe Sans Small" pitchFamily="2" charset="0"/>
              </a:defRPr>
            </a:lvl1pPr>
          </a:lstStyle>
          <a:p>
            <a:pPr lvl="0"/>
            <a:r>
              <a:rPr lang="en-US"/>
              <a:t>&gt;link to source</a:t>
            </a:r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A774C518-98F8-51A0-F6A8-E43EE09A2ED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5035" y="1850760"/>
            <a:ext cx="2891804" cy="26535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00" b="0" i="0">
                <a:solidFill>
                  <a:schemeClr val="bg1"/>
                </a:solidFill>
                <a:latin typeface="Segoe Sans Text Semilight" pitchFamily="2" charset="0"/>
                <a:cs typeface="Segoe Sans Text Semilight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e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dolar</a:t>
            </a:r>
            <a:r>
              <a:rPr lang="en-US"/>
              <a:t>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</p:txBody>
      </p:sp>
      <p:sp>
        <p:nvSpPr>
          <p:cNvPr id="14" name="Text Placeholder 24">
            <a:extLst>
              <a:ext uri="{FF2B5EF4-FFF2-40B4-BE49-F238E27FC236}">
                <a16:creationId xmlns:a16="http://schemas.microsoft.com/office/drawing/2014/main" id="{D10BBD2D-09C0-6FD7-5156-2C096CFB50E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5035" y="4704299"/>
            <a:ext cx="2891804" cy="2545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1" i="0">
                <a:solidFill>
                  <a:schemeClr val="accent2"/>
                </a:solidFill>
                <a:latin typeface="Segoe Sans Small" pitchFamily="2" charset="0"/>
                <a:cs typeface="Segoe Sans Small" pitchFamily="2" charset="0"/>
              </a:defRPr>
            </a:lvl1pPr>
          </a:lstStyle>
          <a:p>
            <a:pPr lvl="0"/>
            <a:r>
              <a:rPr lang="en-US"/>
              <a:t>&gt;link to source</a:t>
            </a:r>
          </a:p>
        </p:txBody>
      </p:sp>
      <p:sp>
        <p:nvSpPr>
          <p:cNvPr id="2" name="Text Placeholder 24">
            <a:extLst>
              <a:ext uri="{FF2B5EF4-FFF2-40B4-BE49-F238E27FC236}">
                <a16:creationId xmlns:a16="http://schemas.microsoft.com/office/drawing/2014/main" id="{B682477D-5A87-855D-B652-03F5E6A52CE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5034" y="647231"/>
            <a:ext cx="6078349" cy="558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b="0" i="0">
                <a:solidFill>
                  <a:schemeClr val="accent2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Page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4D8C31-9A5B-7991-23CF-4A1545FF7E5A}"/>
              </a:ext>
            </a:extLst>
          </p:cNvPr>
          <p:cNvSpPr txBox="1"/>
          <p:nvPr userDrawn="1"/>
        </p:nvSpPr>
        <p:spPr>
          <a:xfrm>
            <a:off x="-6534150" y="-1238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74698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314189C-1ED7-96D2-53F3-009E06644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9D0836D-D666-1A60-B299-66691DD71B2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C67BECE-2038-6E2D-1947-8048AB7EAF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8E987406-DE0E-47B1-67E5-E3EE60356A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Rectangle: Top Corners Rounded 32">
            <a:extLst>
              <a:ext uri="{FF2B5EF4-FFF2-40B4-BE49-F238E27FC236}">
                <a16:creationId xmlns:a16="http://schemas.microsoft.com/office/drawing/2014/main" id="{EB8D7223-DA03-D0E8-CCF9-DE074D438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261619" y="-113692"/>
            <a:ext cx="407205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386A23D-6ABB-76C4-FBFB-90E7ABF66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1965976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BAE18A-AFE4-3CF4-24FC-9E1FD69313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2912504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7AAF762-2D62-A6BA-BF09-C020CD22E5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1980285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E53545FB-6BED-49C3-9A8D-1A39FDE9E0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3243004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A3ABBABB-A2F4-49D0-6704-F70C87819B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4505724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67A59-FB1C-F67C-EF01-487C1F675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153441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ACD6B564-8611-D9B1-22D4-2E27C05661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243491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C1F63D9-AFF9-7B0E-DC97-1DB2CD3EB5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4491415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8BB52D7-D21F-75F1-1A3F-B2AB197CE56C}"/>
              </a:ext>
            </a:extLst>
          </p:cNvPr>
          <p:cNvGrpSpPr/>
          <p:nvPr userDrawn="1"/>
        </p:nvGrpSpPr>
        <p:grpSpPr>
          <a:xfrm>
            <a:off x="7819995" y="1233480"/>
            <a:ext cx="3786790" cy="4607922"/>
            <a:chOff x="7819995" y="1792878"/>
            <a:chExt cx="3786790" cy="4607922"/>
          </a:xfrm>
        </p:grpSpPr>
        <p:pic>
          <p:nvPicPr>
            <p:cNvPr id="16" name="Picture Placeholder 3">
              <a:extLst>
                <a:ext uri="{FF2B5EF4-FFF2-40B4-BE49-F238E27FC236}">
                  <a16:creationId xmlns:a16="http://schemas.microsoft.com/office/drawing/2014/main" id="{0449F706-6E85-C9E9-C561-00C8245A3C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17969" r="4800" b="14909"/>
            <a:stretch>
              <a:fillRect/>
            </a:stretch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17" name="Rectangle: Rounded Corners 36">
              <a:extLst>
                <a:ext uri="{FF2B5EF4-FFF2-40B4-BE49-F238E27FC236}">
                  <a16:creationId xmlns:a16="http://schemas.microsoft.com/office/drawing/2014/main" id="{72CBBDBB-9E8C-DD91-B595-81EAC07C4F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18" name="Rectangle: Top Corners Rounded 6">
              <a:extLst>
                <a:ext uri="{FF2B5EF4-FFF2-40B4-BE49-F238E27FC236}">
                  <a16:creationId xmlns:a16="http://schemas.microsoft.com/office/drawing/2014/main" id="{01591739-5EBB-D11E-A247-65D88604B9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DE7BB84-CA90-0812-66A0-2D1860FAFF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417054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400501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wavy lines&#10;&#10;AI-generated content may be incorrect.">
            <a:extLst>
              <a:ext uri="{FF2B5EF4-FFF2-40B4-BE49-F238E27FC236}">
                <a16:creationId xmlns:a16="http://schemas.microsoft.com/office/drawing/2014/main" id="{5A3601AE-AB71-CBBB-A063-7D04567CF9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4" b="2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A black background with blue text&#10;&#10;AI-generated content may be incorrect.">
            <a:extLst>
              <a:ext uri="{FF2B5EF4-FFF2-40B4-BE49-F238E27FC236}">
                <a16:creationId xmlns:a16="http://schemas.microsoft.com/office/drawing/2014/main" id="{DCC024BE-A8E1-654D-37B3-45529121E4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6622" y="2277110"/>
            <a:ext cx="4575943" cy="2023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692255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and white curved lines&#10;&#10;AI-generated content may be incorrect.">
            <a:extLst>
              <a:ext uri="{FF2B5EF4-FFF2-40B4-BE49-F238E27FC236}">
                <a16:creationId xmlns:a16="http://schemas.microsoft.com/office/drawing/2014/main" id="{17A298F2-F3DE-A80A-D247-C21DC8FF2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4" b="2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EB5EB062-3EB9-AE51-7945-D4F3E1AA0D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84200" y="2425781"/>
            <a:ext cx="5577840" cy="1107996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000" b="0" kern="1200" cap="none" spc="-50" baseline="0" dirty="0">
                <a:ln w="3175">
                  <a:noFill/>
                </a:ln>
                <a:solidFill>
                  <a:srgbClr val="99CEE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84200" y="3962399"/>
            <a:ext cx="4480560" cy="548640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lang="en-US" sz="180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9433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44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18223"/>
            <a:ext cx="9144000" cy="615553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2" name="MS logo white - EMF" descr="Microsoft logo white text version">
            <a:extLst>
              <a:ext uri="{FF2B5EF4-FFF2-40B4-BE49-F238E27FC236}">
                <a16:creationId xmlns:a16="http://schemas.microsoft.com/office/drawing/2014/main" id="{74FE235F-02A3-CF25-8716-2552AE844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53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5">
            <a:extLst>
              <a:ext uri="{FF2B5EF4-FFF2-40B4-BE49-F238E27FC236}">
                <a16:creationId xmlns:a16="http://schemas.microsoft.com/office/drawing/2014/main" id="{D22B4651-0EC1-8353-95DC-C154B2DF9E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4903" y="1043224"/>
            <a:ext cx="4873751" cy="4874976"/>
          </a:xfrm>
          <a:custGeom>
            <a:avLst/>
            <a:gdLst>
              <a:gd name="connsiteX0" fmla="*/ 2436875 w 4873751"/>
              <a:gd name="connsiteY0" fmla="*/ 0 h 4874976"/>
              <a:gd name="connsiteX1" fmla="*/ 4873751 w 4873751"/>
              <a:gd name="connsiteY1" fmla="*/ 2437488 h 4874976"/>
              <a:gd name="connsiteX2" fmla="*/ 2436875 w 4873751"/>
              <a:gd name="connsiteY2" fmla="*/ 4874976 h 4874976"/>
              <a:gd name="connsiteX3" fmla="*/ 0 w 4873751"/>
              <a:gd name="connsiteY3" fmla="*/ 2437488 h 4874976"/>
              <a:gd name="connsiteX4" fmla="*/ 2436875 w 4873751"/>
              <a:gd name="connsiteY4" fmla="*/ 0 h 4874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73751" h="4874976">
                <a:moveTo>
                  <a:pt x="2436875" y="0"/>
                </a:moveTo>
                <a:cubicBezTo>
                  <a:pt x="3782724" y="0"/>
                  <a:pt x="4873751" y="1091301"/>
                  <a:pt x="4873751" y="2437488"/>
                </a:cubicBezTo>
                <a:cubicBezTo>
                  <a:pt x="4873751" y="3783675"/>
                  <a:pt x="3782724" y="4874976"/>
                  <a:pt x="2436875" y="4874976"/>
                </a:cubicBezTo>
                <a:cubicBezTo>
                  <a:pt x="1091027" y="4874976"/>
                  <a:pt x="0" y="3783675"/>
                  <a:pt x="0" y="2437488"/>
                </a:cubicBezTo>
                <a:cubicBezTo>
                  <a:pt x="0" y="1091301"/>
                  <a:pt x="1091027" y="0"/>
                  <a:pt x="2436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B1B52FB-269E-43A6-2624-F9AB00B5F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8"/>
            <a:ext cx="12192000" cy="5715032"/>
            <a:chOff x="0" y="585788"/>
            <a:chExt cx="12192000" cy="5715032"/>
          </a:xfrm>
        </p:grpSpPr>
        <p:sp>
          <p:nvSpPr>
            <p:cNvPr id="12" name="Freeform: Shape 2">
              <a:extLst>
                <a:ext uri="{FF2B5EF4-FFF2-40B4-BE49-F238E27FC236}">
                  <a16:creationId xmlns:a16="http://schemas.microsoft.com/office/drawing/2014/main" id="{629FB286-3AD3-6861-A0F7-4E9CF9B797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" y="5084956"/>
              <a:ext cx="7478457" cy="1119106"/>
            </a:xfrm>
            <a:custGeom>
              <a:avLst/>
              <a:gdLst>
                <a:gd name="connsiteX0" fmla="*/ 0 w 7478457"/>
                <a:gd name="connsiteY0" fmla="*/ 0 h 1119106"/>
                <a:gd name="connsiteX1" fmla="*/ 6506683 w 7478457"/>
                <a:gd name="connsiteY1" fmla="*/ 0 h 1119106"/>
                <a:gd name="connsiteX2" fmla="*/ 6578364 w 7478457"/>
                <a:gd name="connsiteY2" fmla="*/ 95986 h 1119106"/>
                <a:gd name="connsiteX3" fmla="*/ 7383338 w 7478457"/>
                <a:gd name="connsiteY3" fmla="*/ 771963 h 1119106"/>
                <a:gd name="connsiteX4" fmla="*/ 7478457 w 7478457"/>
                <a:gd name="connsiteY4" fmla="*/ 934001 h 1119106"/>
                <a:gd name="connsiteX5" fmla="*/ 7295634 w 7478457"/>
                <a:gd name="connsiteY5" fmla="*/ 1119106 h 1119106"/>
                <a:gd name="connsiteX6" fmla="*/ 0 w 7478457"/>
                <a:gd name="connsiteY6" fmla="*/ 1119106 h 1119106"/>
                <a:gd name="connsiteX7" fmla="*/ 0 w 7478457"/>
                <a:gd name="connsiteY7" fmla="*/ 0 h 11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78457" h="1119106">
                  <a:moveTo>
                    <a:pt x="0" y="0"/>
                  </a:moveTo>
                  <a:lnTo>
                    <a:pt x="6506683" y="0"/>
                  </a:lnTo>
                  <a:lnTo>
                    <a:pt x="6578364" y="95986"/>
                  </a:lnTo>
                  <a:cubicBezTo>
                    <a:pt x="6798839" y="371791"/>
                    <a:pt x="7072388" y="602408"/>
                    <a:pt x="7383338" y="771963"/>
                  </a:cubicBezTo>
                  <a:cubicBezTo>
                    <a:pt x="7441956" y="803902"/>
                    <a:pt x="7478457" y="866258"/>
                    <a:pt x="7478457" y="934001"/>
                  </a:cubicBezTo>
                  <a:cubicBezTo>
                    <a:pt x="7478457" y="1036408"/>
                    <a:pt x="7396393" y="1118916"/>
                    <a:pt x="7295634" y="1119106"/>
                  </a:cubicBezTo>
                  <a:lnTo>
                    <a:pt x="0" y="1119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6">
                <a:alpha val="32036"/>
              </a:srgbClr>
            </a:solidFill>
            <a:ln w="38100" cap="flat">
              <a:noFill/>
              <a:prstDash val="solid"/>
              <a:miter/>
            </a:ln>
            <a:effectLst>
              <a:outerShdw blurRad="495300" dist="685800" dir="16200000" sx="93000" sy="93000" algn="ctr" rotWithShape="0">
                <a:schemeClr val="accent6">
                  <a:alpha val="2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3" name="Freeform: Shape 4">
              <a:extLst>
                <a:ext uri="{FF2B5EF4-FFF2-40B4-BE49-F238E27FC236}">
                  <a16:creationId xmlns:a16="http://schemas.microsoft.com/office/drawing/2014/main" id="{B8E2D7C1-DEEC-6D31-7CA9-2FC5AEBD78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9800540" y="5084956"/>
              <a:ext cx="2391460" cy="1119106"/>
            </a:xfrm>
            <a:custGeom>
              <a:avLst/>
              <a:gdLst>
                <a:gd name="connsiteX0" fmla="*/ 971821 w 2391460"/>
                <a:gd name="connsiteY0" fmla="*/ 0 h 1119106"/>
                <a:gd name="connsiteX1" fmla="*/ 2391460 w 2391460"/>
                <a:gd name="connsiteY1" fmla="*/ 0 h 1119106"/>
                <a:gd name="connsiteX2" fmla="*/ 2391460 w 2391460"/>
                <a:gd name="connsiteY2" fmla="*/ 1119106 h 1119106"/>
                <a:gd name="connsiteX3" fmla="*/ 182824 w 2391460"/>
                <a:gd name="connsiteY3" fmla="*/ 1119106 h 1119106"/>
                <a:gd name="connsiteX4" fmla="*/ 0 w 2391460"/>
                <a:gd name="connsiteY4" fmla="*/ 934001 h 1119106"/>
                <a:gd name="connsiteX5" fmla="*/ 95118 w 2391460"/>
                <a:gd name="connsiteY5" fmla="*/ 771963 h 1119106"/>
                <a:gd name="connsiteX6" fmla="*/ 900138 w 2391460"/>
                <a:gd name="connsiteY6" fmla="*/ 95986 h 1119106"/>
                <a:gd name="connsiteX7" fmla="*/ 971821 w 2391460"/>
                <a:gd name="connsiteY7" fmla="*/ 0 h 11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1460" h="1119106">
                  <a:moveTo>
                    <a:pt x="971821" y="0"/>
                  </a:moveTo>
                  <a:lnTo>
                    <a:pt x="2391460" y="0"/>
                  </a:lnTo>
                  <a:lnTo>
                    <a:pt x="2391460" y="1119106"/>
                  </a:lnTo>
                  <a:lnTo>
                    <a:pt x="182824" y="1119106"/>
                  </a:lnTo>
                  <a:cubicBezTo>
                    <a:pt x="82066" y="1118916"/>
                    <a:pt x="0" y="1036408"/>
                    <a:pt x="0" y="934001"/>
                  </a:cubicBezTo>
                  <a:cubicBezTo>
                    <a:pt x="0" y="866258"/>
                    <a:pt x="36500" y="803902"/>
                    <a:pt x="95118" y="771963"/>
                  </a:cubicBezTo>
                  <a:cubicBezTo>
                    <a:pt x="406093" y="602408"/>
                    <a:pt x="679657" y="371791"/>
                    <a:pt x="900138" y="95986"/>
                  </a:cubicBezTo>
                  <a:lnTo>
                    <a:pt x="971821" y="0"/>
                  </a:lnTo>
                  <a:close/>
                </a:path>
              </a:pathLst>
            </a:custGeom>
            <a:solidFill>
              <a:srgbClr val="D9D9D6">
                <a:alpha val="32036"/>
              </a:srgbClr>
            </a:solidFill>
            <a:ln w="38100" cap="flat">
              <a:noFill/>
              <a:prstDash val="solid"/>
              <a:miter/>
            </a:ln>
            <a:effectLst>
              <a:outerShdw blurRad="495300" dist="685800" dir="16200000" sx="93000" sy="93000" algn="ctr" rotWithShape="0">
                <a:schemeClr val="accent6">
                  <a:alpha val="2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4" name="Freeform: Shape 3">
              <a:extLst>
                <a:ext uri="{FF2B5EF4-FFF2-40B4-BE49-F238E27FC236}">
                  <a16:creationId xmlns:a16="http://schemas.microsoft.com/office/drawing/2014/main" id="{AB7578BF-99AA-C593-3E66-A84EE972BDFC}"/>
                </a:ext>
              </a:extLst>
            </p:cNvPr>
            <p:cNvSpPr/>
            <p:nvPr userDrawn="1"/>
          </p:nvSpPr>
          <p:spPr>
            <a:xfrm>
              <a:off x="0" y="820934"/>
              <a:ext cx="12192000" cy="5427487"/>
            </a:xfrm>
            <a:custGeom>
              <a:avLst/>
              <a:gdLst>
                <a:gd name="connsiteX0" fmla="*/ 8639530 w 12192000"/>
                <a:gd name="connsiteY0" fmla="*/ 0 h 5427487"/>
                <a:gd name="connsiteX1" fmla="*/ 11288160 w 12192000"/>
                <a:gd name="connsiteY1" fmla="*/ 2677908 h 5427487"/>
                <a:gd name="connsiteX2" fmla="*/ 9895658 w 12192000"/>
                <a:gd name="connsiteY2" fmla="*/ 5035985 h 5427487"/>
                <a:gd name="connsiteX3" fmla="*/ 9800540 w 12192000"/>
                <a:gd name="connsiteY3" fmla="*/ 5198023 h 5427487"/>
                <a:gd name="connsiteX4" fmla="*/ 9983364 w 12192000"/>
                <a:gd name="connsiteY4" fmla="*/ 5383128 h 5427487"/>
                <a:gd name="connsiteX5" fmla="*/ 12192000 w 12192000"/>
                <a:gd name="connsiteY5" fmla="*/ 5383128 h 5427487"/>
                <a:gd name="connsiteX6" fmla="*/ 12192000 w 12192000"/>
                <a:gd name="connsiteY6" fmla="*/ 5427487 h 5427487"/>
                <a:gd name="connsiteX7" fmla="*/ 9983490 w 12192000"/>
                <a:gd name="connsiteY7" fmla="*/ 5427487 h 5427487"/>
                <a:gd name="connsiteX8" fmla="*/ 9756308 w 12192000"/>
                <a:gd name="connsiteY8" fmla="*/ 5198023 h 5427487"/>
                <a:gd name="connsiteX9" fmla="*/ 9874558 w 12192000"/>
                <a:gd name="connsiteY9" fmla="*/ 4997076 h 5427487"/>
                <a:gd name="connsiteX10" fmla="*/ 11243928 w 12192000"/>
                <a:gd name="connsiteY10" fmla="*/ 2677908 h 5427487"/>
                <a:gd name="connsiteX11" fmla="*/ 8639656 w 12192000"/>
                <a:gd name="connsiteY11" fmla="*/ 44359 h 5427487"/>
                <a:gd name="connsiteX12" fmla="*/ 6035322 w 12192000"/>
                <a:gd name="connsiteY12" fmla="*/ 2677908 h 5427487"/>
                <a:gd name="connsiteX13" fmla="*/ 7404695 w 12192000"/>
                <a:gd name="connsiteY13" fmla="*/ 4997076 h 5427487"/>
                <a:gd name="connsiteX14" fmla="*/ 7522944 w 12192000"/>
                <a:gd name="connsiteY14" fmla="*/ 5198023 h 5427487"/>
                <a:gd name="connsiteX15" fmla="*/ 7295761 w 12192000"/>
                <a:gd name="connsiteY15" fmla="*/ 5427487 h 5427487"/>
                <a:gd name="connsiteX16" fmla="*/ 2974277 w 12192000"/>
                <a:gd name="connsiteY16" fmla="*/ 5427487 h 5427487"/>
                <a:gd name="connsiteX17" fmla="*/ 427545 w 12192000"/>
                <a:gd name="connsiteY17" fmla="*/ 5427487 h 5427487"/>
                <a:gd name="connsiteX18" fmla="*/ 0 w 12192000"/>
                <a:gd name="connsiteY18" fmla="*/ 5427487 h 5427487"/>
                <a:gd name="connsiteX19" fmla="*/ 0 w 12192000"/>
                <a:gd name="connsiteY19" fmla="*/ 5383128 h 5427487"/>
                <a:gd name="connsiteX20" fmla="*/ 7295634 w 12192000"/>
                <a:gd name="connsiteY20" fmla="*/ 5383128 h 5427487"/>
                <a:gd name="connsiteX21" fmla="*/ 7478457 w 12192000"/>
                <a:gd name="connsiteY21" fmla="*/ 5198023 h 5427487"/>
                <a:gd name="connsiteX22" fmla="*/ 7383338 w 12192000"/>
                <a:gd name="connsiteY22" fmla="*/ 5035985 h 5427487"/>
                <a:gd name="connsiteX23" fmla="*/ 5990836 w 12192000"/>
                <a:gd name="connsiteY23" fmla="*/ 2677908 h 5427487"/>
                <a:gd name="connsiteX24" fmla="*/ 8639530 w 12192000"/>
                <a:gd name="connsiteY24" fmla="*/ 0 h 5427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92000" h="5427487">
                  <a:moveTo>
                    <a:pt x="8639530" y="0"/>
                  </a:moveTo>
                  <a:cubicBezTo>
                    <a:pt x="10102754" y="0"/>
                    <a:pt x="11285562" y="1199412"/>
                    <a:pt x="11288160" y="2677908"/>
                  </a:cubicBezTo>
                  <a:cubicBezTo>
                    <a:pt x="11288160" y="3697475"/>
                    <a:pt x="10724924" y="4583837"/>
                    <a:pt x="9895658" y="5035985"/>
                  </a:cubicBezTo>
                  <a:cubicBezTo>
                    <a:pt x="9837040" y="5067924"/>
                    <a:pt x="9800540" y="5130280"/>
                    <a:pt x="9800540" y="5198023"/>
                  </a:cubicBezTo>
                  <a:cubicBezTo>
                    <a:pt x="9800540" y="5300430"/>
                    <a:pt x="9882606" y="5382938"/>
                    <a:pt x="9983364" y="5383128"/>
                  </a:cubicBezTo>
                  <a:lnTo>
                    <a:pt x="12192000" y="5383128"/>
                  </a:lnTo>
                  <a:lnTo>
                    <a:pt x="12192000" y="5427487"/>
                  </a:lnTo>
                  <a:lnTo>
                    <a:pt x="9983490" y="5427487"/>
                  </a:lnTo>
                  <a:cubicBezTo>
                    <a:pt x="9857826" y="5427487"/>
                    <a:pt x="9756560" y="5324574"/>
                    <a:pt x="9756308" y="5198023"/>
                  </a:cubicBezTo>
                  <a:cubicBezTo>
                    <a:pt x="9756308" y="5114374"/>
                    <a:pt x="9801364" y="5036999"/>
                    <a:pt x="9874558" y="4997076"/>
                  </a:cubicBezTo>
                  <a:cubicBezTo>
                    <a:pt x="10689880" y="4552469"/>
                    <a:pt x="11243928" y="3680872"/>
                    <a:pt x="11243928" y="2677908"/>
                  </a:cubicBezTo>
                  <a:cubicBezTo>
                    <a:pt x="11243928" y="1223556"/>
                    <a:pt x="10077976" y="47021"/>
                    <a:pt x="8639656" y="44359"/>
                  </a:cubicBezTo>
                  <a:cubicBezTo>
                    <a:pt x="7201338" y="47021"/>
                    <a:pt x="6035386" y="1223556"/>
                    <a:pt x="6035322" y="2677908"/>
                  </a:cubicBezTo>
                  <a:cubicBezTo>
                    <a:pt x="6035322" y="3680872"/>
                    <a:pt x="6589370" y="4552405"/>
                    <a:pt x="7404695" y="4997076"/>
                  </a:cubicBezTo>
                  <a:cubicBezTo>
                    <a:pt x="7477888" y="5036999"/>
                    <a:pt x="7522944" y="5114374"/>
                    <a:pt x="7522944" y="5198023"/>
                  </a:cubicBezTo>
                  <a:cubicBezTo>
                    <a:pt x="7522690" y="5324574"/>
                    <a:pt x="7421424" y="5427424"/>
                    <a:pt x="7295761" y="5427487"/>
                  </a:cubicBezTo>
                  <a:lnTo>
                    <a:pt x="2974277" y="5427487"/>
                  </a:lnTo>
                  <a:cubicBezTo>
                    <a:pt x="2974277" y="5427487"/>
                    <a:pt x="1842396" y="5427487"/>
                    <a:pt x="427545" y="5427487"/>
                  </a:cubicBezTo>
                  <a:lnTo>
                    <a:pt x="0" y="5427487"/>
                  </a:lnTo>
                  <a:lnTo>
                    <a:pt x="0" y="5383128"/>
                  </a:lnTo>
                  <a:lnTo>
                    <a:pt x="7295634" y="5383128"/>
                  </a:lnTo>
                  <a:cubicBezTo>
                    <a:pt x="7396393" y="5382938"/>
                    <a:pt x="7478457" y="5300430"/>
                    <a:pt x="7478457" y="5198023"/>
                  </a:cubicBezTo>
                  <a:cubicBezTo>
                    <a:pt x="7478457" y="5130280"/>
                    <a:pt x="7441956" y="5067924"/>
                    <a:pt x="7383338" y="5035985"/>
                  </a:cubicBezTo>
                  <a:cubicBezTo>
                    <a:pt x="6554137" y="4583837"/>
                    <a:pt x="5990900" y="3697475"/>
                    <a:pt x="5990836" y="2677908"/>
                  </a:cubicBezTo>
                  <a:cubicBezTo>
                    <a:pt x="5993561" y="1199412"/>
                    <a:pt x="7176307" y="0"/>
                    <a:pt x="8639530" y="0"/>
                  </a:cubicBezTo>
                  <a:close/>
                </a:path>
              </a:pathLst>
            </a:custGeom>
            <a:solidFill>
              <a:schemeClr val="bg2"/>
            </a:solidFill>
            <a:ln w="6336" cap="flat">
              <a:noFill/>
              <a:prstDash val="solid"/>
              <a:miter/>
            </a:ln>
            <a:effectLst>
              <a:outerShdw blurRad="63500" dist="25400" dir="5400000" algn="t" rotWithShape="0">
                <a:schemeClr val="accent6">
                  <a:lumMod val="10000"/>
                  <a:alpha val="14000"/>
                </a:schemeClr>
              </a:outerShdw>
            </a:effectLst>
          </p:spPr>
          <p:txBody>
            <a:bodyPr rtlCol="0" anchor="ctr"/>
            <a:lstStyle/>
            <a:p>
              <a:r>
                <a:rPr lang="en-US"/>
                <a:t> 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1D1BDEC-46EF-1A2E-08D5-4528B4627338}"/>
                </a:ext>
              </a:extLst>
            </p:cNvPr>
            <p:cNvSpPr/>
            <p:nvPr userDrawn="1"/>
          </p:nvSpPr>
          <p:spPr bwMode="auto">
            <a:xfrm>
              <a:off x="7636807" y="903572"/>
              <a:ext cx="182623" cy="182623"/>
            </a:xfrm>
            <a:prstGeom prst="ellipse">
              <a:avLst/>
            </a:prstGeom>
            <a:solidFill>
              <a:srgbClr val="A2D2D5"/>
            </a:solidFill>
            <a:ln w="22225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5400000" algn="t" rotWithShape="0">
                <a:srgbClr val="B1B3B3">
                  <a:alpha val="56000"/>
                </a:srgb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6F0990B-CCAC-C647-5EAE-BCA3FC867953}"/>
                </a:ext>
              </a:extLst>
            </p:cNvPr>
            <p:cNvSpPr/>
            <p:nvPr userDrawn="1"/>
          </p:nvSpPr>
          <p:spPr bwMode="auto">
            <a:xfrm>
              <a:off x="4927831" y="6118197"/>
              <a:ext cx="182623" cy="18262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22225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5400000" algn="t" rotWithShape="0">
                <a:srgbClr val="B1B3B3">
                  <a:alpha val="56000"/>
                </a:srgb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EA7C3A3-E33E-8DB1-A690-27B2688E49A5}"/>
                </a:ext>
              </a:extLst>
            </p:cNvPr>
            <p:cNvSpPr/>
            <p:nvPr userDrawn="1"/>
          </p:nvSpPr>
          <p:spPr bwMode="auto">
            <a:xfrm>
              <a:off x="10411924" y="5277441"/>
              <a:ext cx="182623" cy="18262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2225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5400000" algn="t" rotWithShape="0">
                <a:srgbClr val="B1B3B3">
                  <a:alpha val="56000"/>
                </a:srgb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2" name="MS logo gray - EMF" descr="Microsoft logo, gray text version">
              <a:extLst>
                <a:ext uri="{FF2B5EF4-FFF2-40B4-BE49-F238E27FC236}">
                  <a16:creationId xmlns:a16="http://schemas.microsoft.com/office/drawing/2014/main" id="{DD45CE8C-6BB5-02C7-E711-D16545BB03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440" cy="292608"/>
            </a:xfrm>
            <a:prstGeom prst="rect">
              <a:avLst/>
            </a:prstGeom>
          </p:spPr>
        </p:pic>
      </p:grpSp>
      <p:sp>
        <p:nvSpPr>
          <p:cNvPr id="23" name="Title 3">
            <a:extLst>
              <a:ext uri="{FF2B5EF4-FFF2-40B4-BE49-F238E27FC236}">
                <a16:creationId xmlns:a16="http://schemas.microsoft.com/office/drawing/2014/main" id="{16D49A49-8FBC-9952-DC79-1B46E1DF3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880431"/>
            <a:ext cx="3987800" cy="7386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4800">
                <a:solidFill>
                  <a:srgbClr val="454142"/>
                </a:solidFill>
              </a:rPr>
              <a:t>Thank you.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C3BE4A23-D31E-65FA-6DE2-2AE6A5D7E2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477" y="5733533"/>
            <a:ext cx="4465077" cy="215444"/>
          </a:xfrm>
        </p:spPr>
        <p:txBody>
          <a:bodyPr>
            <a:spAutoFit/>
          </a:bodyPr>
          <a:lstStyle>
            <a:lvl1pPr marL="0" indent="0"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0E37C260-EFE9-AC56-6B80-3935EA1AA5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59546" y="5745526"/>
            <a:ext cx="2128947" cy="32316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© 2024 Microsoft. All rights reserved.</a:t>
            </a:r>
          </a:p>
          <a:p>
            <a:pPr lvl="0"/>
            <a:r>
              <a:rPr lang="en-US"/>
              <a:t>Some images contain public sector information </a:t>
            </a:r>
          </a:p>
          <a:p>
            <a:pPr lvl="0"/>
            <a:r>
              <a:rPr lang="en-US"/>
              <a:t>licensed under the Open Government License v3.0</a:t>
            </a:r>
          </a:p>
        </p:txBody>
      </p:sp>
    </p:spTree>
    <p:extLst>
      <p:ext uri="{BB962C8B-B14F-4D97-AF65-F5344CB8AC3E}">
        <p14:creationId xmlns:p14="http://schemas.microsoft.com/office/powerpoint/2010/main" val="1892611188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Dark">
    <p:bg>
      <p:bgPr>
        <a:solidFill>
          <a:srgbClr val="1110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93723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Dark with title">
    <p:bg>
      <p:bgPr>
        <a:solidFill>
          <a:srgbClr val="1110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CE3D6-C677-9107-DF98-7D8AE8D59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712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eme 1 - Dark with title left">
    <p:bg>
      <p:bgPr>
        <a:solidFill>
          <a:srgbClr val="1110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318FB-04BB-CB85-6427-2A986708E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2875002"/>
            <a:ext cx="4123944" cy="1106424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662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7835674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3768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055295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21875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0403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7CBEB8-AFEF-362F-CB36-DC00FA4C6C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210772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98999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7BBF39B-2CCF-5E4D-0194-0AD3BDF678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8354" y="1536974"/>
            <a:ext cx="11603646" cy="5321023"/>
            <a:chOff x="588354" y="1536974"/>
            <a:chExt cx="11603646" cy="532102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2466C642-81BB-1C92-21FF-B679C51495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B3003A9-0770-68BE-19A9-09CA203BC6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30000"/>
                      </a14:imgEffect>
                    </a14:imgLayer>
                  </a14:imgProps>
                </a:ext>
              </a:extLst>
            </a:blip>
            <a:srcRect l="4826" t="22411" r="4762" b="10105"/>
            <a:stretch/>
          </p:blipFill>
          <p:spPr>
            <a:xfrm>
              <a:off x="588354" y="1536974"/>
              <a:ext cx="11023075" cy="4628042"/>
            </a:xfrm>
            <a:custGeom>
              <a:avLst/>
              <a:gdLst>
                <a:gd name="connsiteX0" fmla="*/ 91635 w 11023075"/>
                <a:gd name="connsiteY0" fmla="*/ 0 h 4628042"/>
                <a:gd name="connsiteX1" fmla="*/ 10931440 w 11023075"/>
                <a:gd name="connsiteY1" fmla="*/ 0 h 4628042"/>
                <a:gd name="connsiteX2" fmla="*/ 11023075 w 11023075"/>
                <a:gd name="connsiteY2" fmla="*/ 91635 h 4628042"/>
                <a:gd name="connsiteX3" fmla="*/ 11023075 w 11023075"/>
                <a:gd name="connsiteY3" fmla="*/ 4536407 h 4628042"/>
                <a:gd name="connsiteX4" fmla="*/ 10931440 w 11023075"/>
                <a:gd name="connsiteY4" fmla="*/ 4628042 h 4628042"/>
                <a:gd name="connsiteX5" fmla="*/ 91635 w 11023075"/>
                <a:gd name="connsiteY5" fmla="*/ 4628042 h 4628042"/>
                <a:gd name="connsiteX6" fmla="*/ 0 w 11023075"/>
                <a:gd name="connsiteY6" fmla="*/ 4536407 h 4628042"/>
                <a:gd name="connsiteX7" fmla="*/ 0 w 11023075"/>
                <a:gd name="connsiteY7" fmla="*/ 91635 h 4628042"/>
                <a:gd name="connsiteX8" fmla="*/ 91635 w 11023075"/>
                <a:gd name="connsiteY8" fmla="*/ 0 h 46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3075" h="4628042">
                  <a:moveTo>
                    <a:pt x="91635" y="0"/>
                  </a:moveTo>
                  <a:lnTo>
                    <a:pt x="10931440" y="0"/>
                  </a:lnTo>
                  <a:cubicBezTo>
                    <a:pt x="10982049" y="0"/>
                    <a:pt x="11023075" y="41026"/>
                    <a:pt x="11023075" y="91635"/>
                  </a:cubicBezTo>
                  <a:lnTo>
                    <a:pt x="11023075" y="4536407"/>
                  </a:lnTo>
                  <a:cubicBezTo>
                    <a:pt x="11023075" y="4587016"/>
                    <a:pt x="10982049" y="4628042"/>
                    <a:pt x="10931440" y="4628042"/>
                  </a:cubicBezTo>
                  <a:lnTo>
                    <a:pt x="91635" y="4628042"/>
                  </a:lnTo>
                  <a:cubicBezTo>
                    <a:pt x="41026" y="4628042"/>
                    <a:pt x="0" y="4587016"/>
                    <a:pt x="0" y="4536407"/>
                  </a:cubicBezTo>
                  <a:lnTo>
                    <a:pt x="0" y="91635"/>
                  </a:lnTo>
                  <a:cubicBezTo>
                    <a:pt x="0" y="41026"/>
                    <a:pt x="41026" y="0"/>
                    <a:pt x="91635" y="0"/>
                  </a:cubicBezTo>
                  <a:close/>
                </a:path>
              </a:pathLst>
            </a:custGeom>
          </p:spPr>
        </p:pic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957032CC-E913-585C-2740-1A385C6C40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8354" y="1536974"/>
              <a:ext cx="11023075" cy="4628042"/>
            </a:xfrm>
            <a:prstGeom prst="roundRect">
              <a:avLst>
                <a:gd name="adj" fmla="val 198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CB0F998-E7E2-A095-D39B-0E86B4536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5087758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5289E-6 3.30912E-6 L -2.95289E-6 0.01815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31643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98074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87271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98269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96673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601927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213901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51461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ow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0" y="3657600"/>
            <a:ext cx="12192000" cy="3200400"/>
          </a:xfrm>
          <a:gradFill flip="none" rotWithShape="1">
            <a:gsLst>
              <a:gs pos="4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</p:spPr>
        <p:txBody>
          <a:bodyPr lIns="585216" tIns="585216" rIns="585216" bIns="585216" anchor="b" anchorCtr="0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F619C2-B134-493A-AB9F-5DE39C929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09837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04">
          <p15:clr>
            <a:srgbClr val="5ACBF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-3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</p:spPr>
        <p:txBody>
          <a:bodyPr lIns="585216" tIns="585216" rIns="585216" bIns="585216" anchor="ctr">
            <a:noAutofit/>
          </a:bodyPr>
          <a:lstStyle>
            <a:lvl1pPr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894F6-B50F-43E1-83FC-4F2200B2F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8794338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3576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3E025C7-4683-B76E-54E7-D476805D9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584200" y="0"/>
            <a:chExt cx="12192000" cy="6858000"/>
          </a:xfrm>
        </p:grpSpPr>
        <p:pic>
          <p:nvPicPr>
            <p:cNvPr id="4" name="Picture 3" descr="A close-up of a spiral&#10;&#10;Description automatically generated">
              <a:extLst>
                <a:ext uri="{FF2B5EF4-FFF2-40B4-BE49-F238E27FC236}">
                  <a16:creationId xmlns:a16="http://schemas.microsoft.com/office/drawing/2014/main" id="{22F5BCBC-65CB-F2C5-F7E5-A49212343667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97" t="-471" b="16643"/>
            <a:stretch/>
          </p:blipFill>
          <p:spPr>
            <a:xfrm>
              <a:off x="58420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FCD74B7-1D41-A60C-A214-CA1C0CA51115}"/>
                </a:ext>
              </a:extLst>
            </p:cNvPr>
            <p:cNvSpPr/>
            <p:nvPr/>
          </p:nvSpPr>
          <p:spPr bwMode="auto">
            <a:xfrm rot="10800000">
              <a:off x="58420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" name="Rectangle: Rounded Corners 36">
            <a:extLst>
              <a:ext uri="{FF2B5EF4-FFF2-40B4-BE49-F238E27FC236}">
                <a16:creationId xmlns:a16="http://schemas.microsoft.com/office/drawing/2014/main" id="{180F8F63-158E-89DB-C7AC-13CFDF5E5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84200" y="1431734"/>
            <a:ext cx="11022013" cy="4486466"/>
          </a:xfrm>
          <a:prstGeom prst="roundRect">
            <a:avLst>
              <a:gd name="adj" fmla="val 2504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27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GB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8A3A76F-F5F1-8653-D613-F2BEA4959A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22313" y="1565588"/>
            <a:ext cx="10745788" cy="4218758"/>
          </a:xfrm>
          <a:prstGeom prst="roundRect">
            <a:avLst>
              <a:gd name="adj" fmla="val 2036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1D6FC8-DFA8-C5E4-12A0-5362355F421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1551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6 0.03888 L 2.08333E-6 4.07407E-6 " pathEditMode="relative" rAng="0" ptsTypes="AA">
                                      <p:cBhvr>
                                        <p:cTn id="9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2.08333E-6 0.03888 L 2.08333E-6 4.07407E-6 " pathEditMode="relative" rAng="0" ptsTypes="AA">
                                      <p:cBhvr>
                                        <p:cTn id="14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</p:bld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 bleed righ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A608AEF-BE66-4029-BA63-DA15E89C32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wrap="none" bIns="1554480" anchor="ctr">
            <a:noAutofit/>
          </a:bodyPr>
          <a:lstStyle>
            <a:lvl1pPr marL="0" indent="0" algn="ctr">
              <a:buNone/>
              <a:defRPr sz="1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33AC47-6988-4AF2-AB7A-F400B9B8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522720" y="0"/>
            <a:ext cx="5669280" cy="6858000"/>
          </a:xfrm>
          <a:gradFill flip="none" rotWithShape="1">
            <a:gsLst>
              <a:gs pos="50000">
                <a:srgbClr val="000000">
                  <a:alpha val="70000"/>
                </a:srgbClr>
              </a:gs>
              <a:gs pos="100000">
                <a:srgbClr val="000000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lIns="585216" tIns="585216" rIns="585216" bIns="585216" anchor="ctr">
            <a:noAutofit/>
          </a:bodyPr>
          <a:lstStyle>
            <a:lvl1pPr algn="r">
              <a:defRPr sz="3600" spc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9011D-E3B4-416F-9D7F-7A99AE49F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208108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7" pos="4105">
          <p15:clr>
            <a:srgbClr val="5ACBF0"/>
          </p15:clr>
        </p15:guide>
        <p15:guide id="8" orient="horz" pos="2160">
          <p15:clr>
            <a:srgbClr val="5ACBF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920511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-2381" y="2286000"/>
            <a:ext cx="12192000" cy="457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37160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73590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/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rgbClr val="000000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479829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7749445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3492484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290206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6114119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2617482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805401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3F94137-3261-83F1-7492-D3AA340CE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5B9D59D-4155-87C9-9D67-BEC295FDE850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EB4D3B0-C1C5-1DE0-DC94-9F5B5A6CAF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alphaModFix amt="8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" r="21355"/>
              <a:stretch/>
            </p:blipFill>
            <p:spPr>
              <a:xfrm>
                <a:off x="7327900" y="3559644"/>
                <a:ext cx="4864100" cy="3298356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773980F-CE02-5F1C-F9E9-ED3C2DBE2885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3D57493-6AEE-CAF9-A0D6-A7B976DC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0860" y="476250"/>
              <a:ext cx="7352720" cy="5905500"/>
            </a:xfrm>
            <a:prstGeom prst="roundRect">
              <a:avLst>
                <a:gd name="adj" fmla="val 279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A040112-C783-835D-38E9-40C8AEFF35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1399" y="585788"/>
              <a:ext cx="7131642" cy="5686424"/>
            </a:xfrm>
            <a:prstGeom prst="roundRect">
              <a:avLst>
                <a:gd name="adj" fmla="val 1787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9F0FE51-8DA0-08D1-6132-7054C7A368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2860359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34_1">
              <a:extLst>
                <a:ext uri="{FF2B5EF4-FFF2-40B4-BE49-F238E27FC236}">
                  <a16:creationId xmlns:a16="http://schemas.microsoft.com/office/drawing/2014/main" id="{7299EBE8-A623-623B-B58E-476AAA8E1B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841129"/>
              <a:ext cx="624256" cy="626604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7" name="Oval 34_1">
              <a:extLst>
                <a:ext uri="{FF2B5EF4-FFF2-40B4-BE49-F238E27FC236}">
                  <a16:creationId xmlns:a16="http://schemas.microsoft.com/office/drawing/2014/main" id="{FA2465BE-FBF9-599D-56FA-92BC8DF67EC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1978415"/>
              <a:ext cx="624256" cy="626604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1" name="Oval 34_1">
              <a:extLst>
                <a:ext uri="{FF2B5EF4-FFF2-40B4-BE49-F238E27FC236}">
                  <a16:creationId xmlns:a16="http://schemas.microsoft.com/office/drawing/2014/main" id="{99430433-71B4-AA48-6ED9-3BF67F59AA3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3115698"/>
              <a:ext cx="624256" cy="626604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4" name="Rectangle: Top Corners Rounded 39">
              <a:extLst>
                <a:ext uri="{FF2B5EF4-FFF2-40B4-BE49-F238E27FC236}">
                  <a16:creationId xmlns:a16="http://schemas.microsoft.com/office/drawing/2014/main" id="{0C424701-E77C-EA79-B291-BDB4C5DB5F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688" y="0"/>
              <a:ext cx="3771900" cy="6564313"/>
            </a:xfrm>
            <a:prstGeom prst="round2SameRect">
              <a:avLst>
                <a:gd name="adj1" fmla="val 0"/>
                <a:gd name="adj2" fmla="val 7286"/>
              </a:avLst>
            </a:prstGeom>
            <a:gradFill flip="none" rotWithShape="1">
              <a:gsLst>
                <a:gs pos="59000">
                  <a:srgbClr val="F7F7FA"/>
                </a:gs>
                <a:gs pos="100000">
                  <a:schemeClr val="bg2"/>
                </a:gs>
              </a:gsLst>
              <a:lin ang="162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pic>
          <p:nvPicPr>
            <p:cNvPr id="26" name="Picture 25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10FB088-21E5-EA5C-39FE-203F9E2A34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243" b="10085"/>
            <a:stretch/>
          </p:blipFill>
          <p:spPr>
            <a:xfrm flipH="1">
              <a:off x="293688" y="3059994"/>
              <a:ext cx="3424872" cy="3272962"/>
            </a:xfrm>
            <a:prstGeom prst="rect">
              <a:avLst/>
            </a:prstGeom>
          </p:spPr>
        </p:pic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AD16DEB-2304-9500-6B65-ED57E73248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1723074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4_1">
              <a:extLst>
                <a:ext uri="{FF2B5EF4-FFF2-40B4-BE49-F238E27FC236}">
                  <a16:creationId xmlns:a16="http://schemas.microsoft.com/office/drawing/2014/main" id="{9FDC5FED-917A-1477-A83A-87828586FF1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1897" y="4252983"/>
              <a:ext cx="624256" cy="626604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97D4B10-2D25-DC73-EF4D-CEFDA24366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3997643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34_1">
              <a:extLst>
                <a:ext uri="{FF2B5EF4-FFF2-40B4-BE49-F238E27FC236}">
                  <a16:creationId xmlns:a16="http://schemas.microsoft.com/office/drawing/2014/main" id="{B73D93B4-0234-553F-9E72-C8F7113C66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1897" y="5390269"/>
              <a:ext cx="624256" cy="626604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95588F98-E2D2-FC4D-22A8-A4C9FC9217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5134928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247ADE20-2B27-5CD3-16D9-091ADAB57C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582" y="1952208"/>
            <a:ext cx="3182112" cy="677108"/>
          </a:xfrm>
        </p:spPr>
        <p:txBody>
          <a:bodyPr anchor="ctr"/>
          <a:lstStyle>
            <a:lvl1pPr algn="ctr">
              <a:defRPr sz="4400">
                <a:gradFill>
                  <a:gsLst>
                    <a:gs pos="0">
                      <a:srgbClr val="31838E"/>
                    </a:gs>
                    <a:gs pos="100000">
                      <a:srgbClr val="0078D4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A656A5D-95BE-1B40-5D88-6A8721D86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9175" y="1031321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D04C44E6-57CB-D9B6-4238-3DCF4883AE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175" y="2168606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BF98F466-321C-C441-7F1E-59BF43EDD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175" y="3305889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E92F6322-280D-45C2-5263-6B5FFB4EEF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175" y="4443175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58" name="Text Placeholder 16">
            <a:extLst>
              <a:ext uri="{FF2B5EF4-FFF2-40B4-BE49-F238E27FC236}">
                <a16:creationId xmlns:a16="http://schemas.microsoft.com/office/drawing/2014/main" id="{55919783-8D5E-754A-40AC-6219464CB2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9175" y="5580460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28307042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rgbClr val="F7F7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ADB0D8C-5046-EC06-5442-050BDE13DB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 descr="A blue and white wavy design&#10;&#10;Description automatically generated">
              <a:extLst>
                <a:ext uri="{FF2B5EF4-FFF2-40B4-BE49-F238E27FC236}">
                  <a16:creationId xmlns:a16="http://schemas.microsoft.com/office/drawing/2014/main" id="{DF724F75-6E52-6BE5-DCAD-DFEC3F56F5D4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A10C9C8-1A0F-7739-FECF-D937B5E704DB}"/>
                </a:ext>
              </a:extLst>
            </p:cNvPr>
            <p:cNvSpPr/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" name="Rounded Rectangle 64">
            <a:extLst>
              <a:ext uri="{FF2B5EF4-FFF2-40B4-BE49-F238E27FC236}">
                <a16:creationId xmlns:a16="http://schemas.microsoft.com/office/drawing/2014/main" id="{0F791BA7-3F63-A7FD-BCD6-C65CB54D8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525781" y="1314450"/>
            <a:ext cx="11142494" cy="5249808"/>
          </a:xfrm>
          <a:prstGeom prst="roundRect">
            <a:avLst>
              <a:gd name="adj" fmla="val 2222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27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9351467-46C5-34C1-1774-DCB3AE271A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88963" y="1379034"/>
            <a:ext cx="11017250" cy="5120640"/>
          </a:xfrm>
          <a:prstGeom prst="roundRect">
            <a:avLst>
              <a:gd name="adj" fmla="val 1361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solidFill>
                <a:schemeClr val="accent6">
                  <a:lumMod val="10000"/>
                </a:schemeClr>
              </a:solidFill>
              <a:latin typeface="+mj-lt"/>
              <a:cs typeface="Segoe Sans Display Semibold" pitchFamily="2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87271-B96E-FDDA-2CA9-064F66AF9B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80201"/>
            <a:ext cx="11018520" cy="215444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4"/>
                </a:solidFill>
                <a:latin typeface="Segoe UI Variable Small Light" pitchFamily="2" charset="0"/>
              </a:defRPr>
            </a:lvl1pPr>
          </a:lstStyle>
          <a:p>
            <a:pPr lvl="0"/>
            <a:r>
              <a:rPr lang="en-US"/>
              <a:t>Lorem Ipsum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24D304-9540-E41A-6BE3-9DE754C33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656696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716743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1802251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5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9560348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94497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2469720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62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2255168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299994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7637294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609950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rgbClr val="F7F7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DADB0D8C-5046-EC06-5442-050BDE13DB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Picture 11" descr="A blue and white wavy design&#10;&#10;Description automatically generated">
              <a:extLst>
                <a:ext uri="{FF2B5EF4-FFF2-40B4-BE49-F238E27FC236}">
                  <a16:creationId xmlns:a16="http://schemas.microsoft.com/office/drawing/2014/main" id="{DF724F75-6E52-6BE5-DCAD-DFEC3F56F5D4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A10C9C8-1A0F-7739-FECF-D937B5E704DB}"/>
                </a:ext>
              </a:extLst>
            </p:cNvPr>
            <p:cNvSpPr/>
            <p:nvPr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01DD2F1-DD48-A6DD-6A27-85C17CAD7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87271-B96E-FDDA-2CA9-064F66AF9B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80201"/>
            <a:ext cx="11018520" cy="215444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4"/>
                </a:solidFill>
                <a:latin typeface="Segoe UI Variable Small Light" pitchFamily="2" charset="0"/>
              </a:defRPr>
            </a:lvl1pPr>
          </a:lstStyle>
          <a:p>
            <a:pPr lvl="0"/>
            <a:r>
              <a:rPr lang="en-US"/>
              <a:t>Lorem Ipsum:</a:t>
            </a:r>
          </a:p>
        </p:txBody>
      </p:sp>
    </p:spTree>
    <p:extLst>
      <p:ext uri="{BB962C8B-B14F-4D97-AF65-F5344CB8AC3E}">
        <p14:creationId xmlns:p14="http://schemas.microsoft.com/office/powerpoint/2010/main" val="463905989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blue and white background&#10;&#10;AI-generated content may be incorrect.">
            <a:extLst>
              <a:ext uri="{FF2B5EF4-FFF2-40B4-BE49-F238E27FC236}">
                <a16:creationId xmlns:a16="http://schemas.microsoft.com/office/drawing/2014/main" id="{EF6AFBF2-2B12-DE48-4593-D9EC9D1F4E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9" b="19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62179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99CEE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21792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95317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77823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246221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42008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blue background&#10;&#10;AI-generated content may be incorrect.">
            <a:extLst>
              <a:ext uri="{FF2B5EF4-FFF2-40B4-BE49-F238E27FC236}">
                <a16:creationId xmlns:a16="http://schemas.microsoft.com/office/drawing/2014/main" id="{A58218D5-82C5-1FE5-97A9-85357DBC61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4" b="2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667512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rgbClr val="99CEE7"/>
                </a:solidFill>
                <a:effectLst/>
                <a:latin typeface="Segoe Sans Display Semibold" pitchFamily="2" charset="0"/>
                <a:ea typeface="+mn-ea"/>
                <a:cs typeface="Segoe Sans Display Semibold" pitchFamily="2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33693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8701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81494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4986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39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63871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530C24-163F-15BF-3D01-A8CA8BF268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638314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eme 1 - Dark blank">
    <p:bg>
      <p:bgPr>
        <a:solidFill>
          <a:srgbClr val="1110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6714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BE2727-F3AF-602F-3BB0-994E4AD88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852072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4698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3097490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pt customer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A4BBDD-B792-DC41-A56F-1804870639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0B9A9F7-A151-D732-18F9-E2AD78D6E34D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ED970658-6401-2423-87C3-21939E4EDC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BD00263B-4AF2-C1ED-95F3-235620FBA9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Rectangle: Top Corners Rounded 32">
            <a:extLst>
              <a:ext uri="{FF2B5EF4-FFF2-40B4-BE49-F238E27FC236}">
                <a16:creationId xmlns:a16="http://schemas.microsoft.com/office/drawing/2014/main" id="{2D68DA25-27A7-C372-ED6B-5D63684D7B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261619" y="445706"/>
            <a:ext cx="407205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1855194-B23B-39FD-2D30-0982796B5F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52537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8E6A8C8-79E2-E12A-F7DF-9D4B528C5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3471902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2A810930-06E7-4769-DA24-2B588532E9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253968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D4622D5-5D5D-BB87-189E-08B752A8DE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380240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29BAB197-26FD-B1B1-AFB6-817510F4F7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06512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2D4003-D56F-7BFA-EDC4-E580FC20FD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712839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CDDCDA9A-1B8B-FB1A-878A-5E43987A93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817298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7F1762C-811F-9E1A-779D-87DD488025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05081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B0D6F9B-31C5-75C4-290C-1D0F6395903B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16" name="Picture Placeholder 3">
              <a:extLst>
                <a:ext uri="{FF2B5EF4-FFF2-40B4-BE49-F238E27FC236}">
                  <a16:creationId xmlns:a16="http://schemas.microsoft.com/office/drawing/2014/main" id="{D267EECF-A40E-B1C6-BA00-7F529B7C96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17" name="Rectangle: Rounded Corners 36">
              <a:extLst>
                <a:ext uri="{FF2B5EF4-FFF2-40B4-BE49-F238E27FC236}">
                  <a16:creationId xmlns:a16="http://schemas.microsoft.com/office/drawing/2014/main" id="{1E70882C-E12B-ECF0-C848-727D515BFB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18" name="Rectangle: Top Corners Rounded 6">
              <a:extLst>
                <a:ext uri="{FF2B5EF4-FFF2-40B4-BE49-F238E27FC236}">
                  <a16:creationId xmlns:a16="http://schemas.microsoft.com/office/drawing/2014/main" id="{B174070F-8242-6625-666B-BF5E602F4C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902ED85A-5F6D-7C9F-607F-8E502606674C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E4231BB-026E-1BB4-6C60-37367AC16FDA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1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F655FC39-1950-EEDF-6A9C-4DA77AE257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2" name="Graphic 16">
              <a:hlinkClick r:id="rId6"/>
              <a:extLst>
                <a:ext uri="{FF2B5EF4-FFF2-40B4-BE49-F238E27FC236}">
                  <a16:creationId xmlns:a16="http://schemas.microsoft.com/office/drawing/2014/main" id="{6DFC3BE9-CD23-ACC1-96DF-9A73594DAE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B44D0500-8962-42F0-DA61-1F14C08C37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04EE8478-93CC-2F11-E72C-88CCC5661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8386C725-C841-927A-F189-638A049A0E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6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154381091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pt customer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19EA490-8618-BDC3-03E5-1A6E2D7E9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390C1F8-4312-E7F3-C5CD-F30F379A3836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BC314B76-9C46-35EC-4AA0-2256E51176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AF873A90-3140-2F4D-DC45-F49943D4C4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Rectangle: Top Corners Rounded 32">
            <a:extLst>
              <a:ext uri="{FF2B5EF4-FFF2-40B4-BE49-F238E27FC236}">
                <a16:creationId xmlns:a16="http://schemas.microsoft.com/office/drawing/2014/main" id="{D14FA08C-4EF3-FA3E-6C82-1E0C79489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154580" y="402231"/>
            <a:ext cx="428613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F309D6E-4FD9-98E1-BA35-92DD5C0717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240546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015261C-7EB9-AE2D-00BB-E35ECE16F2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3058208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ABCD589-6251-D4E8-9C8E-9D1F2D36DE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2087" y="2254855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57ADEAF-F9D6-3C14-CB6C-2EC5950270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436027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5E9BE01-2C20-3869-A7D7-4EDC2EDC05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41298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E0C8A2F-6F89-0A15-C9F0-FCC1878C1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5163626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B22703A7-81C7-C779-07AF-424C7D2CAA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434596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0E1FCFF-77DC-9586-F6F7-5955E3E02E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39867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AD7F18B-2CC1-1878-E467-AD079ABBA6F1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16" name="Picture Placeholder 3">
              <a:extLst>
                <a:ext uri="{FF2B5EF4-FFF2-40B4-BE49-F238E27FC236}">
                  <a16:creationId xmlns:a16="http://schemas.microsoft.com/office/drawing/2014/main" id="{2DDCAF7D-82E6-13D9-CE9D-BE9FD5BEF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17" name="Rectangle: Rounded Corners 36">
              <a:extLst>
                <a:ext uri="{FF2B5EF4-FFF2-40B4-BE49-F238E27FC236}">
                  <a16:creationId xmlns:a16="http://schemas.microsoft.com/office/drawing/2014/main" id="{BCBF771E-6683-40ED-8225-EB01F60D4A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18" name="Rectangle: Top Corners Rounded 6">
              <a:extLst>
                <a:ext uri="{FF2B5EF4-FFF2-40B4-BE49-F238E27FC236}">
                  <a16:creationId xmlns:a16="http://schemas.microsoft.com/office/drawing/2014/main" id="{00349CC1-1559-3D34-7118-33CCB2C199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2EE68B26-C8C3-868E-DB68-71F8A5E3FF2A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55899BD-8CBF-1C19-71D6-ED9DFD6DB5B2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1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BC64890C-1D34-FC02-A76B-A8731AA163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2" name="Graphic 16">
              <a:hlinkClick r:id="rId6"/>
              <a:extLst>
                <a:ext uri="{FF2B5EF4-FFF2-40B4-BE49-F238E27FC236}">
                  <a16:creationId xmlns:a16="http://schemas.microsoft.com/office/drawing/2014/main" id="{74BF2C73-C425-1549-AC15-42AA197B2D0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8D420998-3304-B044-FBD3-9DBF69071F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F2DC0932-A543-6139-A6B1-EF3DB690D3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4F30EC6E-06C3-7EB3-A6EC-67663070E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6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D3A37600-08C0-264B-20B7-E8A3D236B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2087" y="3307564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26CDCC5-E083-FBED-EE4C-65AAA9F5C9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293255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08FFD53-4158-7522-1E01-3F02D6D00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110917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862344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AC10587-3139-813D-FBE9-2DF33E9BEC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BDD249F-13FC-82E9-835C-B85B250C22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E8E0BF4-AA58-0C9A-6979-81FC44AED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7B3F5920-F053-AF09-9535-93C621787D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0800000" flipH="1" flipV="1">
              <a:off x="572647" y="1536977"/>
              <a:ext cx="3645020" cy="4403170"/>
            </a:xfrm>
            <a:prstGeom prst="roundRect">
              <a:avLst>
                <a:gd name="adj" fmla="val 3854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effectLst/>
                <a:uLnTx/>
                <a:uFillTx/>
                <a:latin typeface="Segoe Sans Display Semibold" pitchFamily="2" charset="0"/>
                <a:ea typeface="+mn-ea"/>
                <a:cs typeface="Segoe Sans Display Semibold" pitchFamily="2" charset="0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D02AE6D-D5C1-E95A-2D2E-FBE2B9CB77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0800000" flipH="1" flipV="1">
              <a:off x="4428903" y="1536977"/>
              <a:ext cx="7174483" cy="4403170"/>
            </a:xfrm>
            <a:prstGeom prst="roundRect">
              <a:avLst>
                <a:gd name="adj" fmla="val 2989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413B1B5-900A-4ABA-DFB9-219C2BE7D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372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D09EA0E5-B03F-1523-68E5-5097224A4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3F2502F-654E-0747-57A7-F9F623456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A809D1E4-E3C3-FA64-49E0-8C972CB579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097" t="-471" b="16643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B908AC18-017E-FCDB-BE40-11B4D32A89E7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C0FE920-4C8B-22E5-E004-1524C1896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2832100"/>
              <a:ext cx="11018520" cy="27906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4ACC00B-574C-8287-F96C-4D727A9B6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2948058"/>
              <a:ext cx="10804396" cy="2558738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FAEDA99-68B5-322C-C81A-9868ECA7B4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3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A5945DC-3FD2-D053-D632-9E400E26BF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1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A49D353-8E90-625F-7D95-45A31BC9AC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1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81CCDC2-47B5-2844-578C-EDF604D75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449" y="928832"/>
            <a:ext cx="11087100" cy="738664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05A93F-4B9F-F168-F47D-204BD4B4FE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1805894"/>
            <a:ext cx="11087100" cy="430887"/>
          </a:xfrm>
        </p:spPr>
        <p:txBody>
          <a:bodyPr/>
          <a:lstStyle>
            <a:lvl1pPr marL="0" indent="0" algn="ctr">
              <a:buNone/>
              <a:defRPr>
                <a:gradFill>
                  <a:gsLst>
                    <a:gs pos="100000">
                      <a:srgbClr val="0078D4"/>
                    </a:gs>
                    <a:gs pos="56000">
                      <a:srgbClr val="31838E"/>
                    </a:gs>
                  </a:gsLst>
                  <a:lin ang="0" scaled="1"/>
                </a:gradFill>
                <a:latin typeface="Segoe Sans Display Semilight" pitchFamily="2" charset="0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CFFD686-DC89-9E54-07F1-4FDD843123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3326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3A0CEF-15EA-4F25-02E1-949287E47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4424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F268C7BD-0316-6FEE-EB12-4133C67B9F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5523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1238FE33-2976-5504-46ED-B7F8B2A67C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26623" y="3950427"/>
            <a:ext cx="2445096" cy="553998"/>
          </a:xfr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06170138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57B2CBE8-FDFC-9BB1-C4FE-0766EFF6FA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10097475"/>
            <a:chOff x="0" y="0"/>
            <a:chExt cx="12192000" cy="10097475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744B96A6-18A9-F27D-BC82-FD95B47ED554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t="36328" b="28068"/>
            <a:stretch/>
          </p:blipFill>
          <p:spPr>
            <a:xfrm rot="10800000"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DEF3D33E-3DA2-FC2F-449B-18A73E7633DC}"/>
                </a:ext>
              </a:extLst>
            </p:cNvPr>
            <p:cNvSpPr/>
            <p:nvPr userDrawn="1"/>
          </p:nvSpPr>
          <p:spPr bwMode="auto">
            <a:xfrm>
              <a:off x="3436599" y="4681909"/>
              <a:ext cx="5188682" cy="2166731"/>
            </a:xfrm>
            <a:custGeom>
              <a:avLst/>
              <a:gdLst>
                <a:gd name="connsiteX0" fmla="*/ 2594341 w 5188682"/>
                <a:gd name="connsiteY0" fmla="*/ 0 h 2166731"/>
                <a:gd name="connsiteX1" fmla="*/ 5179569 w 5188682"/>
                <a:gd name="connsiteY1" fmla="*/ 2107022 h 2166731"/>
                <a:gd name="connsiteX2" fmla="*/ 5188682 w 5188682"/>
                <a:gd name="connsiteY2" fmla="*/ 2166731 h 2166731"/>
                <a:gd name="connsiteX3" fmla="*/ 0 w 5188682"/>
                <a:gd name="connsiteY3" fmla="*/ 2166731 h 2166731"/>
                <a:gd name="connsiteX4" fmla="*/ 9113 w 5188682"/>
                <a:gd name="connsiteY4" fmla="*/ 2107022 h 2166731"/>
                <a:gd name="connsiteX5" fmla="*/ 2594341 w 5188682"/>
                <a:gd name="connsiteY5" fmla="*/ 0 h 216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8682" h="2166731">
                  <a:moveTo>
                    <a:pt x="2594341" y="0"/>
                  </a:moveTo>
                  <a:cubicBezTo>
                    <a:pt x="3869558" y="0"/>
                    <a:pt x="4933507" y="904547"/>
                    <a:pt x="5179569" y="2107022"/>
                  </a:cubicBezTo>
                  <a:lnTo>
                    <a:pt x="5188682" y="2166731"/>
                  </a:lnTo>
                  <a:lnTo>
                    <a:pt x="0" y="2166731"/>
                  </a:lnTo>
                  <a:lnTo>
                    <a:pt x="9113" y="2107022"/>
                  </a:lnTo>
                  <a:cubicBezTo>
                    <a:pt x="255175" y="904547"/>
                    <a:pt x="1319124" y="0"/>
                    <a:pt x="2594341" y="0"/>
                  </a:cubicBezTo>
                  <a:close/>
                </a:path>
              </a:pathLst>
            </a:custGeom>
            <a:gradFill flip="none" rotWithShape="1">
              <a:gsLst>
                <a:gs pos="54000">
                  <a:srgbClr val="EDF0F6">
                    <a:alpha val="10000"/>
                  </a:srgbClr>
                </a:gs>
                <a:gs pos="100000">
                  <a:srgbClr val="FFFFFF">
                    <a:alpha val="7288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gradFill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3600000" scaled="0"/>
              </a:gradFill>
              <a:headEnd type="none" w="med" len="med"/>
              <a:tailEnd type="none" w="med" len="med"/>
            </a:ln>
            <a:effectLst>
              <a:outerShdw blurRad="50800" dist="50800" dir="5400000" algn="ctr" rotWithShape="0">
                <a:srgbClr val="000000">
                  <a:alpha val="31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172C55F-7F21-71C1-0ADC-D60598BAD32B}"/>
                </a:ext>
              </a:extLst>
            </p:cNvPr>
            <p:cNvGrpSpPr/>
            <p:nvPr userDrawn="1"/>
          </p:nvGrpSpPr>
          <p:grpSpPr>
            <a:xfrm>
              <a:off x="3024358" y="4279454"/>
              <a:ext cx="5797822" cy="5818021"/>
              <a:chOff x="2971805" y="4303328"/>
              <a:chExt cx="5797822" cy="5818021"/>
            </a:xfrm>
          </p:grpSpPr>
          <p:sp>
            <p:nvSpPr>
              <p:cNvPr id="7" name="Arc 6">
                <a:extLst>
                  <a:ext uri="{FF2B5EF4-FFF2-40B4-BE49-F238E27FC236}">
                    <a16:creationId xmlns:a16="http://schemas.microsoft.com/office/drawing/2014/main" id="{70EFB82A-FB2D-F53C-0194-572FDB6C3412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2971805" y="4323527"/>
                <a:ext cx="5797822" cy="5797822"/>
              </a:xfrm>
              <a:prstGeom prst="arc">
                <a:avLst>
                  <a:gd name="adj1" fmla="val 11203442"/>
                  <a:gd name="adj2" fmla="val 15972832"/>
                </a:avLst>
              </a:prstGeom>
              <a:ln w="57150">
                <a:gradFill flip="none" rotWithShape="1">
                  <a:gsLst>
                    <a:gs pos="74000">
                      <a:schemeClr val="bg1"/>
                    </a:gs>
                    <a:gs pos="0">
                      <a:srgbClr val="96D3AA"/>
                    </a:gs>
                    <a:gs pos="22000">
                      <a:srgbClr val="D4EC8E"/>
                    </a:gs>
                  </a:gsLst>
                  <a:lin ang="5400000" scaled="1"/>
                  <a:tileRect/>
                </a:gradFill>
                <a:headEnd type="none"/>
                <a:tailEnd type="none"/>
              </a:ln>
              <a:effectLst>
                <a:outerShdw blurRad="101600" dist="38100" dir="2700000" algn="tl" rotWithShape="0">
                  <a:schemeClr val="accent3">
                    <a:lumMod val="50000"/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33417F6B-8AA6-011E-3459-26B4FF96231D}"/>
                  </a:ext>
                </a:extLst>
              </p:cNvPr>
              <p:cNvSpPr/>
              <p:nvPr userDrawn="1"/>
            </p:nvSpPr>
            <p:spPr bwMode="auto">
              <a:xfrm>
                <a:off x="3912299" y="4921284"/>
                <a:ext cx="182623" cy="182623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11B8184-3236-3955-37F5-3F4B98D284E7}"/>
                  </a:ext>
                </a:extLst>
              </p:cNvPr>
              <p:cNvSpPr/>
              <p:nvPr userDrawn="1"/>
            </p:nvSpPr>
            <p:spPr bwMode="auto">
              <a:xfrm>
                <a:off x="3054426" y="6155640"/>
                <a:ext cx="182623" cy="182623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A0C1C10-5E0E-8102-ED3B-1F53AA11BC6F}"/>
                  </a:ext>
                </a:extLst>
              </p:cNvPr>
              <p:cNvSpPr/>
              <p:nvPr userDrawn="1"/>
            </p:nvSpPr>
            <p:spPr bwMode="auto">
              <a:xfrm>
                <a:off x="5140161" y="4303328"/>
                <a:ext cx="182623" cy="182623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E468630-E6B7-904B-EC1F-320F2D04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820604"/>
              <a:ext cx="3653952" cy="152167"/>
              <a:chOff x="0" y="4046193"/>
              <a:chExt cx="3653952" cy="152167"/>
            </a:xfrm>
            <a:effectLst>
              <a:outerShdw blurRad="165100" dist="38100" dir="2700000" algn="tl" rotWithShape="0">
                <a:schemeClr val="accent3">
                  <a:lumMod val="50000"/>
                  <a:alpha val="28000"/>
                </a:schemeClr>
              </a:outerShdw>
            </a:effectLst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68655D6-79C0-E38A-8F64-C9E1F64B43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017255C-A7C9-2E7C-921E-956C7106363D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145CE734-AF0C-B6AB-AE16-F2F876428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167518D5-C4C0-A7A6-FC85-4AD4CAE8A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6CF91D53-7D11-01EC-A06A-26E50A89B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4" name="MS logo white - EMF" descr="Microsoft logo white text version">
              <a:extLst>
                <a:ext uri="{FF2B5EF4-FFF2-40B4-BE49-F238E27FC236}">
                  <a16:creationId xmlns:a16="http://schemas.microsoft.com/office/drawing/2014/main" id="{88375748-275D-5C36-977C-87AC454336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245" cy="292608"/>
            </a:xfrm>
            <a:prstGeom prst="rect">
              <a:avLst/>
            </a:prstGeom>
          </p:spPr>
        </p:pic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264878"/>
            <a:ext cx="5130800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bg1"/>
                </a:solidFill>
                <a:latin typeface="+mj-lt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2312FAA-5B4A-C15C-02BB-37F5A78234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4199" y="4173876"/>
            <a:ext cx="3069752" cy="369332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4199" y="4767395"/>
            <a:ext cx="3069752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bg1"/>
                </a:solidFill>
                <a:latin typeface="+mn-lt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ln w="6350">
            <a:noFill/>
          </a:ln>
          <a:effectLst>
            <a:outerShdw blurRad="215776" dist="38100" dir="13500000" algn="br" rotWithShape="0">
              <a:schemeClr val="tx1">
                <a:lumMod val="90000"/>
                <a:lumOff val="10000"/>
                <a:alpha val="52000"/>
              </a:schemeClr>
            </a:outerShdw>
          </a:effectLst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6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2C1E5E-6ECF-45B7-5495-EC89EE24A6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36354E9-B978-EB05-0A59-36AD7ED84499}"/>
                </a:ext>
              </a:extLst>
            </p:cNvPr>
            <p:cNvPicPr/>
            <p:nvPr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243" b="17593"/>
            <a:stretch/>
          </p:blipFill>
          <p:spPr>
            <a:xfrm>
              <a:off x="4361842" y="0"/>
              <a:ext cx="7830158" cy="6858000"/>
            </a:xfrm>
            <a:prstGeom prst="rect">
              <a:avLst/>
            </a:prstGeom>
          </p:spPr>
        </p:pic>
        <p:pic>
          <p:nvPicPr>
            <p:cNvPr id="5" name="Picture Placeholder 4" descr="A close-up of a blue and white wavy paper&#10;&#10;Description automatically generated">
              <a:extLst>
                <a:ext uri="{FF2B5EF4-FFF2-40B4-BE49-F238E27FC236}">
                  <a16:creationId xmlns:a16="http://schemas.microsoft.com/office/drawing/2014/main" id="{97A4DA08-AF60-F644-0346-51773272C007}"/>
                </a:ext>
              </a:extLst>
            </p:cNvPr>
            <p:cNvPicPr/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5586" t="16389" r="7468" b="16389"/>
            <a:stretch/>
          </p:blipFill>
          <p:spPr>
            <a:xfrm>
              <a:off x="0" y="1123950"/>
              <a:ext cx="11606784" cy="4610100"/>
            </a:xfrm>
            <a:custGeom>
              <a:avLst/>
              <a:gdLst>
                <a:gd name="connsiteX0" fmla="*/ 0 w 11606784"/>
                <a:gd name="connsiteY0" fmla="*/ 0 h 4610100"/>
                <a:gd name="connsiteX1" fmla="*/ 11378354 w 11606784"/>
                <a:gd name="connsiteY1" fmla="*/ 0 h 4610100"/>
                <a:gd name="connsiteX2" fmla="*/ 11606784 w 11606784"/>
                <a:gd name="connsiteY2" fmla="*/ 228430 h 4610100"/>
                <a:gd name="connsiteX3" fmla="*/ 11606784 w 11606784"/>
                <a:gd name="connsiteY3" fmla="*/ 4381670 h 4610100"/>
                <a:gd name="connsiteX4" fmla="*/ 11378354 w 11606784"/>
                <a:gd name="connsiteY4" fmla="*/ 4610100 h 4610100"/>
                <a:gd name="connsiteX5" fmla="*/ 0 w 11606784"/>
                <a:gd name="connsiteY5" fmla="*/ 4610100 h 461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06784" h="4610100">
                  <a:moveTo>
                    <a:pt x="0" y="0"/>
                  </a:moveTo>
                  <a:lnTo>
                    <a:pt x="11378354" y="0"/>
                  </a:lnTo>
                  <a:cubicBezTo>
                    <a:pt x="11504512" y="0"/>
                    <a:pt x="11606784" y="102272"/>
                    <a:pt x="11606784" y="228430"/>
                  </a:cubicBezTo>
                  <a:lnTo>
                    <a:pt x="11606784" y="4381670"/>
                  </a:lnTo>
                  <a:cubicBezTo>
                    <a:pt x="11606784" y="4507828"/>
                    <a:pt x="11504512" y="4610100"/>
                    <a:pt x="11378354" y="4610100"/>
                  </a:cubicBezTo>
                  <a:lnTo>
                    <a:pt x="0" y="4610100"/>
                  </a:lnTo>
                  <a:close/>
                </a:path>
              </a:pathLst>
            </a:custGeom>
          </p:spPr>
        </p:pic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308CE064-53F1-211A-AD50-ACE17E584EFA}"/>
                </a:ext>
              </a:extLst>
            </p:cNvPr>
            <p:cNvSpPr/>
            <p:nvPr/>
          </p:nvSpPr>
          <p:spPr bwMode="auto">
            <a:xfrm rot="5400000">
              <a:off x="3498057" y="-2374107"/>
              <a:ext cx="4610100" cy="11606213"/>
            </a:xfrm>
            <a:prstGeom prst="round2SameRect">
              <a:avLst>
                <a:gd name="adj1" fmla="val 4955"/>
                <a:gd name="adj2" fmla="val 0"/>
              </a:avLst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90BA6E-74AC-337A-DB4D-0023F9F885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88" y="2875001"/>
            <a:ext cx="10196512" cy="1107996"/>
          </a:xfrm>
        </p:spPr>
        <p:txBody>
          <a:bodyPr lIns="1188720" tIns="0" rIns="0" bIns="0" anchor="ctr"/>
          <a:lstStyle>
            <a:lvl1pPr>
              <a:defRPr/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5A41A5-74AC-E339-F0A4-B1C933D2ED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5788" y="3034990"/>
            <a:ext cx="785066" cy="788018"/>
          </a:xfrm>
          <a:prstGeom prst="ellipse">
            <a:avLst/>
          </a:prstGeom>
          <a:solidFill>
            <a:schemeClr val="bg1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3600" dirty="0">
                <a:ln w="3175">
                  <a:noFill/>
                </a:ln>
                <a:gradFill flip="none" rotWithShape="1">
                  <a:gsLst>
                    <a:gs pos="96000">
                      <a:srgbClr val="0078D4"/>
                    </a:gs>
                    <a:gs pos="14000">
                      <a:srgbClr val="3897A3">
                        <a:lumMod val="87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ea typeface="+mj-lt"/>
                <a:cs typeface="Segoe Sans Display Semibold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51576243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loud Title Blu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B8B12963-80B3-F2A7-5466-279104F69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8"/>
            <a:ext cx="8822180" cy="9511687"/>
            <a:chOff x="0" y="585788"/>
            <a:chExt cx="8822180" cy="951168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02B2F5D-CBF1-3A5A-DD7C-797584088514}"/>
                </a:ext>
              </a:extLst>
            </p:cNvPr>
            <p:cNvGrpSpPr/>
            <p:nvPr userDrawn="1"/>
          </p:nvGrpSpPr>
          <p:grpSpPr>
            <a:xfrm>
              <a:off x="3024358" y="4249958"/>
              <a:ext cx="5797822" cy="5847517"/>
              <a:chOff x="2971805" y="4273832"/>
              <a:chExt cx="5797822" cy="5847517"/>
            </a:xfrm>
          </p:grpSpPr>
          <p:sp>
            <p:nvSpPr>
              <p:cNvPr id="20" name="Freeform: Shape 4">
                <a:extLst>
                  <a:ext uri="{FF2B5EF4-FFF2-40B4-BE49-F238E27FC236}">
                    <a16:creationId xmlns:a16="http://schemas.microsoft.com/office/drawing/2014/main" id="{57428AC8-904C-EC02-D770-3F1E382C2256}"/>
                  </a:ext>
                </a:extLst>
              </p:cNvPr>
              <p:cNvSpPr/>
              <p:nvPr userDrawn="1"/>
            </p:nvSpPr>
            <p:spPr bwMode="auto">
              <a:xfrm>
                <a:off x="3384046" y="4705783"/>
                <a:ext cx="5188682" cy="2166731"/>
              </a:xfrm>
              <a:custGeom>
                <a:avLst/>
                <a:gdLst>
                  <a:gd name="connsiteX0" fmla="*/ 2594341 w 5188682"/>
                  <a:gd name="connsiteY0" fmla="*/ 0 h 2166731"/>
                  <a:gd name="connsiteX1" fmla="*/ 5179569 w 5188682"/>
                  <a:gd name="connsiteY1" fmla="*/ 2107022 h 2166731"/>
                  <a:gd name="connsiteX2" fmla="*/ 5188682 w 5188682"/>
                  <a:gd name="connsiteY2" fmla="*/ 2166731 h 2166731"/>
                  <a:gd name="connsiteX3" fmla="*/ 0 w 5188682"/>
                  <a:gd name="connsiteY3" fmla="*/ 2166731 h 2166731"/>
                  <a:gd name="connsiteX4" fmla="*/ 9113 w 5188682"/>
                  <a:gd name="connsiteY4" fmla="*/ 2107022 h 2166731"/>
                  <a:gd name="connsiteX5" fmla="*/ 2594341 w 5188682"/>
                  <a:gd name="connsiteY5" fmla="*/ 0 h 2166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88682" h="2166731">
                    <a:moveTo>
                      <a:pt x="2594341" y="0"/>
                    </a:moveTo>
                    <a:cubicBezTo>
                      <a:pt x="3869558" y="0"/>
                      <a:pt x="4933507" y="904547"/>
                      <a:pt x="5179569" y="2107022"/>
                    </a:cubicBezTo>
                    <a:lnTo>
                      <a:pt x="5188682" y="2166731"/>
                    </a:lnTo>
                    <a:lnTo>
                      <a:pt x="0" y="2166731"/>
                    </a:lnTo>
                    <a:lnTo>
                      <a:pt x="9113" y="2107022"/>
                    </a:lnTo>
                    <a:cubicBezTo>
                      <a:pt x="255175" y="904547"/>
                      <a:pt x="1319124" y="0"/>
                      <a:pt x="2594341" y="0"/>
                    </a:cubicBezTo>
                    <a:close/>
                  </a:path>
                </a:pathLst>
              </a:custGeom>
              <a:gradFill flip="none" rotWithShape="1">
                <a:gsLst>
                  <a:gs pos="54000">
                    <a:srgbClr val="EDF0F6">
                      <a:alpha val="10000"/>
                    </a:srgbClr>
                  </a:gs>
                  <a:gs pos="100000">
                    <a:srgbClr val="FFFFFF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22225"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3600000" scaled="0"/>
                </a:gradFill>
                <a:headEnd type="none" w="med" len="med"/>
                <a:tailEnd type="none" w="med" len="med"/>
              </a:ln>
              <a:effectLst>
                <a:outerShdw blurRad="50800" dist="50800" dir="5400000" algn="ctr" rotWithShape="0">
                  <a:srgbClr val="000000">
                    <a:alpha val="31000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686FB4A9-0235-3CCE-57D2-69B567A042C0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2971805" y="4323527"/>
                <a:ext cx="5797822" cy="5797822"/>
              </a:xfrm>
              <a:prstGeom prst="arc">
                <a:avLst>
                  <a:gd name="adj1" fmla="val 11227967"/>
                  <a:gd name="adj2" fmla="val 15972832"/>
                </a:avLst>
              </a:prstGeom>
              <a:ln w="57150">
                <a:gradFill flip="none" rotWithShape="1">
                  <a:gsLst>
                    <a:gs pos="74000">
                      <a:schemeClr val="bg1"/>
                    </a:gs>
                    <a:gs pos="0">
                      <a:srgbClr val="96D3AA"/>
                    </a:gs>
                    <a:gs pos="22000">
                      <a:srgbClr val="D4EC8E"/>
                    </a:gs>
                  </a:gsLst>
                  <a:lin ang="5400000" scaled="1"/>
                  <a:tileRect/>
                </a:gradFill>
                <a:headEnd type="none"/>
                <a:tailEnd type="none"/>
              </a:ln>
              <a:effectLst>
                <a:outerShdw blurRad="50800" dist="38100" dir="2700000" algn="tl" rotWithShape="0">
                  <a:srgbClr val="CFCBBB">
                    <a:alpha val="40000"/>
                  </a:s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1868418C-0BCC-B777-4367-A44441648B95}"/>
                  </a:ext>
                </a:extLst>
              </p:cNvPr>
              <p:cNvSpPr/>
              <p:nvPr userDrawn="1"/>
            </p:nvSpPr>
            <p:spPr bwMode="auto">
              <a:xfrm>
                <a:off x="3902774" y="4921284"/>
                <a:ext cx="182623" cy="182623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6F17CCCD-96E3-2C1B-4F74-18C3055A6DEE}"/>
                  </a:ext>
                </a:extLst>
              </p:cNvPr>
              <p:cNvSpPr/>
              <p:nvPr userDrawn="1"/>
            </p:nvSpPr>
            <p:spPr bwMode="auto">
              <a:xfrm>
                <a:off x="3054426" y="6155640"/>
                <a:ext cx="182623" cy="182623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FAF84406-FB62-2B22-618B-DE97DD20DDC5}"/>
                  </a:ext>
                </a:extLst>
              </p:cNvPr>
              <p:cNvSpPr/>
              <p:nvPr userDrawn="1"/>
            </p:nvSpPr>
            <p:spPr bwMode="auto">
              <a:xfrm>
                <a:off x="5326969" y="4273832"/>
                <a:ext cx="182623" cy="182623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</p:grpSp>
        <p:pic>
          <p:nvPicPr>
            <p:cNvPr id="2" name="MS logo gray - EMF" descr="Microsoft logo, gray text version">
              <a:extLst>
                <a:ext uri="{FF2B5EF4-FFF2-40B4-BE49-F238E27FC236}">
                  <a16:creationId xmlns:a16="http://schemas.microsoft.com/office/drawing/2014/main" id="{81A21FB1-0E78-240C-76A0-81B75D73DF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440" cy="292608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6ADD61A-18AD-C7CA-2BB4-8B78D4EF2B1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820604"/>
              <a:ext cx="3653952" cy="152167"/>
              <a:chOff x="0" y="4046193"/>
              <a:chExt cx="3653952" cy="152167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D17FBFCC-6446-FFAF-762E-AF2C8F7E92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9D80106C-D516-9364-F86E-796726536FE3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1E574253-0E53-F4B5-E2C7-269E5D6A1F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13DF2AE0-0D91-7ED0-3969-A2D56499E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DCD9B79A-571F-0FC7-E165-37D9868CA0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264878"/>
            <a:ext cx="5129784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3EBA3022-6B1B-AF65-4329-DFB5D2ED5A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199" y="4173876"/>
            <a:ext cx="3069752" cy="369332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4200" y="4767395"/>
            <a:ext cx="3069752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tx1"/>
                </a:solidFill>
                <a:latin typeface="Segoe Sans Display" pitchFamily="2" charset="0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noFill/>
          <a:effectLst/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780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5211B5F1-75A0-A33F-2153-2163084B7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10097475"/>
            <a:chOff x="0" y="0"/>
            <a:chExt cx="12192000" cy="10097475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744B96A6-18A9-F27D-BC82-FD95B47ED554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t="36328" b="28068"/>
            <a:stretch/>
          </p:blipFill>
          <p:spPr>
            <a:xfrm rot="10800000"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DEF3D33E-3DA2-FC2F-449B-18A73E7633DC}"/>
                </a:ext>
              </a:extLst>
            </p:cNvPr>
            <p:cNvSpPr/>
            <p:nvPr userDrawn="1"/>
          </p:nvSpPr>
          <p:spPr bwMode="auto">
            <a:xfrm>
              <a:off x="3436599" y="4681909"/>
              <a:ext cx="5188682" cy="2166731"/>
            </a:xfrm>
            <a:custGeom>
              <a:avLst/>
              <a:gdLst>
                <a:gd name="connsiteX0" fmla="*/ 2594341 w 5188682"/>
                <a:gd name="connsiteY0" fmla="*/ 0 h 2166731"/>
                <a:gd name="connsiteX1" fmla="*/ 5179569 w 5188682"/>
                <a:gd name="connsiteY1" fmla="*/ 2107022 h 2166731"/>
                <a:gd name="connsiteX2" fmla="*/ 5188682 w 5188682"/>
                <a:gd name="connsiteY2" fmla="*/ 2166731 h 2166731"/>
                <a:gd name="connsiteX3" fmla="*/ 0 w 5188682"/>
                <a:gd name="connsiteY3" fmla="*/ 2166731 h 2166731"/>
                <a:gd name="connsiteX4" fmla="*/ 9113 w 5188682"/>
                <a:gd name="connsiteY4" fmla="*/ 2107022 h 2166731"/>
                <a:gd name="connsiteX5" fmla="*/ 2594341 w 5188682"/>
                <a:gd name="connsiteY5" fmla="*/ 0 h 216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8682" h="2166731">
                  <a:moveTo>
                    <a:pt x="2594341" y="0"/>
                  </a:moveTo>
                  <a:cubicBezTo>
                    <a:pt x="3869558" y="0"/>
                    <a:pt x="4933507" y="904547"/>
                    <a:pt x="5179569" y="2107022"/>
                  </a:cubicBezTo>
                  <a:lnTo>
                    <a:pt x="5188682" y="2166731"/>
                  </a:lnTo>
                  <a:lnTo>
                    <a:pt x="0" y="2166731"/>
                  </a:lnTo>
                  <a:lnTo>
                    <a:pt x="9113" y="2107022"/>
                  </a:lnTo>
                  <a:cubicBezTo>
                    <a:pt x="255175" y="904547"/>
                    <a:pt x="1319124" y="0"/>
                    <a:pt x="2594341" y="0"/>
                  </a:cubicBezTo>
                  <a:close/>
                </a:path>
              </a:pathLst>
            </a:custGeom>
            <a:gradFill flip="none" rotWithShape="1">
              <a:gsLst>
                <a:gs pos="54000">
                  <a:srgbClr val="EDF0F6">
                    <a:alpha val="10000"/>
                  </a:srgbClr>
                </a:gs>
                <a:gs pos="100000">
                  <a:srgbClr val="FFFFFF">
                    <a:alpha val="7288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gradFill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3600000" scaled="0"/>
              </a:gradFill>
              <a:headEnd type="none" w="med" len="med"/>
              <a:tailEnd type="none" w="med" len="med"/>
            </a:ln>
            <a:effectLst>
              <a:outerShdw blurRad="50800" dist="50800" dir="5400000" algn="ctr" rotWithShape="0">
                <a:srgbClr val="000000">
                  <a:alpha val="31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172C55F-7F21-71C1-0ADC-D60598BAD32B}"/>
                </a:ext>
              </a:extLst>
            </p:cNvPr>
            <p:cNvGrpSpPr/>
            <p:nvPr userDrawn="1"/>
          </p:nvGrpSpPr>
          <p:grpSpPr>
            <a:xfrm>
              <a:off x="3024358" y="4279454"/>
              <a:ext cx="5797822" cy="5818021"/>
              <a:chOff x="2971805" y="4303328"/>
              <a:chExt cx="5797822" cy="5818021"/>
            </a:xfrm>
          </p:grpSpPr>
          <p:sp>
            <p:nvSpPr>
              <p:cNvPr id="7" name="Arc 6">
                <a:extLst>
                  <a:ext uri="{FF2B5EF4-FFF2-40B4-BE49-F238E27FC236}">
                    <a16:creationId xmlns:a16="http://schemas.microsoft.com/office/drawing/2014/main" id="{70EFB82A-FB2D-F53C-0194-572FDB6C3412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2971805" y="4323527"/>
                <a:ext cx="5797822" cy="5797822"/>
              </a:xfrm>
              <a:prstGeom prst="arc">
                <a:avLst>
                  <a:gd name="adj1" fmla="val 11203442"/>
                  <a:gd name="adj2" fmla="val 15972832"/>
                </a:avLst>
              </a:prstGeom>
              <a:ln w="57150">
                <a:gradFill flip="none" rotWithShape="1">
                  <a:gsLst>
                    <a:gs pos="74000">
                      <a:schemeClr val="bg1"/>
                    </a:gs>
                    <a:gs pos="0">
                      <a:srgbClr val="96D3AA"/>
                    </a:gs>
                    <a:gs pos="22000">
                      <a:srgbClr val="D4EC8E"/>
                    </a:gs>
                  </a:gsLst>
                  <a:lin ang="5400000" scaled="1"/>
                  <a:tileRect/>
                </a:gradFill>
                <a:headEnd type="none"/>
                <a:tailEnd type="none"/>
              </a:ln>
              <a:effectLst>
                <a:outerShdw blurRad="101600" dist="38100" dir="2700000" algn="tl" rotWithShape="0">
                  <a:schemeClr val="accent3">
                    <a:lumMod val="50000"/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33417F6B-8AA6-011E-3459-26B4FF96231D}"/>
                  </a:ext>
                </a:extLst>
              </p:cNvPr>
              <p:cNvSpPr/>
              <p:nvPr userDrawn="1"/>
            </p:nvSpPr>
            <p:spPr bwMode="auto">
              <a:xfrm>
                <a:off x="3912299" y="4921284"/>
                <a:ext cx="182623" cy="182623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11B8184-3236-3955-37F5-3F4B98D284E7}"/>
                  </a:ext>
                </a:extLst>
              </p:cNvPr>
              <p:cNvSpPr/>
              <p:nvPr userDrawn="1"/>
            </p:nvSpPr>
            <p:spPr bwMode="auto">
              <a:xfrm>
                <a:off x="3054426" y="6155640"/>
                <a:ext cx="182623" cy="182623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A0C1C10-5E0E-8102-ED3B-1F53AA11BC6F}"/>
                  </a:ext>
                </a:extLst>
              </p:cNvPr>
              <p:cNvSpPr/>
              <p:nvPr userDrawn="1"/>
            </p:nvSpPr>
            <p:spPr bwMode="auto">
              <a:xfrm>
                <a:off x="5140161" y="4303328"/>
                <a:ext cx="182623" cy="182623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E468630-E6B7-904B-EC1F-320F2D04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820604"/>
              <a:ext cx="3653952" cy="152167"/>
              <a:chOff x="0" y="4046193"/>
              <a:chExt cx="3653952" cy="152167"/>
            </a:xfrm>
            <a:effectLst>
              <a:outerShdw blurRad="165100" dist="38100" dir="2700000" algn="tl" rotWithShape="0">
                <a:schemeClr val="accent3">
                  <a:lumMod val="50000"/>
                  <a:alpha val="28000"/>
                </a:schemeClr>
              </a:outerShdw>
            </a:effectLst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68655D6-79C0-E38A-8F64-C9E1F64B43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017255C-A7C9-2E7C-921E-956C7106363D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145CE734-AF0C-B6AB-AE16-F2F876428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167518D5-C4C0-A7A6-FC85-4AD4CAE8A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6CF91D53-7D11-01EC-A06A-26E50A89B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4" name="MS logo white - EMF" descr="Microsoft logo white text version">
              <a:extLst>
                <a:ext uri="{FF2B5EF4-FFF2-40B4-BE49-F238E27FC236}">
                  <a16:creationId xmlns:a16="http://schemas.microsoft.com/office/drawing/2014/main" id="{88375748-275D-5C36-977C-87AC454336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245" cy="292608"/>
            </a:xfrm>
            <a:prstGeom prst="rect">
              <a:avLst/>
            </a:prstGeom>
          </p:spPr>
        </p:pic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264878"/>
            <a:ext cx="5130800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bg1"/>
                </a:solidFill>
                <a:latin typeface="+mj-lt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2312FAA-5B4A-C15C-02BB-37F5A78234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4199" y="4173876"/>
            <a:ext cx="3069752" cy="369332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4199" y="4767395"/>
            <a:ext cx="3069752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bg1"/>
                </a:solidFill>
                <a:latin typeface="+mn-lt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ln w="6350">
            <a:noFill/>
          </a:ln>
          <a:effectLst>
            <a:outerShdw blurRad="215776" dist="38100" dir="13500000" algn="br" rotWithShape="0">
              <a:schemeClr val="tx1">
                <a:lumMod val="90000"/>
                <a:lumOff val="10000"/>
                <a:alpha val="52000"/>
              </a:schemeClr>
            </a:outerShdw>
          </a:effectLst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04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EC56C793-FAC2-443D-161C-C950792E6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10097475"/>
            <a:chOff x="0" y="0"/>
            <a:chExt cx="12192000" cy="1009747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FC6C245-554F-0505-8894-E8552AD5AB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53" r="775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AE2D34E-9E32-36C1-5EB7-C9CCE19A8E61}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chemeClr val="accent6">
                    <a:alpha val="0"/>
                  </a:schemeClr>
                </a:gs>
                <a:gs pos="18000">
                  <a:srgbClr val="57B9C5">
                    <a:alpha val="71000"/>
                  </a:srgbClr>
                </a:gs>
                <a:gs pos="100000">
                  <a:schemeClr val="accent3">
                    <a:lumMod val="50000"/>
                    <a:alpha val="88000"/>
                  </a:schemeClr>
                </a:gs>
              </a:gsLst>
              <a:path path="circle">
                <a:fillToRect l="100000" t="100000"/>
              </a:path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DEF3D33E-3DA2-FC2F-449B-18A73E7633DC}"/>
                </a:ext>
              </a:extLst>
            </p:cNvPr>
            <p:cNvSpPr/>
            <p:nvPr userDrawn="1"/>
          </p:nvSpPr>
          <p:spPr bwMode="auto">
            <a:xfrm>
              <a:off x="3436599" y="4681909"/>
              <a:ext cx="5188682" cy="2166731"/>
            </a:xfrm>
            <a:custGeom>
              <a:avLst/>
              <a:gdLst>
                <a:gd name="connsiteX0" fmla="*/ 2594341 w 5188682"/>
                <a:gd name="connsiteY0" fmla="*/ 0 h 2166731"/>
                <a:gd name="connsiteX1" fmla="*/ 5179569 w 5188682"/>
                <a:gd name="connsiteY1" fmla="*/ 2107022 h 2166731"/>
                <a:gd name="connsiteX2" fmla="*/ 5188682 w 5188682"/>
                <a:gd name="connsiteY2" fmla="*/ 2166731 h 2166731"/>
                <a:gd name="connsiteX3" fmla="*/ 0 w 5188682"/>
                <a:gd name="connsiteY3" fmla="*/ 2166731 h 2166731"/>
                <a:gd name="connsiteX4" fmla="*/ 9113 w 5188682"/>
                <a:gd name="connsiteY4" fmla="*/ 2107022 h 2166731"/>
                <a:gd name="connsiteX5" fmla="*/ 2594341 w 5188682"/>
                <a:gd name="connsiteY5" fmla="*/ 0 h 216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88682" h="2166731">
                  <a:moveTo>
                    <a:pt x="2594341" y="0"/>
                  </a:moveTo>
                  <a:cubicBezTo>
                    <a:pt x="3869558" y="0"/>
                    <a:pt x="4933507" y="904547"/>
                    <a:pt x="5179569" y="2107022"/>
                  </a:cubicBezTo>
                  <a:lnTo>
                    <a:pt x="5188682" y="2166731"/>
                  </a:lnTo>
                  <a:lnTo>
                    <a:pt x="0" y="2166731"/>
                  </a:lnTo>
                  <a:lnTo>
                    <a:pt x="9113" y="2107022"/>
                  </a:lnTo>
                  <a:cubicBezTo>
                    <a:pt x="255175" y="904547"/>
                    <a:pt x="1319124" y="0"/>
                    <a:pt x="2594341" y="0"/>
                  </a:cubicBezTo>
                  <a:close/>
                </a:path>
              </a:pathLst>
            </a:custGeom>
            <a:gradFill flip="none" rotWithShape="1">
              <a:gsLst>
                <a:gs pos="54000">
                  <a:srgbClr val="EDF0F6">
                    <a:alpha val="10000"/>
                  </a:srgbClr>
                </a:gs>
                <a:gs pos="100000">
                  <a:srgbClr val="FFFFFF">
                    <a:alpha val="72884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gradFill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3600000" scaled="0"/>
              </a:gradFill>
              <a:headEnd type="none" w="med" len="med"/>
              <a:tailEnd type="none" w="med" len="med"/>
            </a:ln>
            <a:effectLst>
              <a:outerShdw blurRad="50800" dist="50800" dir="5400000" algn="ctr" rotWithShape="0">
                <a:srgbClr val="000000">
                  <a:alpha val="31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172C55F-7F21-71C1-0ADC-D60598BAD32B}"/>
                </a:ext>
              </a:extLst>
            </p:cNvPr>
            <p:cNvGrpSpPr/>
            <p:nvPr userDrawn="1"/>
          </p:nvGrpSpPr>
          <p:grpSpPr>
            <a:xfrm>
              <a:off x="3024358" y="4279454"/>
              <a:ext cx="5797822" cy="5818021"/>
              <a:chOff x="2971805" y="4303328"/>
              <a:chExt cx="5797822" cy="5818021"/>
            </a:xfrm>
          </p:grpSpPr>
          <p:sp>
            <p:nvSpPr>
              <p:cNvPr id="7" name="Arc 6">
                <a:extLst>
                  <a:ext uri="{FF2B5EF4-FFF2-40B4-BE49-F238E27FC236}">
                    <a16:creationId xmlns:a16="http://schemas.microsoft.com/office/drawing/2014/main" id="{70EFB82A-FB2D-F53C-0194-572FDB6C3412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2971805" y="4323527"/>
                <a:ext cx="5797822" cy="5797822"/>
              </a:xfrm>
              <a:prstGeom prst="arc">
                <a:avLst>
                  <a:gd name="adj1" fmla="val 11203442"/>
                  <a:gd name="adj2" fmla="val 15972832"/>
                </a:avLst>
              </a:prstGeom>
              <a:ln w="57150">
                <a:gradFill flip="none" rotWithShape="1">
                  <a:gsLst>
                    <a:gs pos="74000">
                      <a:schemeClr val="bg1"/>
                    </a:gs>
                    <a:gs pos="0">
                      <a:srgbClr val="96D3AA"/>
                    </a:gs>
                    <a:gs pos="22000">
                      <a:srgbClr val="D4EC8E"/>
                    </a:gs>
                  </a:gsLst>
                  <a:lin ang="5400000" scaled="1"/>
                  <a:tileRect/>
                </a:gradFill>
                <a:headEnd type="none"/>
                <a:tailEnd type="none"/>
              </a:ln>
              <a:effectLst>
                <a:outerShdw blurRad="101600" dist="38100" dir="2700000" algn="tl" rotWithShape="0">
                  <a:schemeClr val="accent3">
                    <a:lumMod val="50000"/>
                    <a:alpha val="35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33417F6B-8AA6-011E-3459-26B4FF96231D}"/>
                  </a:ext>
                </a:extLst>
              </p:cNvPr>
              <p:cNvSpPr/>
              <p:nvPr userDrawn="1"/>
            </p:nvSpPr>
            <p:spPr bwMode="auto">
              <a:xfrm>
                <a:off x="3912299" y="4921284"/>
                <a:ext cx="182623" cy="182623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11B8184-3236-3955-37F5-3F4B98D284E7}"/>
                  </a:ext>
                </a:extLst>
              </p:cNvPr>
              <p:cNvSpPr/>
              <p:nvPr userDrawn="1"/>
            </p:nvSpPr>
            <p:spPr bwMode="auto">
              <a:xfrm>
                <a:off x="3054426" y="6155640"/>
                <a:ext cx="182623" cy="182623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A0C1C10-5E0E-8102-ED3B-1F53AA11BC6F}"/>
                  </a:ext>
                </a:extLst>
              </p:cNvPr>
              <p:cNvSpPr/>
              <p:nvPr userDrawn="1"/>
            </p:nvSpPr>
            <p:spPr bwMode="auto">
              <a:xfrm>
                <a:off x="5140161" y="4303328"/>
                <a:ext cx="182623" cy="182623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88900" sx="102000" sy="102000" algn="ctr" rotWithShape="0">
                  <a:schemeClr val="accent3">
                    <a:lumMod val="50000"/>
                    <a:alpha val="18842"/>
                  </a:schemeClr>
                </a:outerShdw>
              </a:effectLst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kern="0">
                  <a:solidFill>
                    <a:srgbClr val="FFFFFF"/>
                  </a:solidFill>
                  <a:latin typeface="Segoe UI"/>
                  <a:cs typeface="Segoe UI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E468630-E6B7-904B-EC1F-320F2D04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820604"/>
              <a:ext cx="3653952" cy="152167"/>
              <a:chOff x="0" y="4046193"/>
              <a:chExt cx="3653952" cy="152167"/>
            </a:xfrm>
            <a:effectLst>
              <a:outerShdw blurRad="165100" dist="38100" dir="2700000" algn="tl" rotWithShape="0">
                <a:schemeClr val="accent3">
                  <a:lumMod val="50000"/>
                  <a:alpha val="28000"/>
                </a:schemeClr>
              </a:outerShdw>
            </a:effectLst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68655D6-79C0-E38A-8F64-C9E1F64B43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017255C-A7C9-2E7C-921E-956C7106363D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145CE734-AF0C-B6AB-AE16-F2F876428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167518D5-C4C0-A7A6-FC85-4AD4CAE8A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6CF91D53-7D11-01EC-A06A-26E50A89B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4" name="MS logo white - EMF" descr="Microsoft logo white text version">
              <a:extLst>
                <a:ext uri="{FF2B5EF4-FFF2-40B4-BE49-F238E27FC236}">
                  <a16:creationId xmlns:a16="http://schemas.microsoft.com/office/drawing/2014/main" id="{88375748-275D-5C36-977C-87AC454336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245" cy="292608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17EC7D63-53A0-0F92-7865-56E8CA00F4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91830" y="1341784"/>
              <a:ext cx="6700170" cy="5516216"/>
            </a:xfrm>
            <a:custGeom>
              <a:avLst/>
              <a:gdLst>
                <a:gd name="connsiteX0" fmla="*/ 3850011 w 6700170"/>
                <a:gd name="connsiteY0" fmla="*/ 0 h 5516216"/>
                <a:gd name="connsiteX1" fmla="*/ 6572380 w 6700170"/>
                <a:gd name="connsiteY1" fmla="*/ 1127642 h 5516216"/>
                <a:gd name="connsiteX2" fmla="*/ 6700170 w 6700170"/>
                <a:gd name="connsiteY2" fmla="*/ 1268247 h 5516216"/>
                <a:gd name="connsiteX3" fmla="*/ 6700170 w 6700170"/>
                <a:gd name="connsiteY3" fmla="*/ 5516216 h 5516216"/>
                <a:gd name="connsiteX4" fmla="*/ 378327 w 6700170"/>
                <a:gd name="connsiteY4" fmla="*/ 5516216 h 5516216"/>
                <a:gd name="connsiteX5" fmla="*/ 302553 w 6700170"/>
                <a:gd name="connsiteY5" fmla="*/ 5348609 h 5516216"/>
                <a:gd name="connsiteX6" fmla="*/ 0 w 6700170"/>
                <a:gd name="connsiteY6" fmla="*/ 3850011 h 5516216"/>
                <a:gd name="connsiteX7" fmla="*/ 3850011 w 6700170"/>
                <a:gd name="connsiteY7" fmla="*/ 0 h 55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0170" h="5516216">
                  <a:moveTo>
                    <a:pt x="3850011" y="0"/>
                  </a:moveTo>
                  <a:cubicBezTo>
                    <a:pt x="4913162" y="0"/>
                    <a:pt x="5875665" y="430927"/>
                    <a:pt x="6572380" y="1127642"/>
                  </a:cubicBezTo>
                  <a:lnTo>
                    <a:pt x="6700170" y="1268247"/>
                  </a:lnTo>
                  <a:lnTo>
                    <a:pt x="6700170" y="5516216"/>
                  </a:lnTo>
                  <a:lnTo>
                    <a:pt x="378327" y="5516216"/>
                  </a:lnTo>
                  <a:lnTo>
                    <a:pt x="302553" y="5348609"/>
                  </a:lnTo>
                  <a:cubicBezTo>
                    <a:pt x="107732" y="4888000"/>
                    <a:pt x="0" y="4381587"/>
                    <a:pt x="0" y="3850011"/>
                  </a:cubicBezTo>
                  <a:cubicBezTo>
                    <a:pt x="0" y="1723709"/>
                    <a:pt x="1723709" y="0"/>
                    <a:pt x="3850011" y="0"/>
                  </a:cubicBezTo>
                  <a:close/>
                </a:path>
              </a:pathLst>
            </a:custGeom>
            <a:noFill/>
            <a:ln w="6350">
              <a:solidFill>
                <a:srgbClr val="FFFFFF">
                  <a:alpha val="80000"/>
                </a:srgbClr>
              </a:solidFill>
            </a:ln>
            <a:effectLst>
              <a:outerShdw blurRad="228600" dist="38100" dir="13500000" algn="br" rotWithShape="0">
                <a:schemeClr val="bg1">
                  <a:lumMod val="50000"/>
                  <a:alpha val="19544"/>
                </a:schemeClr>
              </a:outerShdw>
            </a:effectLst>
          </p:spPr>
        </p:pic>
        <p:sp>
          <p:nvSpPr>
            <p:cNvPr id="27" name="Free-form: Shape 19">
              <a:extLst>
                <a:ext uri="{FF2B5EF4-FFF2-40B4-BE49-F238E27FC236}">
                  <a16:creationId xmlns:a16="http://schemas.microsoft.com/office/drawing/2014/main" id="{7E7F94FA-531A-8D45-10E2-01EF93C85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491830" y="1341784"/>
              <a:ext cx="6700170" cy="5516216"/>
            </a:xfrm>
            <a:custGeom>
              <a:avLst/>
              <a:gdLst>
                <a:gd name="connsiteX0" fmla="*/ 3850011 w 6700170"/>
                <a:gd name="connsiteY0" fmla="*/ 0 h 5516216"/>
                <a:gd name="connsiteX1" fmla="*/ 6572380 w 6700170"/>
                <a:gd name="connsiteY1" fmla="*/ 1127642 h 5516216"/>
                <a:gd name="connsiteX2" fmla="*/ 6700170 w 6700170"/>
                <a:gd name="connsiteY2" fmla="*/ 1268247 h 5516216"/>
                <a:gd name="connsiteX3" fmla="*/ 6700170 w 6700170"/>
                <a:gd name="connsiteY3" fmla="*/ 5516216 h 5516216"/>
                <a:gd name="connsiteX4" fmla="*/ 378327 w 6700170"/>
                <a:gd name="connsiteY4" fmla="*/ 5516216 h 5516216"/>
                <a:gd name="connsiteX5" fmla="*/ 302553 w 6700170"/>
                <a:gd name="connsiteY5" fmla="*/ 5348609 h 5516216"/>
                <a:gd name="connsiteX6" fmla="*/ 0 w 6700170"/>
                <a:gd name="connsiteY6" fmla="*/ 3850011 h 5516216"/>
                <a:gd name="connsiteX7" fmla="*/ 3850011 w 6700170"/>
                <a:gd name="connsiteY7" fmla="*/ 0 h 55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0170" h="5516216">
                  <a:moveTo>
                    <a:pt x="3850011" y="0"/>
                  </a:moveTo>
                  <a:cubicBezTo>
                    <a:pt x="4913162" y="0"/>
                    <a:pt x="5875665" y="430927"/>
                    <a:pt x="6572380" y="1127642"/>
                  </a:cubicBezTo>
                  <a:lnTo>
                    <a:pt x="6700170" y="1268247"/>
                  </a:lnTo>
                  <a:lnTo>
                    <a:pt x="6700170" y="5516216"/>
                  </a:lnTo>
                  <a:lnTo>
                    <a:pt x="378327" y="5516216"/>
                  </a:lnTo>
                  <a:lnTo>
                    <a:pt x="302553" y="5348609"/>
                  </a:lnTo>
                  <a:cubicBezTo>
                    <a:pt x="107732" y="4888000"/>
                    <a:pt x="0" y="4381587"/>
                    <a:pt x="0" y="3850011"/>
                  </a:cubicBezTo>
                  <a:cubicBezTo>
                    <a:pt x="0" y="1723709"/>
                    <a:pt x="1723709" y="0"/>
                    <a:pt x="3850011" y="0"/>
                  </a:cubicBezTo>
                  <a:close/>
                </a:path>
              </a:pathLst>
            </a:custGeom>
            <a:solidFill>
              <a:srgbClr val="EDF0F6">
                <a:alpha val="14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Free-form: Shape 19">
              <a:extLst>
                <a:ext uri="{FF2B5EF4-FFF2-40B4-BE49-F238E27FC236}">
                  <a16:creationId xmlns:a16="http://schemas.microsoft.com/office/drawing/2014/main" id="{7DC37CE4-16B0-082E-F5AE-27E478D180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491830" y="1341784"/>
              <a:ext cx="6700170" cy="5516216"/>
            </a:xfrm>
            <a:custGeom>
              <a:avLst/>
              <a:gdLst>
                <a:gd name="connsiteX0" fmla="*/ 3850011 w 6700170"/>
                <a:gd name="connsiteY0" fmla="*/ 0 h 5516216"/>
                <a:gd name="connsiteX1" fmla="*/ 6572380 w 6700170"/>
                <a:gd name="connsiteY1" fmla="*/ 1127642 h 5516216"/>
                <a:gd name="connsiteX2" fmla="*/ 6700170 w 6700170"/>
                <a:gd name="connsiteY2" fmla="*/ 1268247 h 5516216"/>
                <a:gd name="connsiteX3" fmla="*/ 6700170 w 6700170"/>
                <a:gd name="connsiteY3" fmla="*/ 5516216 h 5516216"/>
                <a:gd name="connsiteX4" fmla="*/ 378327 w 6700170"/>
                <a:gd name="connsiteY4" fmla="*/ 5516216 h 5516216"/>
                <a:gd name="connsiteX5" fmla="*/ 302553 w 6700170"/>
                <a:gd name="connsiteY5" fmla="*/ 5348609 h 5516216"/>
                <a:gd name="connsiteX6" fmla="*/ 0 w 6700170"/>
                <a:gd name="connsiteY6" fmla="*/ 3850011 h 5516216"/>
                <a:gd name="connsiteX7" fmla="*/ 3850011 w 6700170"/>
                <a:gd name="connsiteY7" fmla="*/ 0 h 55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00170" h="5516216">
                  <a:moveTo>
                    <a:pt x="3850011" y="0"/>
                  </a:moveTo>
                  <a:cubicBezTo>
                    <a:pt x="4913162" y="0"/>
                    <a:pt x="5875665" y="430927"/>
                    <a:pt x="6572380" y="1127642"/>
                  </a:cubicBezTo>
                  <a:lnTo>
                    <a:pt x="6700170" y="1268247"/>
                  </a:lnTo>
                  <a:lnTo>
                    <a:pt x="6700170" y="5516216"/>
                  </a:lnTo>
                  <a:lnTo>
                    <a:pt x="378327" y="5516216"/>
                  </a:lnTo>
                  <a:lnTo>
                    <a:pt x="302553" y="5348609"/>
                  </a:lnTo>
                  <a:cubicBezTo>
                    <a:pt x="107732" y="4888000"/>
                    <a:pt x="0" y="4381587"/>
                    <a:pt x="0" y="3850011"/>
                  </a:cubicBezTo>
                  <a:cubicBezTo>
                    <a:pt x="0" y="1723709"/>
                    <a:pt x="1723709" y="0"/>
                    <a:pt x="3850011" y="0"/>
                  </a:cubicBezTo>
                  <a:close/>
                </a:path>
              </a:pathLst>
            </a:custGeom>
            <a:solidFill>
              <a:srgbClr val="EDF0F6">
                <a:alpha val="14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264878"/>
            <a:ext cx="5130800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bg1"/>
                </a:solidFill>
                <a:latin typeface="+mj-lt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2312FAA-5B4A-C15C-02BB-37F5A78234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4199" y="4173876"/>
            <a:ext cx="3069752" cy="369332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4199" y="4767395"/>
            <a:ext cx="3069752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bg1"/>
                </a:solidFill>
                <a:latin typeface="+mn-lt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06263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BFF5FAF-C702-E1F9-4915-5A2347064D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4642B7B-E1EE-14AE-4A81-72D74B6DEC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82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5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5" r="2565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  <a:noFill/>
          </p:spPr>
        </p:pic>
        <p:sp>
          <p:nvSpPr>
            <p:cNvPr id="4" name="Rectangle: Rounded Corners 36">
              <a:extLst>
                <a:ext uri="{FF2B5EF4-FFF2-40B4-BE49-F238E27FC236}">
                  <a16:creationId xmlns:a16="http://schemas.microsoft.com/office/drawing/2014/main" id="{A22E6279-85BB-6ED2-58FE-29C765B428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>
              <a:off x="414091" y="1633191"/>
              <a:ext cx="11022013" cy="4478593"/>
            </a:xfrm>
            <a:prstGeom prst="roundRect">
              <a:avLst>
                <a:gd name="adj" fmla="val 4809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03C28C8-B240-9E06-BCD6-C46EDF55B3B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H="1" flipV="1">
              <a:off x="4214690" y="-1928236"/>
              <a:ext cx="4251572" cy="11601448"/>
            </a:xfrm>
            <a:custGeom>
              <a:avLst/>
              <a:gdLst>
                <a:gd name="connsiteX0" fmla="*/ 4832353 w 4832353"/>
                <a:gd name="connsiteY0" fmla="*/ 158694 h 11601448"/>
                <a:gd name="connsiteX1" fmla="*/ 4832353 w 4832353"/>
                <a:gd name="connsiteY1" fmla="*/ 11601448 h 11601448"/>
                <a:gd name="connsiteX2" fmla="*/ 0 w 4832353"/>
                <a:gd name="connsiteY2" fmla="*/ 11601448 h 11601448"/>
                <a:gd name="connsiteX3" fmla="*/ 0 w 4832353"/>
                <a:gd name="connsiteY3" fmla="*/ 158694 h 11601448"/>
                <a:gd name="connsiteX4" fmla="*/ 158694 w 4832353"/>
                <a:gd name="connsiteY4" fmla="*/ 0 h 11601448"/>
                <a:gd name="connsiteX5" fmla="*/ 4673659 w 4832353"/>
                <a:gd name="connsiteY5" fmla="*/ 0 h 11601448"/>
                <a:gd name="connsiteX6" fmla="*/ 4832353 w 4832353"/>
                <a:gd name="connsiteY6" fmla="*/ 158694 h 11601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32353" h="11601448">
                  <a:moveTo>
                    <a:pt x="4832353" y="158694"/>
                  </a:moveTo>
                  <a:lnTo>
                    <a:pt x="4832353" y="11601448"/>
                  </a:lnTo>
                  <a:lnTo>
                    <a:pt x="0" y="11601448"/>
                  </a:lnTo>
                  <a:lnTo>
                    <a:pt x="0" y="158694"/>
                  </a:lnTo>
                  <a:cubicBezTo>
                    <a:pt x="0" y="71050"/>
                    <a:pt x="71050" y="0"/>
                    <a:pt x="158694" y="0"/>
                  </a:cubicBezTo>
                  <a:lnTo>
                    <a:pt x="4673659" y="0"/>
                  </a:lnTo>
                  <a:cubicBezTo>
                    <a:pt x="4761303" y="0"/>
                    <a:pt x="4832353" y="71050"/>
                    <a:pt x="4832353" y="158694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0216032-D894-9D6E-FF1F-923BC883F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56548" y="3163893"/>
              <a:ext cx="6334945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5A4DCB87-492C-10AF-6C4C-77CE8A4FDC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456548" y="4581084"/>
              <a:ext cx="6334945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7A3C527-E1FE-904C-794B-694057D0A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50108-91B9-C792-2DEC-98F7EF995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3682" y="2193027"/>
            <a:ext cx="522574" cy="524540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ln w="3175">
                  <a:noFill/>
                </a:ln>
                <a:gradFill>
                  <a:gsLst>
                    <a:gs pos="96000">
                      <a:schemeClr val="accent1"/>
                    </a:gs>
                    <a:gs pos="52000">
                      <a:srgbClr val="31838E"/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44DE5AF-235E-9812-4E28-4477D9974A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56549" y="2301409"/>
            <a:ext cx="6125352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A88B20-415D-7A2B-B7E6-29F312C10F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3682" y="3610218"/>
            <a:ext cx="522574" cy="524540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ln w="3175">
                  <a:noFill/>
                </a:ln>
                <a:gradFill>
                  <a:gsLst>
                    <a:gs pos="96000">
                      <a:schemeClr val="accent1"/>
                    </a:gs>
                    <a:gs pos="52000">
                      <a:srgbClr val="31838E"/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4F4FCB1-94B2-FBBF-00B8-A298E33F80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56549" y="3718599"/>
            <a:ext cx="6125352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556F5E-2782-2B11-8316-8939316736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3682" y="5027409"/>
            <a:ext cx="522574" cy="524540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ln w="3175">
                  <a:noFill/>
                </a:ln>
                <a:gradFill>
                  <a:gsLst>
                    <a:gs pos="96000">
                      <a:schemeClr val="accent1"/>
                    </a:gs>
                    <a:gs pos="52000">
                      <a:srgbClr val="31838E"/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E13F522B-B88C-CA22-664F-EAD6AA5E90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56549" y="5135790"/>
            <a:ext cx="6125352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2F5FAC6B-0C26-304E-B149-40F1093CB33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79724" y="1468398"/>
            <a:ext cx="4312277" cy="4768926"/>
          </a:xfrm>
          <a:custGeom>
            <a:avLst/>
            <a:gdLst>
              <a:gd name="connsiteX0" fmla="*/ 143086 w 4312277"/>
              <a:gd name="connsiteY0" fmla="*/ 0 h 4768926"/>
              <a:gd name="connsiteX1" fmla="*/ 4312277 w 4312277"/>
              <a:gd name="connsiteY1" fmla="*/ 0 h 4768926"/>
              <a:gd name="connsiteX2" fmla="*/ 4312277 w 4312277"/>
              <a:gd name="connsiteY2" fmla="*/ 4768926 h 4768926"/>
              <a:gd name="connsiteX3" fmla="*/ 143086 w 4312277"/>
              <a:gd name="connsiteY3" fmla="*/ 4768926 h 4768926"/>
              <a:gd name="connsiteX4" fmla="*/ 0 w 4312277"/>
              <a:gd name="connsiteY4" fmla="*/ 4656909 h 4768926"/>
              <a:gd name="connsiteX5" fmla="*/ 0 w 4312277"/>
              <a:gd name="connsiteY5" fmla="*/ 112017 h 4768926"/>
              <a:gd name="connsiteX6" fmla="*/ 143086 w 4312277"/>
              <a:gd name="connsiteY6" fmla="*/ 0 h 476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2277" h="4768926">
                <a:moveTo>
                  <a:pt x="143086" y="0"/>
                </a:moveTo>
                <a:lnTo>
                  <a:pt x="4312277" y="0"/>
                </a:lnTo>
                <a:lnTo>
                  <a:pt x="4312277" y="4768926"/>
                </a:lnTo>
                <a:lnTo>
                  <a:pt x="143086" y="4768926"/>
                </a:lnTo>
                <a:cubicBezTo>
                  <a:pt x="64062" y="4768926"/>
                  <a:pt x="0" y="4718776"/>
                  <a:pt x="0" y="4656909"/>
                </a:cubicBezTo>
                <a:lnTo>
                  <a:pt x="0" y="112017"/>
                </a:lnTo>
                <a:cubicBezTo>
                  <a:pt x="0" y="50152"/>
                  <a:pt x="64062" y="0"/>
                  <a:pt x="143086" y="0"/>
                </a:cubicBezTo>
                <a:close/>
              </a:path>
            </a:pathLst>
          </a:custGeom>
          <a:solidFill>
            <a:schemeClr val="bg1"/>
          </a:solidFill>
          <a:ln w="76200">
            <a:solidFill>
              <a:schemeClr val="bg2"/>
            </a:solidFill>
          </a:ln>
          <a:effectLst>
            <a:outerShdw blurRad="238708" dist="38100" dir="10800000" algn="r" rotWithShape="0">
              <a:schemeClr val="bg1">
                <a:lumMod val="75000"/>
                <a:alpha val="34766"/>
              </a:scheme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70921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7B0E98B-26B0-6F45-0393-4F434F25AB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5B9D59D-4155-87C9-9D67-BEC295FDE850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EB4D3B0-C1C5-1DE0-DC94-9F5B5A6CAF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alphaModFix amt="8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" r="21355"/>
              <a:stretch/>
            </p:blipFill>
            <p:spPr>
              <a:xfrm>
                <a:off x="7327900" y="3559644"/>
                <a:ext cx="4864100" cy="3298356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773980F-CE02-5F1C-F9E9-ED3C2DBE2885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3D57493-6AEE-CAF9-A0D6-A7B976DC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0860" y="476250"/>
              <a:ext cx="7352720" cy="5905500"/>
            </a:xfrm>
            <a:prstGeom prst="roundRect">
              <a:avLst>
                <a:gd name="adj" fmla="val 279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A040112-C783-835D-38E9-40C8AEFF35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1399" y="585788"/>
              <a:ext cx="7131642" cy="5686424"/>
            </a:xfrm>
            <a:prstGeom prst="roundRect">
              <a:avLst>
                <a:gd name="adj" fmla="val 1787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9F0FE51-8DA0-08D1-6132-7054C7A368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2480204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0FD3614-E969-381D-BDC8-E4048A18D7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4374620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34_1">
              <a:extLst>
                <a:ext uri="{FF2B5EF4-FFF2-40B4-BE49-F238E27FC236}">
                  <a16:creationId xmlns:a16="http://schemas.microsoft.com/office/drawing/2014/main" id="{7299EBE8-A623-623B-B58E-476AAA8E1B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1219694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7" name="Oval 34_1">
              <a:extLst>
                <a:ext uri="{FF2B5EF4-FFF2-40B4-BE49-F238E27FC236}">
                  <a16:creationId xmlns:a16="http://schemas.microsoft.com/office/drawing/2014/main" id="{FA2465BE-FBF9-599D-56FA-92BC8DF67EC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3114110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1" name="Oval 34_1">
              <a:extLst>
                <a:ext uri="{FF2B5EF4-FFF2-40B4-BE49-F238E27FC236}">
                  <a16:creationId xmlns:a16="http://schemas.microsoft.com/office/drawing/2014/main" id="{99430433-71B4-AA48-6ED9-3BF67F59AA3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5008526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4" name="Rectangle: Top Corners Rounded 39">
              <a:extLst>
                <a:ext uri="{FF2B5EF4-FFF2-40B4-BE49-F238E27FC236}">
                  <a16:creationId xmlns:a16="http://schemas.microsoft.com/office/drawing/2014/main" id="{0C424701-E77C-EA79-B291-BDB4C5DB5F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688" y="0"/>
              <a:ext cx="3771900" cy="6564313"/>
            </a:xfrm>
            <a:prstGeom prst="round2SameRect">
              <a:avLst>
                <a:gd name="adj1" fmla="val 0"/>
                <a:gd name="adj2" fmla="val 7286"/>
              </a:avLst>
            </a:prstGeom>
            <a:gradFill flip="none" rotWithShape="1">
              <a:gsLst>
                <a:gs pos="59000">
                  <a:srgbClr val="F7F7FA"/>
                </a:gs>
                <a:gs pos="100000">
                  <a:schemeClr val="bg2"/>
                </a:gs>
              </a:gsLst>
              <a:lin ang="162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pic>
          <p:nvPicPr>
            <p:cNvPr id="26" name="Picture 25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10FB088-21E5-EA5C-39FE-203F9E2A34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243" b="10085"/>
            <a:stretch/>
          </p:blipFill>
          <p:spPr>
            <a:xfrm flipH="1">
              <a:off x="293688" y="3059994"/>
              <a:ext cx="3424872" cy="3272962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1198C4B0-EC99-02C8-8E61-6ED9792634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7" y="1952208"/>
            <a:ext cx="3184522" cy="677108"/>
          </a:xfrm>
        </p:spPr>
        <p:txBody>
          <a:bodyPr anchor="ctr"/>
          <a:lstStyle>
            <a:lvl1pPr algn="ctr">
              <a:defRPr sz="4400">
                <a:gradFill>
                  <a:gsLst>
                    <a:gs pos="0">
                      <a:srgbClr val="31838E"/>
                    </a:gs>
                    <a:gs pos="100000">
                      <a:srgbClr val="0078D4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A656A5D-95BE-1B40-5D88-6A8721D86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9175" y="1379107"/>
            <a:ext cx="5953526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D04C44E6-57CB-D9B6-4238-3DCF4883AE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175" y="3273523"/>
            <a:ext cx="5953526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BF98F466-321C-C441-7F1E-59BF43EDD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175" y="5167940"/>
            <a:ext cx="5953526" cy="307777"/>
          </a:xfrm>
        </p:spPr>
        <p:txBody>
          <a:bodyPr lIns="0" tIns="0" rIns="0" bIns="0" anchor="ctr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5882388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DBB88FB-549C-31AC-7CB1-8ACA8DA931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5B9D59D-4155-87C9-9D67-BEC295FDE850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EB4D3B0-C1C5-1DE0-DC94-9F5B5A6CAF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alphaModFix amt="8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" r="21355"/>
              <a:stretch/>
            </p:blipFill>
            <p:spPr>
              <a:xfrm>
                <a:off x="7327900" y="3559644"/>
                <a:ext cx="4864100" cy="3298356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773980F-CE02-5F1C-F9E9-ED3C2DBE2885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3D57493-6AEE-CAF9-A0D6-A7B976DC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0860" y="476250"/>
              <a:ext cx="7352720" cy="5905500"/>
            </a:xfrm>
            <a:prstGeom prst="roundRect">
              <a:avLst>
                <a:gd name="adj" fmla="val 279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A040112-C783-835D-38E9-40C8AEFF35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1399" y="585788"/>
              <a:ext cx="7131642" cy="5686424"/>
            </a:xfrm>
            <a:prstGeom prst="roundRect">
              <a:avLst>
                <a:gd name="adj" fmla="val 1787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9F0FE51-8DA0-08D1-6132-7054C7A368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3429000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0FD3614-E969-381D-BDC8-E4048A18D7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4850606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34_1">
              <a:extLst>
                <a:ext uri="{FF2B5EF4-FFF2-40B4-BE49-F238E27FC236}">
                  <a16:creationId xmlns:a16="http://schemas.microsoft.com/office/drawing/2014/main" id="{7299EBE8-A623-623B-B58E-476AAA8E1B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983289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7" name="Oval 34_1">
              <a:extLst>
                <a:ext uri="{FF2B5EF4-FFF2-40B4-BE49-F238E27FC236}">
                  <a16:creationId xmlns:a16="http://schemas.microsoft.com/office/drawing/2014/main" id="{FA2465BE-FBF9-599D-56FA-92BC8DF67EC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2404895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1" name="Oval 34_1">
              <a:extLst>
                <a:ext uri="{FF2B5EF4-FFF2-40B4-BE49-F238E27FC236}">
                  <a16:creationId xmlns:a16="http://schemas.microsoft.com/office/drawing/2014/main" id="{99430433-71B4-AA48-6ED9-3BF67F59AA3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3826501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4" name="Rectangle: Top Corners Rounded 39">
              <a:extLst>
                <a:ext uri="{FF2B5EF4-FFF2-40B4-BE49-F238E27FC236}">
                  <a16:creationId xmlns:a16="http://schemas.microsoft.com/office/drawing/2014/main" id="{0C424701-E77C-EA79-B291-BDB4C5DB5F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688" y="0"/>
              <a:ext cx="3771900" cy="6564313"/>
            </a:xfrm>
            <a:prstGeom prst="round2SameRect">
              <a:avLst>
                <a:gd name="adj1" fmla="val 0"/>
                <a:gd name="adj2" fmla="val 7286"/>
              </a:avLst>
            </a:prstGeom>
            <a:gradFill flip="none" rotWithShape="1">
              <a:gsLst>
                <a:gs pos="59000">
                  <a:srgbClr val="F7F7FA"/>
                </a:gs>
                <a:gs pos="100000">
                  <a:schemeClr val="bg2"/>
                </a:gs>
              </a:gsLst>
              <a:lin ang="162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pic>
          <p:nvPicPr>
            <p:cNvPr id="26" name="Picture 25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10FB088-21E5-EA5C-39FE-203F9E2A34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243" b="10085"/>
            <a:stretch/>
          </p:blipFill>
          <p:spPr>
            <a:xfrm flipH="1">
              <a:off x="293688" y="3059994"/>
              <a:ext cx="3424872" cy="3272962"/>
            </a:xfrm>
            <a:prstGeom prst="rect">
              <a:avLst/>
            </a:prstGeom>
          </p:spPr>
        </p:pic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AD16DEB-2304-9500-6B65-ED57E73248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2007394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4_1">
              <a:extLst>
                <a:ext uri="{FF2B5EF4-FFF2-40B4-BE49-F238E27FC236}">
                  <a16:creationId xmlns:a16="http://schemas.microsoft.com/office/drawing/2014/main" id="{9FDC5FED-917A-1477-A83A-87828586FF1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1897" y="5248107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0FAFC48F-CA15-DA7E-427D-145EB3938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582" y="1952208"/>
            <a:ext cx="3182112" cy="677108"/>
          </a:xfrm>
        </p:spPr>
        <p:txBody>
          <a:bodyPr anchor="ctr"/>
          <a:lstStyle>
            <a:lvl1pPr algn="ctr">
              <a:defRPr sz="4400">
                <a:gradFill>
                  <a:gsLst>
                    <a:gs pos="0">
                      <a:srgbClr val="31838E"/>
                    </a:gs>
                    <a:gs pos="100000">
                      <a:srgbClr val="0078D4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A656A5D-95BE-1B40-5D88-6A8721D86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9175" y="1158092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D04C44E6-57CB-D9B6-4238-3DCF4883AE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175" y="2579697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BF98F466-321C-C441-7F1E-59BF43EDD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175" y="4001303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E92F6322-280D-45C2-5263-6B5FFB4EEF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175" y="5422909"/>
            <a:ext cx="5953526" cy="276999"/>
          </a:xfrm>
        </p:spPr>
        <p:txBody>
          <a:bodyPr lIns="0" tIns="0" rIns="0" bIns="0"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26290341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B3F94137-3261-83F1-7492-D3AA340CE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5B9D59D-4155-87C9-9D67-BEC295FDE850}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EB4D3B0-C1C5-1DE0-DC94-9F5B5A6CAF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alphaModFix amt="8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" r="21355"/>
              <a:stretch/>
            </p:blipFill>
            <p:spPr>
              <a:xfrm>
                <a:off x="7327900" y="3559644"/>
                <a:ext cx="4864100" cy="3298356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773980F-CE02-5F1C-F9E9-ED3C2DBE2885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3D57493-6AEE-CAF9-A0D6-A7B976DC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0860" y="476250"/>
              <a:ext cx="7352720" cy="5905500"/>
            </a:xfrm>
            <a:prstGeom prst="roundRect">
              <a:avLst>
                <a:gd name="adj" fmla="val 279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A040112-C783-835D-38E9-40C8AEFF35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1399" y="585788"/>
              <a:ext cx="7131642" cy="5686424"/>
            </a:xfrm>
            <a:prstGeom prst="roundRect">
              <a:avLst>
                <a:gd name="adj" fmla="val 1787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9F0FE51-8DA0-08D1-6132-7054C7A368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2860359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34_1">
              <a:extLst>
                <a:ext uri="{FF2B5EF4-FFF2-40B4-BE49-F238E27FC236}">
                  <a16:creationId xmlns:a16="http://schemas.microsoft.com/office/drawing/2014/main" id="{7299EBE8-A623-623B-B58E-476AAA8E1B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841129"/>
              <a:ext cx="624256" cy="626604"/>
            </a:xfrm>
            <a:prstGeom prst="ellipse">
              <a:avLst/>
            </a:prstGeom>
            <a:solidFill>
              <a:srgbClr val="F7F7F8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3600">
                <a:ln w="3175">
                  <a:noFill/>
                </a:ln>
                <a:solidFill>
                  <a:schemeClr val="accent2"/>
                </a:soli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7" name="Oval 34_1">
              <a:extLst>
                <a:ext uri="{FF2B5EF4-FFF2-40B4-BE49-F238E27FC236}">
                  <a16:creationId xmlns:a16="http://schemas.microsoft.com/office/drawing/2014/main" id="{FA2465BE-FBF9-599D-56FA-92BC8DF67EC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1978415"/>
              <a:ext cx="624256" cy="626604"/>
            </a:xfrm>
            <a:prstGeom prst="ellipse">
              <a:avLst/>
            </a:prstGeom>
            <a:solidFill>
              <a:srgbClr val="F7F7F8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3600">
                <a:ln w="3175">
                  <a:noFill/>
                </a:ln>
                <a:solidFill>
                  <a:schemeClr val="accent2"/>
                </a:soli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1" name="Oval 34_1">
              <a:extLst>
                <a:ext uri="{FF2B5EF4-FFF2-40B4-BE49-F238E27FC236}">
                  <a16:creationId xmlns:a16="http://schemas.microsoft.com/office/drawing/2014/main" id="{99430433-71B4-AA48-6ED9-3BF67F59AA3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897" y="3115698"/>
              <a:ext cx="624256" cy="626604"/>
            </a:xfrm>
            <a:prstGeom prst="ellipse">
              <a:avLst/>
            </a:prstGeom>
            <a:solidFill>
              <a:srgbClr val="F7F7F8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3600">
                <a:ln w="3175">
                  <a:noFill/>
                </a:ln>
                <a:solidFill>
                  <a:schemeClr val="accent2"/>
                </a:soli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4" name="Rectangle: Top Corners Rounded 39">
              <a:extLst>
                <a:ext uri="{FF2B5EF4-FFF2-40B4-BE49-F238E27FC236}">
                  <a16:creationId xmlns:a16="http://schemas.microsoft.com/office/drawing/2014/main" id="{0C424701-E77C-EA79-B291-BDB4C5DB5F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688" y="0"/>
              <a:ext cx="3771900" cy="6564313"/>
            </a:xfrm>
            <a:prstGeom prst="round2SameRect">
              <a:avLst>
                <a:gd name="adj1" fmla="val 0"/>
                <a:gd name="adj2" fmla="val 7286"/>
              </a:avLst>
            </a:prstGeom>
            <a:gradFill flip="none" rotWithShape="1">
              <a:gsLst>
                <a:gs pos="59000">
                  <a:srgbClr val="F7F7FA"/>
                </a:gs>
                <a:gs pos="100000">
                  <a:schemeClr val="bg2"/>
                </a:gs>
              </a:gsLst>
              <a:lin ang="162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7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chemeClr val="tx1">
                        <a:lumMod val="50000"/>
                        <a:lumOff val="50000"/>
                      </a:schemeClr>
                    </a:gs>
                    <a:gs pos="67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pic>
          <p:nvPicPr>
            <p:cNvPr id="26" name="Picture 25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10FB088-21E5-EA5C-39FE-203F9E2A34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243" b="10085"/>
            <a:stretch/>
          </p:blipFill>
          <p:spPr>
            <a:xfrm flipH="1">
              <a:off x="293688" y="3059994"/>
              <a:ext cx="3424872" cy="3272962"/>
            </a:xfrm>
            <a:prstGeom prst="rect">
              <a:avLst/>
            </a:prstGeom>
          </p:spPr>
        </p:pic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AD16DEB-2304-9500-6B65-ED57E73248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1723074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4_1">
              <a:extLst>
                <a:ext uri="{FF2B5EF4-FFF2-40B4-BE49-F238E27FC236}">
                  <a16:creationId xmlns:a16="http://schemas.microsoft.com/office/drawing/2014/main" id="{9FDC5FED-917A-1477-A83A-87828586FF1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1897" y="4252983"/>
              <a:ext cx="624256" cy="626604"/>
            </a:xfrm>
            <a:prstGeom prst="ellipse">
              <a:avLst/>
            </a:prstGeom>
            <a:solidFill>
              <a:srgbClr val="F7F7F8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3600">
                <a:ln w="3175">
                  <a:noFill/>
                </a:ln>
                <a:solidFill>
                  <a:schemeClr val="accent2"/>
                </a:solidFill>
                <a:latin typeface="+mj-lt"/>
                <a:ea typeface="+mj-lt"/>
                <a:cs typeface="Segoe Sans Display" pitchFamily="2" charset="0"/>
              </a:endParaRP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97D4B10-2D25-DC73-EF4D-CEFDA24366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3997643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34_1">
              <a:extLst>
                <a:ext uri="{FF2B5EF4-FFF2-40B4-BE49-F238E27FC236}">
                  <a16:creationId xmlns:a16="http://schemas.microsoft.com/office/drawing/2014/main" id="{B73D93B4-0234-553F-9E72-C8F7113C669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1897" y="5390269"/>
              <a:ext cx="624256" cy="626604"/>
            </a:xfrm>
            <a:prstGeom prst="ellipse">
              <a:avLst/>
            </a:prstGeom>
            <a:solidFill>
              <a:srgbClr val="F7F7F8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3600">
                <a:ln w="3175">
                  <a:noFill/>
                </a:ln>
                <a:solidFill>
                  <a:schemeClr val="accent2"/>
                </a:solidFill>
                <a:latin typeface="+mj-lt"/>
                <a:ea typeface="+mj-lt"/>
                <a:cs typeface="Segoe Sans Display" pitchFamily="2" charset="0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95588F98-E2D2-FC4D-22A8-A4C9FC9217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9174" y="5134928"/>
              <a:ext cx="5953526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247ADE20-2B27-5CD3-16D9-091ADAB57C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582" y="1952208"/>
            <a:ext cx="3182112" cy="677108"/>
          </a:xfrm>
        </p:spPr>
        <p:txBody>
          <a:bodyPr anchor="ctr"/>
          <a:lstStyle>
            <a:lvl1pPr algn="ctr">
              <a:defRPr sz="4400">
                <a:gradFill>
                  <a:gsLst>
                    <a:gs pos="0">
                      <a:srgbClr val="31838E"/>
                    </a:gs>
                    <a:gs pos="100000">
                      <a:srgbClr val="0078D4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A656A5D-95BE-1B40-5D88-6A8721D86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89175" y="1031321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D04C44E6-57CB-D9B6-4238-3DCF4883AE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175" y="2168606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BF98F466-321C-C441-7F1E-59BF43EDD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175" y="3305889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E92F6322-280D-45C2-5263-6B5FFB4EEF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175" y="4443175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58" name="Text Placeholder 16">
            <a:extLst>
              <a:ext uri="{FF2B5EF4-FFF2-40B4-BE49-F238E27FC236}">
                <a16:creationId xmlns:a16="http://schemas.microsoft.com/office/drawing/2014/main" id="{55919783-8D5E-754A-40AC-6219464CB2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9175" y="5580460"/>
            <a:ext cx="5953526" cy="246221"/>
          </a:xfrm>
        </p:spPr>
        <p:txBody>
          <a:bodyPr lIns="0" tIns="0" rIns="0" bIns="0"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21358772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EE46382-ACD5-B0CC-7269-7BB1C9555E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1"/>
            <a:ext cx="11565888" cy="6858000"/>
            <a:chOff x="1" y="1"/>
            <a:chExt cx="11565888" cy="685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BA857F9-0CF0-50ED-B7DB-D32D06FFFC1D}"/>
                </a:ext>
              </a:extLst>
            </p:cNvPr>
            <p:cNvGrpSpPr/>
            <p:nvPr userDrawn="1"/>
          </p:nvGrpSpPr>
          <p:grpSpPr>
            <a:xfrm>
              <a:off x="1" y="1"/>
              <a:ext cx="4151087" cy="6858000"/>
              <a:chOff x="1" y="1"/>
              <a:chExt cx="4151087" cy="6858000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AB39207-5403-B0F4-2C6F-865FBA007DDC}"/>
                  </a:ext>
                </a:extLst>
              </p:cNvPr>
              <p:cNvSpPr/>
              <p:nvPr userDrawn="1"/>
            </p:nvSpPr>
            <p:spPr>
              <a:xfrm>
                <a:off x="1" y="1"/>
                <a:ext cx="4151086" cy="6858000"/>
              </a:xfrm>
              <a:custGeom>
                <a:avLst/>
                <a:gdLst>
                  <a:gd name="connsiteX0" fmla="*/ 0 w 1641815"/>
                  <a:gd name="connsiteY0" fmla="*/ 0 h 1641815"/>
                  <a:gd name="connsiteX1" fmla="*/ 1641816 w 1641815"/>
                  <a:gd name="connsiteY1" fmla="*/ 0 h 1641815"/>
                  <a:gd name="connsiteX2" fmla="*/ 1641816 w 1641815"/>
                  <a:gd name="connsiteY2" fmla="*/ 1641816 h 1641815"/>
                  <a:gd name="connsiteX3" fmla="*/ 0 w 1641815"/>
                  <a:gd name="connsiteY3" fmla="*/ 1641816 h 164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1815" h="1641815">
                    <a:moveTo>
                      <a:pt x="0" y="0"/>
                    </a:moveTo>
                    <a:lnTo>
                      <a:pt x="1641816" y="0"/>
                    </a:lnTo>
                    <a:lnTo>
                      <a:pt x="1641816" y="1641816"/>
                    </a:lnTo>
                    <a:lnTo>
                      <a:pt x="0" y="1641816"/>
                    </a:lnTo>
                    <a:close/>
                  </a:path>
                </a:pathLst>
              </a:custGeom>
              <a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 t="-30000"/>
                </a:stretch>
              </a:blipFill>
              <a:ln w="3416" cap="flat">
                <a:noFill/>
                <a:prstDash val="solid"/>
                <a:miter/>
              </a:ln>
              <a:effectLst>
                <a:outerShdw blurRad="152400" dist="38100" algn="l" rotWithShape="0">
                  <a:schemeClr val="bg1">
                    <a:lumMod val="65000"/>
                    <a:alpha val="76000"/>
                  </a:scheme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8DCE9D0-CA98-4357-84B6-BD4A1BEF214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" y="1"/>
                <a:ext cx="4151087" cy="6858000"/>
              </a:xfrm>
              <a:prstGeom prst="rect">
                <a:avLst/>
              </a:prstGeom>
              <a:gradFill flip="none" rotWithShape="1">
                <a:gsLst>
                  <a:gs pos="99000">
                    <a:srgbClr val="105D7D">
                      <a:alpha val="38000"/>
                    </a:srgbClr>
                  </a:gs>
                  <a:gs pos="0">
                    <a:srgbClr val="105D7D">
                      <a:alpha val="65715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215900" dist="38100" algn="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75CAFCA-713D-7F6C-D065-6959F54442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27039" y="453232"/>
              <a:ext cx="4802507" cy="5951536"/>
            </a:xfrm>
            <a:prstGeom prst="rect">
              <a:avLst/>
            </a:prstGeom>
            <a:noFill/>
            <a:ln w="1270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12C9C59-5444-8D85-4D77-ECEF1CF5DB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2437078"/>
              <a:ext cx="5600064" cy="16639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4A9DE30-E831-109B-3237-DF16CF4E4F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4420923"/>
              <a:ext cx="5600064" cy="166395"/>
            </a:xfrm>
            <a:prstGeom prst="rect">
              <a:avLst/>
            </a:prstGeom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991D88-399A-9282-FF7C-71DB66DE77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2971676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1" name="Freeform: Shape 24">
                <a:extLst>
                  <a:ext uri="{FF2B5EF4-FFF2-40B4-BE49-F238E27FC236}">
                    <a16:creationId xmlns:a16="http://schemas.microsoft.com/office/drawing/2014/main" id="{CBBB6C0E-6613-42DF-6269-52997F87A933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25">
                <a:extLst>
                  <a:ext uri="{FF2B5EF4-FFF2-40B4-BE49-F238E27FC236}">
                    <a16:creationId xmlns:a16="http://schemas.microsoft.com/office/drawing/2014/main" id="{DCF42D9F-AF84-8116-A713-FDA45859C6CE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CC0EB7E-4EA9-DA75-49A2-3392A91A7A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4955522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22" name="Freeform: Shape 24">
                <a:extLst>
                  <a:ext uri="{FF2B5EF4-FFF2-40B4-BE49-F238E27FC236}">
                    <a16:creationId xmlns:a16="http://schemas.microsoft.com/office/drawing/2014/main" id="{07C11B08-4782-174B-2C08-A4CC03EFFC56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prstGeom prst="ellipse">
                <a:avLst/>
              </a:pr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5">
                <a:extLst>
                  <a:ext uri="{FF2B5EF4-FFF2-40B4-BE49-F238E27FC236}">
                    <a16:creationId xmlns:a16="http://schemas.microsoft.com/office/drawing/2014/main" id="{36263C12-8C36-10AC-1DEE-1E0DD65FC002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prstGeom prst="ellipse">
                <a:avLst/>
              </a:pr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69248A-3406-B83E-0D76-2A2F79FE6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987831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6" name="Freeform: Shape 24">
                <a:extLst>
                  <a:ext uri="{FF2B5EF4-FFF2-40B4-BE49-F238E27FC236}">
                    <a16:creationId xmlns:a16="http://schemas.microsoft.com/office/drawing/2014/main" id="{93B1DBCA-72E7-E628-75E5-2E2DBD2DDE4A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5">
                <a:extLst>
                  <a:ext uri="{FF2B5EF4-FFF2-40B4-BE49-F238E27FC236}">
                    <a16:creationId xmlns:a16="http://schemas.microsoft.com/office/drawing/2014/main" id="{D0EA9E22-4266-C455-B16F-D6A0BCF50B60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D59500C3-C8B7-80EF-2DB6-1CC7E7633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452" y="2994132"/>
            <a:ext cx="2649230" cy="615553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F1AAE4-8A6B-A16B-09A7-37F48D2B6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965825" y="1291267"/>
            <a:ext cx="5643563" cy="307777"/>
          </a:xfrm>
        </p:spPr>
        <p:txBody>
          <a:bodyPr anchor="ctr"/>
          <a:lstStyle>
            <a:lvl1pPr marL="0" indent="0">
              <a:buNone/>
              <a:defRPr sz="20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D1A29E6-E23A-F852-01B9-79D3CF8A0F9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965825" y="3275111"/>
            <a:ext cx="5643563" cy="307777"/>
          </a:xfrm>
        </p:spPr>
        <p:txBody>
          <a:bodyPr anchor="ctr"/>
          <a:lstStyle>
            <a:lvl1pPr marL="0" indent="0">
              <a:buNone/>
              <a:defRPr sz="20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D609F0A-B32D-0A24-7ABB-F99E0E5D849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965825" y="5258957"/>
            <a:ext cx="5643563" cy="30777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59067183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DDB7A0A-AA48-FE97-7367-1B3107FD78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1"/>
            <a:ext cx="11565888" cy="6858000"/>
            <a:chOff x="1" y="1"/>
            <a:chExt cx="11565888" cy="685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BA857F9-0CF0-50ED-B7DB-D32D06FFFC1D}"/>
                </a:ext>
              </a:extLst>
            </p:cNvPr>
            <p:cNvGrpSpPr/>
            <p:nvPr userDrawn="1"/>
          </p:nvGrpSpPr>
          <p:grpSpPr>
            <a:xfrm>
              <a:off x="1" y="1"/>
              <a:ext cx="4151087" cy="6858000"/>
              <a:chOff x="1" y="1"/>
              <a:chExt cx="4151087" cy="6858000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AB39207-5403-B0F4-2C6F-865FBA007DDC}"/>
                  </a:ext>
                </a:extLst>
              </p:cNvPr>
              <p:cNvSpPr/>
              <p:nvPr userDrawn="1"/>
            </p:nvSpPr>
            <p:spPr>
              <a:xfrm>
                <a:off x="1" y="1"/>
                <a:ext cx="4151086" cy="6858000"/>
              </a:xfrm>
              <a:custGeom>
                <a:avLst/>
                <a:gdLst>
                  <a:gd name="connsiteX0" fmla="*/ 0 w 1641815"/>
                  <a:gd name="connsiteY0" fmla="*/ 0 h 1641815"/>
                  <a:gd name="connsiteX1" fmla="*/ 1641816 w 1641815"/>
                  <a:gd name="connsiteY1" fmla="*/ 0 h 1641815"/>
                  <a:gd name="connsiteX2" fmla="*/ 1641816 w 1641815"/>
                  <a:gd name="connsiteY2" fmla="*/ 1641816 h 1641815"/>
                  <a:gd name="connsiteX3" fmla="*/ 0 w 1641815"/>
                  <a:gd name="connsiteY3" fmla="*/ 1641816 h 164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1815" h="1641815">
                    <a:moveTo>
                      <a:pt x="0" y="0"/>
                    </a:moveTo>
                    <a:lnTo>
                      <a:pt x="1641816" y="0"/>
                    </a:lnTo>
                    <a:lnTo>
                      <a:pt x="1641816" y="1641816"/>
                    </a:lnTo>
                    <a:lnTo>
                      <a:pt x="0" y="1641816"/>
                    </a:lnTo>
                    <a:close/>
                  </a:path>
                </a:pathLst>
              </a:custGeom>
              <a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 t="-30000"/>
                </a:stretch>
              </a:blipFill>
              <a:ln w="3416" cap="flat">
                <a:noFill/>
                <a:prstDash val="solid"/>
                <a:miter/>
              </a:ln>
              <a:effectLst>
                <a:outerShdw blurRad="152400" dist="38100" algn="l" rotWithShape="0">
                  <a:schemeClr val="bg1">
                    <a:lumMod val="65000"/>
                    <a:alpha val="76000"/>
                  </a:scheme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8DCE9D0-CA98-4357-84B6-BD4A1BEF214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" y="1"/>
                <a:ext cx="4151087" cy="6858000"/>
              </a:xfrm>
              <a:prstGeom prst="rect">
                <a:avLst/>
              </a:prstGeom>
              <a:gradFill flip="none" rotWithShape="1">
                <a:gsLst>
                  <a:gs pos="99000">
                    <a:srgbClr val="105D7D">
                      <a:alpha val="38000"/>
                    </a:srgbClr>
                  </a:gs>
                  <a:gs pos="0">
                    <a:srgbClr val="105D7D">
                      <a:alpha val="65715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215900" dist="38100" algn="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75CAFCA-713D-7F6C-D065-6959F54442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27039" y="453232"/>
              <a:ext cx="4802507" cy="5951536"/>
            </a:xfrm>
            <a:prstGeom prst="rect">
              <a:avLst/>
            </a:prstGeom>
            <a:noFill/>
            <a:ln w="1270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991D88-399A-9282-FF7C-71DB66DE77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2310296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1" name="Freeform: Shape 24">
                <a:extLst>
                  <a:ext uri="{FF2B5EF4-FFF2-40B4-BE49-F238E27FC236}">
                    <a16:creationId xmlns:a16="http://schemas.microsoft.com/office/drawing/2014/main" id="{CBBB6C0E-6613-42DF-6269-52997F87A933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25">
                <a:extLst>
                  <a:ext uri="{FF2B5EF4-FFF2-40B4-BE49-F238E27FC236}">
                    <a16:creationId xmlns:a16="http://schemas.microsoft.com/office/drawing/2014/main" id="{DCF42D9F-AF84-8116-A713-FDA45859C6CE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69248A-3406-B83E-0D76-2A2F79FE6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987538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6" name="Freeform: Shape 24">
                <a:extLst>
                  <a:ext uri="{FF2B5EF4-FFF2-40B4-BE49-F238E27FC236}">
                    <a16:creationId xmlns:a16="http://schemas.microsoft.com/office/drawing/2014/main" id="{93B1DBCA-72E7-E628-75E5-2E2DBD2DDE4A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5">
                <a:extLst>
                  <a:ext uri="{FF2B5EF4-FFF2-40B4-BE49-F238E27FC236}">
                    <a16:creationId xmlns:a16="http://schemas.microsoft.com/office/drawing/2014/main" id="{D0EA9E22-4266-C455-B16F-D6A0BCF50B60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8AFAE0D2-5EEF-A723-7E72-5C3AC00360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3633054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0" name="Freeform: Shape 24">
                <a:extLst>
                  <a:ext uri="{FF2B5EF4-FFF2-40B4-BE49-F238E27FC236}">
                    <a16:creationId xmlns:a16="http://schemas.microsoft.com/office/drawing/2014/main" id="{6D53BAFA-92E2-F73A-0EDE-0A25E0AD0105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25">
                <a:extLst>
                  <a:ext uri="{FF2B5EF4-FFF2-40B4-BE49-F238E27FC236}">
                    <a16:creationId xmlns:a16="http://schemas.microsoft.com/office/drawing/2014/main" id="{78CF8ECC-DD95-3978-E775-5CDBABDE8A0B}"/>
                  </a:ext>
                </a:extLst>
              </p:cNvPr>
              <p:cNvSpPr/>
              <p:nvPr userDrawn="1"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AA12924-9138-AC00-AA2E-02B40BCD66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4955814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4" name="Freeform: Shape 24">
                <a:extLst>
                  <a:ext uri="{FF2B5EF4-FFF2-40B4-BE49-F238E27FC236}">
                    <a16:creationId xmlns:a16="http://schemas.microsoft.com/office/drawing/2014/main" id="{977D23C5-C754-D7E3-431F-4A601275BEF8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25">
                <a:extLst>
                  <a:ext uri="{FF2B5EF4-FFF2-40B4-BE49-F238E27FC236}">
                    <a16:creationId xmlns:a16="http://schemas.microsoft.com/office/drawing/2014/main" id="{AEAB98FC-AD16-7D0B-95F7-0843CC9E34BB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EE2985F1-5565-27E6-5141-9695B6240E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2106241"/>
              <a:ext cx="5600064" cy="166395"/>
            </a:xfrm>
            <a:prstGeom prst="rect">
              <a:avLst/>
            </a:prstGeom>
          </p:spPr>
        </p:pic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AD659AF6-515E-D9C2-7B38-E943F13655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3428999"/>
              <a:ext cx="5600064" cy="166395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BF496F20-75DC-B4F7-305D-01DA07886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4751757"/>
              <a:ext cx="5600064" cy="166395"/>
            </a:xfrm>
            <a:prstGeom prst="rect">
              <a:avLst/>
            </a:prstGeom>
          </p:spPr>
        </p:pic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7C1362FD-7B83-EB9C-F4E4-CF1B55C73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452" y="2994131"/>
            <a:ext cx="2649230" cy="615553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F1AAE4-8A6B-A16B-09A7-37F48D2B6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965825" y="1306362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D1A29E6-E23A-F852-01B9-79D3CF8A0F9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965825" y="2629120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EBD1CFB-5756-FBE6-13D4-A66D0ECF716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965825" y="3951878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39561FF3-93F3-6B52-09F6-52917E7ACDD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965825" y="5274638"/>
            <a:ext cx="5643563" cy="276999"/>
          </a:xfrm>
        </p:spPr>
        <p:txBody>
          <a:bodyPr anchor="ctr"/>
          <a:lstStyle>
            <a:lvl1pPr marL="0" indent="0">
              <a:buNone/>
              <a:defRPr sz="18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52987897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152A2AD-7867-7E63-43D5-ADBE10F71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" y="1"/>
            <a:ext cx="11565888" cy="6858000"/>
            <a:chOff x="1" y="1"/>
            <a:chExt cx="11565888" cy="685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BA857F9-0CF0-50ED-B7DB-D32D06FFFC1D}"/>
                </a:ext>
              </a:extLst>
            </p:cNvPr>
            <p:cNvGrpSpPr/>
            <p:nvPr userDrawn="1"/>
          </p:nvGrpSpPr>
          <p:grpSpPr>
            <a:xfrm>
              <a:off x="1" y="1"/>
              <a:ext cx="4151087" cy="6858000"/>
              <a:chOff x="1" y="1"/>
              <a:chExt cx="4151087" cy="6858000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AB39207-5403-B0F4-2C6F-865FBA007DDC}"/>
                  </a:ext>
                </a:extLst>
              </p:cNvPr>
              <p:cNvSpPr/>
              <p:nvPr userDrawn="1"/>
            </p:nvSpPr>
            <p:spPr>
              <a:xfrm>
                <a:off x="1" y="1"/>
                <a:ext cx="4151086" cy="6858000"/>
              </a:xfrm>
              <a:custGeom>
                <a:avLst/>
                <a:gdLst>
                  <a:gd name="connsiteX0" fmla="*/ 0 w 1641815"/>
                  <a:gd name="connsiteY0" fmla="*/ 0 h 1641815"/>
                  <a:gd name="connsiteX1" fmla="*/ 1641816 w 1641815"/>
                  <a:gd name="connsiteY1" fmla="*/ 0 h 1641815"/>
                  <a:gd name="connsiteX2" fmla="*/ 1641816 w 1641815"/>
                  <a:gd name="connsiteY2" fmla="*/ 1641816 h 1641815"/>
                  <a:gd name="connsiteX3" fmla="*/ 0 w 1641815"/>
                  <a:gd name="connsiteY3" fmla="*/ 1641816 h 164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1815" h="1641815">
                    <a:moveTo>
                      <a:pt x="0" y="0"/>
                    </a:moveTo>
                    <a:lnTo>
                      <a:pt x="1641816" y="0"/>
                    </a:lnTo>
                    <a:lnTo>
                      <a:pt x="1641816" y="1641816"/>
                    </a:lnTo>
                    <a:lnTo>
                      <a:pt x="0" y="1641816"/>
                    </a:lnTo>
                    <a:close/>
                  </a:path>
                </a:pathLst>
              </a:custGeom>
              <a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 t="-30000"/>
                </a:stretch>
              </a:blipFill>
              <a:ln w="3416" cap="flat">
                <a:noFill/>
                <a:prstDash val="solid"/>
                <a:miter/>
              </a:ln>
              <a:effectLst>
                <a:outerShdw blurRad="152400" dist="38100" algn="l" rotWithShape="0">
                  <a:schemeClr val="bg1">
                    <a:lumMod val="65000"/>
                    <a:alpha val="76000"/>
                  </a:scheme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8DCE9D0-CA98-4357-84B6-BD4A1BEF214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" y="1"/>
                <a:ext cx="4151087" cy="6858000"/>
              </a:xfrm>
              <a:prstGeom prst="rect">
                <a:avLst/>
              </a:prstGeom>
              <a:gradFill flip="none" rotWithShape="1">
                <a:gsLst>
                  <a:gs pos="99000">
                    <a:srgbClr val="105D7D">
                      <a:alpha val="38000"/>
                    </a:srgbClr>
                  </a:gs>
                  <a:gs pos="0">
                    <a:srgbClr val="105D7D">
                      <a:alpha val="65715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215900" dist="38100" algn="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75CAFCA-713D-7F6C-D065-6959F54442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27039" y="453232"/>
              <a:ext cx="4802507" cy="5951536"/>
            </a:xfrm>
            <a:prstGeom prst="rect">
              <a:avLst/>
            </a:prstGeom>
            <a:noFill/>
            <a:ln w="12700">
              <a:solidFill>
                <a:schemeClr val="bg2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991D88-399A-9282-FF7C-71DB66DE77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1781368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1" name="Freeform: Shape 24">
                <a:extLst>
                  <a:ext uri="{FF2B5EF4-FFF2-40B4-BE49-F238E27FC236}">
                    <a16:creationId xmlns:a16="http://schemas.microsoft.com/office/drawing/2014/main" id="{CBBB6C0E-6613-42DF-6269-52997F87A933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25">
                <a:extLst>
                  <a:ext uri="{FF2B5EF4-FFF2-40B4-BE49-F238E27FC236}">
                    <a16:creationId xmlns:a16="http://schemas.microsoft.com/office/drawing/2014/main" id="{DCF42D9F-AF84-8116-A713-FDA45859C6CE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CC0EB7E-4EA9-DA75-49A2-3392A91A7A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5352292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22" name="Freeform: Shape 24">
                <a:extLst>
                  <a:ext uri="{FF2B5EF4-FFF2-40B4-BE49-F238E27FC236}">
                    <a16:creationId xmlns:a16="http://schemas.microsoft.com/office/drawing/2014/main" id="{07C11B08-4782-174B-2C08-A4CC03EFFC56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prstGeom prst="ellipse">
                <a:avLst/>
              </a:pr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5">
                <a:extLst>
                  <a:ext uri="{FF2B5EF4-FFF2-40B4-BE49-F238E27FC236}">
                    <a16:creationId xmlns:a16="http://schemas.microsoft.com/office/drawing/2014/main" id="{36263C12-8C36-10AC-1DEE-1E0DD65FC002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prstGeom prst="ellipse">
                <a:avLst/>
              </a:pr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69248A-3406-B83E-0D76-2A2F79FE6C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591061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36" name="Freeform: Shape 24">
                <a:extLst>
                  <a:ext uri="{FF2B5EF4-FFF2-40B4-BE49-F238E27FC236}">
                    <a16:creationId xmlns:a16="http://schemas.microsoft.com/office/drawing/2014/main" id="{93B1DBCA-72E7-E628-75E5-2E2DBD2DDE4A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5">
                <a:extLst>
                  <a:ext uri="{FF2B5EF4-FFF2-40B4-BE49-F238E27FC236}">
                    <a16:creationId xmlns:a16="http://schemas.microsoft.com/office/drawing/2014/main" id="{D0EA9E22-4266-C455-B16F-D6A0BCF50B60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8AFAE0D2-5EEF-A723-7E72-5C3AC00360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2971676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0" name="Freeform: Shape 24">
                <a:extLst>
                  <a:ext uri="{FF2B5EF4-FFF2-40B4-BE49-F238E27FC236}">
                    <a16:creationId xmlns:a16="http://schemas.microsoft.com/office/drawing/2014/main" id="{6D53BAFA-92E2-F73A-0EDE-0A25E0AD0105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25">
                <a:extLst>
                  <a:ext uri="{FF2B5EF4-FFF2-40B4-BE49-F238E27FC236}">
                    <a16:creationId xmlns:a16="http://schemas.microsoft.com/office/drawing/2014/main" id="{78CF8ECC-DD95-3978-E775-5CDBABDE8A0B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AA12924-9138-AC00-AA2E-02B40BCD66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4775199" y="4161985"/>
              <a:ext cx="914648" cy="914648"/>
              <a:chOff x="5047758" y="912128"/>
              <a:chExt cx="763571" cy="771525"/>
            </a:xfrm>
            <a:effectLst>
              <a:outerShdw blurRad="63500" sx="102000" sy="102000" algn="ctr" rotWithShape="0">
                <a:schemeClr val="bg1">
                  <a:lumMod val="75000"/>
                  <a:alpha val="40000"/>
                </a:schemeClr>
              </a:outerShdw>
            </a:effectLst>
          </p:grpSpPr>
          <p:sp>
            <p:nvSpPr>
              <p:cNvPr id="104" name="Freeform: Shape 24">
                <a:extLst>
                  <a:ext uri="{FF2B5EF4-FFF2-40B4-BE49-F238E27FC236}">
                    <a16:creationId xmlns:a16="http://schemas.microsoft.com/office/drawing/2014/main" id="{977D23C5-C754-D7E3-431F-4A601275BEF8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25">
                <a:extLst>
                  <a:ext uri="{FF2B5EF4-FFF2-40B4-BE49-F238E27FC236}">
                    <a16:creationId xmlns:a16="http://schemas.microsoft.com/office/drawing/2014/main" id="{AEAB98FC-AD16-7D0B-95F7-0843CC9E34BB}"/>
                  </a:ext>
                </a:extLst>
              </p:cNvPr>
              <p:cNvSpPr/>
              <p:nvPr/>
            </p:nvSpPr>
            <p:spPr>
              <a:xfrm>
                <a:off x="5118460" y="983566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R="0" lvl="0" indent="0" defTabSz="91446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765" b="0" i="0" u="none" strike="noStrike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EE2985F1-5565-27E6-5141-9695B6240E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1643540"/>
              <a:ext cx="5600064" cy="166395"/>
            </a:xfrm>
            <a:prstGeom prst="rect">
              <a:avLst/>
            </a:prstGeom>
          </p:spPr>
        </p:pic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AD659AF6-515E-D9C2-7B38-E943F13655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2833847"/>
              <a:ext cx="5600064" cy="166395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BF496F20-75DC-B4F7-305D-01DA07886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4024154"/>
              <a:ext cx="5600064" cy="166395"/>
            </a:xfrm>
            <a:prstGeom prst="rect">
              <a:avLst/>
            </a:prstGeom>
          </p:spPr>
        </p:pic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134F1C31-094A-0D4F-333F-C78B9469FB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5825" y="5214462"/>
              <a:ext cx="5600064" cy="166395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874CEDA-7CEA-C934-9624-DEF538055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7452" y="2994131"/>
            <a:ext cx="2649230" cy="615553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F1AAE4-8A6B-A16B-09A7-37F48D2B6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965825" y="925274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D1A29E6-E23A-F852-01B9-79D3CF8A0F9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965825" y="2115581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EBD1CFB-5756-FBE6-13D4-A66D0ECF716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965825" y="3305889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39561FF3-93F3-6B52-09F6-52917E7ACDD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965825" y="4496198"/>
            <a:ext cx="5643563" cy="246221"/>
          </a:xfr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D609F0A-B32D-0A24-7ABB-F99E0E5D849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965825" y="5686505"/>
            <a:ext cx="5643563" cy="24622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spc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67845432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B62264C-4817-EC1E-DA95-04ABE02FA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74A34F-5D0E-47E7-AE77-BC1B96EB5C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Picture Placeholder 3">
              <a:extLst>
                <a:ext uri="{FF2B5EF4-FFF2-40B4-BE49-F238E27FC236}">
                  <a16:creationId xmlns:a16="http://schemas.microsoft.com/office/drawing/2014/main" id="{C37D4D47-DF30-A474-9885-03995FB5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1" t="16373" r="4800" b="16472"/>
            <a:stretch/>
          </p:blipFill>
          <p:spPr>
            <a:xfrm>
              <a:off x="584200" y="1123951"/>
              <a:ext cx="11022585" cy="4610101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6" name="Rectangle: Rounded Corners 36">
              <a:extLst>
                <a:ext uri="{FF2B5EF4-FFF2-40B4-BE49-F238E27FC236}">
                  <a16:creationId xmlns:a16="http://schemas.microsoft.com/office/drawing/2014/main" id="{79B50CF8-60AC-AFCE-417D-640F2475E1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3790951" y="-2081784"/>
              <a:ext cx="4610100" cy="11021568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7" name="Rectangle: Top Corners Rounded 6">
              <a:extLst>
                <a:ext uri="{FF2B5EF4-FFF2-40B4-BE49-F238E27FC236}">
                  <a16:creationId xmlns:a16="http://schemas.microsoft.com/office/drawing/2014/main" id="{DAFAC0D8-A3BF-6A45-E6E0-913BE7AAFC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3790443" y="-2082292"/>
              <a:ext cx="4610100" cy="11022584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2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B173A8F7-F826-20F7-41F0-BF586C1C6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-723273"/>
            <a:ext cx="11018520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uote slid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952F893-0DC9-D473-2BDE-F441B14CCA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6967" y="2039025"/>
            <a:ext cx="9318066" cy="2246769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228600" indent="0" algn="r">
              <a:buNone/>
              <a:defRPr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”</a:t>
            </a:r>
          </a:p>
          <a:p>
            <a:pPr lvl="1"/>
            <a:r>
              <a:rPr lang="en-US"/>
              <a:t>— Lorem ipsum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1C78285-23E1-A557-527D-66D2BD3A3C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66848" y="4624344"/>
            <a:ext cx="2409152" cy="785402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IN"/>
              <a:t>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00071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2C1E5E-6ECF-45B7-5495-EC89EE24A6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 descr="A close-up of a colorful wavy pattern&#10;&#10;Description automatically generated">
              <a:extLst>
                <a:ext uri="{FF2B5EF4-FFF2-40B4-BE49-F238E27FC236}">
                  <a16:creationId xmlns:a16="http://schemas.microsoft.com/office/drawing/2014/main" id="{636354E9-B978-EB05-0A59-36AD7ED84499}"/>
                </a:ext>
              </a:extLst>
            </p:cNvPr>
            <p:cNvPicPr/>
            <p:nvPr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243" b="17593"/>
            <a:stretch/>
          </p:blipFill>
          <p:spPr>
            <a:xfrm>
              <a:off x="4361842" y="0"/>
              <a:ext cx="7830158" cy="6858000"/>
            </a:xfrm>
            <a:prstGeom prst="rect">
              <a:avLst/>
            </a:prstGeom>
          </p:spPr>
        </p:pic>
        <p:pic>
          <p:nvPicPr>
            <p:cNvPr id="5" name="Picture Placeholder 4" descr="A close-up of a blue and white wavy paper&#10;&#10;Description automatically generated">
              <a:extLst>
                <a:ext uri="{FF2B5EF4-FFF2-40B4-BE49-F238E27FC236}">
                  <a16:creationId xmlns:a16="http://schemas.microsoft.com/office/drawing/2014/main" id="{97A4DA08-AF60-F644-0346-51773272C007}"/>
                </a:ext>
              </a:extLst>
            </p:cNvPr>
            <p:cNvPicPr/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5586" t="16389" r="7468" b="16389"/>
            <a:stretch/>
          </p:blipFill>
          <p:spPr>
            <a:xfrm>
              <a:off x="0" y="1123950"/>
              <a:ext cx="11606784" cy="4610100"/>
            </a:xfrm>
            <a:custGeom>
              <a:avLst/>
              <a:gdLst>
                <a:gd name="connsiteX0" fmla="*/ 0 w 11606784"/>
                <a:gd name="connsiteY0" fmla="*/ 0 h 4610100"/>
                <a:gd name="connsiteX1" fmla="*/ 11378354 w 11606784"/>
                <a:gd name="connsiteY1" fmla="*/ 0 h 4610100"/>
                <a:gd name="connsiteX2" fmla="*/ 11606784 w 11606784"/>
                <a:gd name="connsiteY2" fmla="*/ 228430 h 4610100"/>
                <a:gd name="connsiteX3" fmla="*/ 11606784 w 11606784"/>
                <a:gd name="connsiteY3" fmla="*/ 4381670 h 4610100"/>
                <a:gd name="connsiteX4" fmla="*/ 11378354 w 11606784"/>
                <a:gd name="connsiteY4" fmla="*/ 4610100 h 4610100"/>
                <a:gd name="connsiteX5" fmla="*/ 0 w 11606784"/>
                <a:gd name="connsiteY5" fmla="*/ 4610100 h 461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06784" h="4610100">
                  <a:moveTo>
                    <a:pt x="0" y="0"/>
                  </a:moveTo>
                  <a:lnTo>
                    <a:pt x="11378354" y="0"/>
                  </a:lnTo>
                  <a:cubicBezTo>
                    <a:pt x="11504512" y="0"/>
                    <a:pt x="11606784" y="102272"/>
                    <a:pt x="11606784" y="228430"/>
                  </a:cubicBezTo>
                  <a:lnTo>
                    <a:pt x="11606784" y="4381670"/>
                  </a:lnTo>
                  <a:cubicBezTo>
                    <a:pt x="11606784" y="4507828"/>
                    <a:pt x="11504512" y="4610100"/>
                    <a:pt x="11378354" y="4610100"/>
                  </a:cubicBezTo>
                  <a:lnTo>
                    <a:pt x="0" y="4610100"/>
                  </a:lnTo>
                  <a:close/>
                </a:path>
              </a:pathLst>
            </a:custGeom>
          </p:spPr>
        </p:pic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308CE064-53F1-211A-AD50-ACE17E584EFA}"/>
                </a:ext>
              </a:extLst>
            </p:cNvPr>
            <p:cNvSpPr/>
            <p:nvPr/>
          </p:nvSpPr>
          <p:spPr bwMode="auto">
            <a:xfrm rot="5400000">
              <a:off x="3498057" y="-2374107"/>
              <a:ext cx="4610100" cy="11606213"/>
            </a:xfrm>
            <a:prstGeom prst="round2SameRect">
              <a:avLst>
                <a:gd name="adj1" fmla="val 4955"/>
                <a:gd name="adj2" fmla="val 0"/>
              </a:avLst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90BA6E-74AC-337A-DB4D-0023F9F885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788" y="2875001"/>
            <a:ext cx="10196512" cy="1107996"/>
          </a:xfrm>
        </p:spPr>
        <p:txBody>
          <a:bodyPr lIns="1188720" tIns="0" rIns="0" bIns="0" anchor="ctr"/>
          <a:lstStyle>
            <a:lvl1pPr>
              <a:defRPr/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E278E6-626C-43F7-A014-BF095D69D8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5788" y="3034990"/>
            <a:ext cx="785066" cy="788018"/>
          </a:xfrm>
          <a:prstGeom prst="ellipse">
            <a:avLst/>
          </a:prstGeom>
          <a:solidFill>
            <a:srgbClr val="F7F7F8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3600" dirty="0">
                <a:ln w="3175">
                  <a:noFill/>
                </a:ln>
                <a:gradFill flip="none" rotWithShape="1">
                  <a:gsLst>
                    <a:gs pos="96000">
                      <a:srgbClr val="0078D4"/>
                    </a:gs>
                    <a:gs pos="14000">
                      <a:srgbClr val="3897A3">
                        <a:lumMod val="87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ea typeface="+mj-lt"/>
                <a:cs typeface="Segoe Sans Display Semibold" pitchFamily="2" charset="0"/>
              </a:defRPr>
            </a:lvl1pPr>
          </a:lstStyle>
          <a:p>
            <a:pPr marL="0"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1142636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C75E3BF-511F-F462-9AC2-CE4F935558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2293A2A-D570-16D5-3F50-BA8E0DADCD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15969F2-CFC3-FC1B-6C47-169B655C68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5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30" t="31111" r="4803" b="31111"/>
            <a:stretch/>
          </p:blipFill>
          <p:spPr>
            <a:xfrm>
              <a:off x="447675" y="2133601"/>
              <a:ext cx="11291888" cy="2590800"/>
            </a:xfrm>
            <a:custGeom>
              <a:avLst/>
              <a:gdLst>
                <a:gd name="connsiteX0" fmla="*/ 293771 w 11291888"/>
                <a:gd name="connsiteY0" fmla="*/ 0 h 2590800"/>
                <a:gd name="connsiteX1" fmla="*/ 10998117 w 11291888"/>
                <a:gd name="connsiteY1" fmla="*/ 0 h 2590800"/>
                <a:gd name="connsiteX2" fmla="*/ 11291888 w 11291888"/>
                <a:gd name="connsiteY2" fmla="*/ 293771 h 2590800"/>
                <a:gd name="connsiteX3" fmla="*/ 11291888 w 11291888"/>
                <a:gd name="connsiteY3" fmla="*/ 2297029 h 2590800"/>
                <a:gd name="connsiteX4" fmla="*/ 10998117 w 11291888"/>
                <a:gd name="connsiteY4" fmla="*/ 2590800 h 2590800"/>
                <a:gd name="connsiteX5" fmla="*/ 293771 w 11291888"/>
                <a:gd name="connsiteY5" fmla="*/ 2590800 h 2590800"/>
                <a:gd name="connsiteX6" fmla="*/ 0 w 11291888"/>
                <a:gd name="connsiteY6" fmla="*/ 2297029 h 2590800"/>
                <a:gd name="connsiteX7" fmla="*/ 0 w 11291888"/>
                <a:gd name="connsiteY7" fmla="*/ 293771 h 2590800"/>
                <a:gd name="connsiteX8" fmla="*/ 293771 w 11291888"/>
                <a:gd name="connsiteY8" fmla="*/ 0 h 259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91888" h="2590800">
                  <a:moveTo>
                    <a:pt x="293771" y="0"/>
                  </a:moveTo>
                  <a:lnTo>
                    <a:pt x="10998117" y="0"/>
                  </a:lnTo>
                  <a:cubicBezTo>
                    <a:pt x="11160362" y="0"/>
                    <a:pt x="11291888" y="131526"/>
                    <a:pt x="11291888" y="293771"/>
                  </a:cubicBezTo>
                  <a:lnTo>
                    <a:pt x="11291888" y="2297029"/>
                  </a:lnTo>
                  <a:cubicBezTo>
                    <a:pt x="11291888" y="2459274"/>
                    <a:pt x="11160362" y="2590800"/>
                    <a:pt x="10998117" y="2590800"/>
                  </a:cubicBezTo>
                  <a:lnTo>
                    <a:pt x="293771" y="2590800"/>
                  </a:lnTo>
                  <a:cubicBezTo>
                    <a:pt x="131526" y="2590800"/>
                    <a:pt x="0" y="2459274"/>
                    <a:pt x="0" y="2297029"/>
                  </a:cubicBezTo>
                  <a:lnTo>
                    <a:pt x="0" y="293771"/>
                  </a:lnTo>
                  <a:cubicBezTo>
                    <a:pt x="0" y="131526"/>
                    <a:pt x="131526" y="0"/>
                    <a:pt x="293771" y="0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32000"/>
                  </a:schemeClr>
                </a:gs>
                <a:gs pos="100000">
                  <a:schemeClr val="bg1"/>
                </a:gs>
              </a:gsLst>
              <a:lin ang="8100000" scaled="1"/>
            </a:gradFill>
            <a:ln w="12700" cap="flat">
              <a:noFill/>
              <a:prstDash val="solid"/>
              <a:miter/>
            </a:ln>
            <a:effectLst/>
          </p:spPr>
        </p:pic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DE90F96-65FD-E18D-2EA4-E2B46F1DE2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675" y="2133601"/>
              <a:ext cx="11291888" cy="2590800"/>
            </a:xfrm>
            <a:prstGeom prst="roundRect">
              <a:avLst>
                <a:gd name="adj" fmla="val 8838"/>
              </a:avLst>
            </a:prstGeom>
            <a:gradFill flip="none" rotWithShape="1">
              <a:gsLst>
                <a:gs pos="54000">
                  <a:srgbClr val="EDF0F6">
                    <a:alpha val="37000"/>
                  </a:srgbClr>
                </a:gs>
                <a:gs pos="100000">
                  <a:schemeClr val="bg1">
                    <a:alpha val="59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22225">
              <a:solidFill>
                <a:schemeClr val="bg2"/>
              </a:solidFill>
              <a:headEnd type="none" w="med" len="med"/>
              <a:tailEnd type="none" w="med" len="med"/>
            </a:ln>
            <a:effectLst>
              <a:outerShdw blurRad="140629" dist="38100" dir="13500000" algn="br" rotWithShape="0">
                <a:schemeClr val="bg1">
                  <a:lumMod val="65000"/>
                  <a:alpha val="40000"/>
                </a:scheme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884DFF7-A99B-2850-464A-16047EB2DC24}"/>
                </a:ext>
              </a:extLst>
            </p:cNvPr>
            <p:cNvSpPr/>
            <p:nvPr userDrawn="1"/>
          </p:nvSpPr>
          <p:spPr bwMode="auto">
            <a:xfrm>
              <a:off x="1056009" y="2133600"/>
              <a:ext cx="675760" cy="725461"/>
            </a:xfrm>
            <a:prstGeom prst="rect">
              <a:avLst/>
            </a:prstGeom>
            <a:solidFill>
              <a:srgbClr val="2A446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noProof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B4FF9D4-F43E-881A-B7B6-9792A933F2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6689" y="2133600"/>
              <a:ext cx="914400" cy="0"/>
            </a:xfrm>
            <a:prstGeom prst="line">
              <a:avLst/>
            </a:prstGeom>
            <a:ln w="38100" cap="rnd">
              <a:solidFill>
                <a:srgbClr val="8DC8E8"/>
              </a:solidFill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FD0B60E-FB0E-3CC7-11E6-1E5A943F89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761929" y="2741661"/>
              <a:ext cx="1254880" cy="1267948"/>
              <a:chOff x="5047758" y="912128"/>
              <a:chExt cx="763571" cy="771525"/>
            </a:xfrm>
            <a:effectLst>
              <a:outerShdw blurRad="50800" dist="38100" algn="l" rotWithShape="0">
                <a:schemeClr val="bg1">
                  <a:lumMod val="75000"/>
                  <a:alpha val="26000"/>
                </a:schemeClr>
              </a:outerShdw>
            </a:effectLst>
          </p:grpSpPr>
          <p:sp>
            <p:nvSpPr>
              <p:cNvPr id="10" name="Freeform: Shape 24">
                <a:extLst>
                  <a:ext uri="{FF2B5EF4-FFF2-40B4-BE49-F238E27FC236}">
                    <a16:creationId xmlns:a16="http://schemas.microsoft.com/office/drawing/2014/main" id="{91D39017-9DF3-84A8-CAFC-D498FA07B071}"/>
                  </a:ext>
                </a:extLst>
              </p:cNvPr>
              <p:cNvSpPr/>
              <p:nvPr/>
            </p:nvSpPr>
            <p:spPr>
              <a:xfrm>
                <a:off x="5047758" y="912128"/>
                <a:ext cx="763571" cy="771525"/>
              </a:xfrm>
              <a:custGeom>
                <a:avLst/>
                <a:gdLst>
                  <a:gd name="connsiteX0" fmla="*/ -664 w 763571"/>
                  <a:gd name="connsiteY0" fmla="*/ 385541 h 771525"/>
                  <a:gd name="connsiteX1" fmla="*/ 381122 w 763571"/>
                  <a:gd name="connsiteY1" fmla="*/ -222 h 771525"/>
                  <a:gd name="connsiteX2" fmla="*/ 762907 w 763571"/>
                  <a:gd name="connsiteY2" fmla="*/ 385541 h 771525"/>
                  <a:gd name="connsiteX3" fmla="*/ 381122 w 763571"/>
                  <a:gd name="connsiteY3" fmla="*/ 771303 h 771525"/>
                  <a:gd name="connsiteX4" fmla="*/ -664 w 763571"/>
                  <a:gd name="connsiteY4" fmla="*/ 38554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3571" h="771525">
                    <a:moveTo>
                      <a:pt x="-664" y="385541"/>
                    </a:moveTo>
                    <a:cubicBezTo>
                      <a:pt x="-664" y="172485"/>
                      <a:pt x="170263" y="-222"/>
                      <a:pt x="381122" y="-222"/>
                    </a:cubicBezTo>
                    <a:cubicBezTo>
                      <a:pt x="591980" y="-222"/>
                      <a:pt x="762907" y="172485"/>
                      <a:pt x="762907" y="385541"/>
                    </a:cubicBezTo>
                    <a:cubicBezTo>
                      <a:pt x="762907" y="598596"/>
                      <a:pt x="591980" y="771303"/>
                      <a:pt x="381122" y="771303"/>
                    </a:cubicBezTo>
                    <a:cubicBezTo>
                      <a:pt x="170263" y="771303"/>
                      <a:pt x="-664" y="598596"/>
                      <a:pt x="-664" y="38554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427" cap="flat">
                <a:noFill/>
                <a:prstDash val="solid"/>
                <a:miter/>
              </a:ln>
              <a:effectLst>
                <a:outerShdw blurRad="101600" dist="38100" dir="10800000" algn="r" rotWithShape="0">
                  <a:schemeClr val="bg1">
                    <a:lumMod val="75000"/>
                    <a:alpha val="20000"/>
                  </a:scheme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25">
                <a:extLst>
                  <a:ext uri="{FF2B5EF4-FFF2-40B4-BE49-F238E27FC236}">
                    <a16:creationId xmlns:a16="http://schemas.microsoft.com/office/drawing/2014/main" id="{53BE5639-E973-FB5C-D868-391C8EAA83A8}"/>
                  </a:ext>
                </a:extLst>
              </p:cNvPr>
              <p:cNvSpPr/>
              <p:nvPr/>
            </p:nvSpPr>
            <p:spPr>
              <a:xfrm>
                <a:off x="5118459" y="983565"/>
                <a:ext cx="622169" cy="628650"/>
              </a:xfrm>
              <a:custGeom>
                <a:avLst/>
                <a:gdLst>
                  <a:gd name="connsiteX0" fmla="*/ -664 w 622169"/>
                  <a:gd name="connsiteY0" fmla="*/ 314103 h 628650"/>
                  <a:gd name="connsiteX1" fmla="*/ 310421 w 622169"/>
                  <a:gd name="connsiteY1" fmla="*/ -222 h 628650"/>
                  <a:gd name="connsiteX2" fmla="*/ 621505 w 622169"/>
                  <a:gd name="connsiteY2" fmla="*/ 314103 h 628650"/>
                  <a:gd name="connsiteX3" fmla="*/ 310421 w 622169"/>
                  <a:gd name="connsiteY3" fmla="*/ 628428 h 628650"/>
                  <a:gd name="connsiteX4" fmla="*/ -664 w 622169"/>
                  <a:gd name="connsiteY4" fmla="*/ 31410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628650">
                    <a:moveTo>
                      <a:pt x="-664" y="314103"/>
                    </a:moveTo>
                    <a:cubicBezTo>
                      <a:pt x="-664" y="140510"/>
                      <a:pt x="138617" y="-222"/>
                      <a:pt x="310421" y="-222"/>
                    </a:cubicBezTo>
                    <a:cubicBezTo>
                      <a:pt x="482224" y="-222"/>
                      <a:pt x="621505" y="140510"/>
                      <a:pt x="621505" y="314103"/>
                    </a:cubicBezTo>
                    <a:cubicBezTo>
                      <a:pt x="621505" y="487696"/>
                      <a:pt x="482224" y="628428"/>
                      <a:pt x="310421" y="628428"/>
                    </a:cubicBezTo>
                    <a:cubicBezTo>
                      <a:pt x="138617" y="628428"/>
                      <a:pt x="-664" y="487696"/>
                      <a:pt x="-664" y="314103"/>
                    </a:cubicBezTo>
                    <a:close/>
                  </a:path>
                </a:pathLst>
              </a:custGeom>
              <a:noFill/>
              <a:ln w="15875" cap="flat">
                <a:gradFill flip="none" rotWithShape="1">
                  <a:gsLst>
                    <a:gs pos="0">
                      <a:srgbClr val="49C5B1"/>
                    </a:gs>
                    <a:gs pos="100000">
                      <a:schemeClr val="accent3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24B574F-BD9B-69E6-6495-95D4E94C5D42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10141231" y="4623707"/>
              <a:ext cx="799535" cy="201388"/>
              <a:chOff x="3049826" y="4046193"/>
              <a:chExt cx="604126" cy="152167"/>
            </a:xfrm>
            <a:effectLst>
              <a:outerShdw blurRad="76200" dist="25400" dir="5400000" algn="t" rotWithShape="0">
                <a:schemeClr val="tx1">
                  <a:lumMod val="90000"/>
                  <a:lumOff val="10000"/>
                  <a:alpha val="45599"/>
                </a:schemeClr>
              </a:outerShdw>
            </a:effectLst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09A6FAD6-8F7F-7394-AA65-5AFBBF475253}"/>
                  </a:ext>
                </a:extLst>
              </p:cNvPr>
              <p:cNvSpPr/>
              <p:nvPr/>
            </p:nvSpPr>
            <p:spPr bwMode="auto">
              <a:xfrm>
                <a:off x="3049826" y="4046193"/>
                <a:ext cx="152167" cy="152167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2A101959-A8AB-8CA2-C3D1-B80A008DF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805" y="4046193"/>
                <a:ext cx="152167" cy="152167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978E6139-10B5-2577-60E5-5873AF31C801}"/>
                  </a:ext>
                </a:extLst>
              </p:cNvPr>
              <p:cNvSpPr/>
              <p:nvPr/>
            </p:nvSpPr>
            <p:spPr bwMode="auto">
              <a:xfrm>
                <a:off x="3501785" y="4046193"/>
                <a:ext cx="152167" cy="152167"/>
              </a:xfrm>
              <a:prstGeom prst="ellipse">
                <a:avLst/>
              </a:prstGeom>
              <a:solidFill>
                <a:srgbClr val="D4EC8E"/>
              </a:solidFill>
              <a:ln w="22225" cap="flat" cmpd="sng" algn="ctr">
                <a:solidFill>
                  <a:schemeClr val="bg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8" name="Title 35">
            <a:extLst>
              <a:ext uri="{FF2B5EF4-FFF2-40B4-BE49-F238E27FC236}">
                <a16:creationId xmlns:a16="http://schemas.microsoft.com/office/drawing/2014/main" id="{E2E43A37-5F07-47CA-5FD1-8BBC48293C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8678" y="3051252"/>
            <a:ext cx="7454643" cy="64876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4400" spc="-49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33942512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B62264C-4817-EC1E-DA95-04ABE02FA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D74A34F-5D0E-47E7-AE77-BC1B96EB5CF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5" name="Picture Placeholder 3">
              <a:extLst>
                <a:ext uri="{FF2B5EF4-FFF2-40B4-BE49-F238E27FC236}">
                  <a16:creationId xmlns:a16="http://schemas.microsoft.com/office/drawing/2014/main" id="{C37D4D47-DF30-A474-9885-03995FB54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1" t="16373" r="4800" b="16472"/>
            <a:stretch/>
          </p:blipFill>
          <p:spPr>
            <a:xfrm>
              <a:off x="584200" y="1123951"/>
              <a:ext cx="11022585" cy="4610101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6" name="Rectangle: Rounded Corners 36">
              <a:extLst>
                <a:ext uri="{FF2B5EF4-FFF2-40B4-BE49-F238E27FC236}">
                  <a16:creationId xmlns:a16="http://schemas.microsoft.com/office/drawing/2014/main" id="{79B50CF8-60AC-AFCE-417D-640F2475E1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3790951" y="-2081784"/>
              <a:ext cx="4610100" cy="11021568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7" name="Rectangle: Top Corners Rounded 6">
              <a:extLst>
                <a:ext uri="{FF2B5EF4-FFF2-40B4-BE49-F238E27FC236}">
                  <a16:creationId xmlns:a16="http://schemas.microsoft.com/office/drawing/2014/main" id="{DAFAC0D8-A3BF-6A45-E6E0-913BE7AAFC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3790443" y="-2082292"/>
              <a:ext cx="4610100" cy="11022584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B173A8F7-F826-20F7-41F0-BF586C1C6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-723273"/>
            <a:ext cx="11018520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uote slid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952F893-0DC9-D473-2BDE-F441B14CCA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6967" y="2039025"/>
            <a:ext cx="9318066" cy="2246769"/>
          </a:xfrm>
        </p:spPr>
        <p:txBody>
          <a:bodyPr anchor="ctr"/>
          <a:lstStyle>
            <a:lvl1pPr marL="0" indent="0">
              <a:spcBef>
                <a:spcPts val="0"/>
              </a:spcBef>
              <a:spcAft>
                <a:spcPts val="1200"/>
              </a:spcAft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228600" indent="0" algn="r">
              <a:buNone/>
              <a:defRPr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”</a:t>
            </a:r>
          </a:p>
          <a:p>
            <a:pPr lvl="1"/>
            <a:r>
              <a:rPr lang="en-US"/>
              <a:t>— Lorem ipsum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1C78285-23E1-A557-527D-66D2BD3A3C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66848" y="4624344"/>
            <a:ext cx="2409152" cy="785402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IN"/>
              <a:t>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00332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7589807-45A9-3DFD-9B4A-3A97CDE22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54363"/>
            <a:ext cx="5338240" cy="6003638"/>
            <a:chOff x="0" y="854363"/>
            <a:chExt cx="5338240" cy="6003638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5C39B8-70DA-2457-19C0-6C825851BE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668" b="28956"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CCD91B9-F9FD-AA59-239C-1D3BB46617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38240" y="854363"/>
              <a:ext cx="0" cy="5149274"/>
            </a:xfrm>
            <a:prstGeom prst="line">
              <a:avLst/>
            </a:prstGeom>
            <a:solidFill>
              <a:schemeClr val="bg1"/>
            </a:solidFill>
            <a:ln w="50800" cap="rnd">
              <a:solidFill>
                <a:schemeClr val="bg2"/>
              </a:solidFill>
              <a:prstDash val="solid"/>
              <a:round/>
            </a:ln>
            <a:effectLst>
              <a:outerShdw blurRad="88900" dist="38100" dir="4440000" algn="ctr" rotWithShape="0">
                <a:srgbClr val="F4F3F5">
                  <a:lumMod val="75000"/>
                  <a:alpha val="32000"/>
                </a:srgbClr>
              </a:outerShdw>
            </a:effectLst>
          </p:spPr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78156987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Titl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4CB7888-0C25-28C7-6B21-1678801503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7"/>
            <a:ext cx="11609389" cy="6272214"/>
            <a:chOff x="0" y="585787"/>
            <a:chExt cx="11609389" cy="627221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5C39B8-70DA-2457-19C0-6C825851BE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668" b="28956"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34DBACF-F488-ACDA-C2A6-CC738818873A}"/>
                </a:ext>
              </a:extLst>
            </p:cNvPr>
            <p:cNvSpPr/>
            <p:nvPr userDrawn="1"/>
          </p:nvSpPr>
          <p:spPr bwMode="auto">
            <a:xfrm>
              <a:off x="5327597" y="585787"/>
              <a:ext cx="6281792" cy="1821202"/>
            </a:xfrm>
            <a:prstGeom prst="roundRect">
              <a:avLst>
                <a:gd name="adj" fmla="val 55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401B9C33-0C19-C28D-80DB-4496F81222FC}"/>
                </a:ext>
              </a:extLst>
            </p:cNvPr>
            <p:cNvSpPr/>
            <p:nvPr userDrawn="1"/>
          </p:nvSpPr>
          <p:spPr bwMode="auto">
            <a:xfrm>
              <a:off x="5327597" y="4447836"/>
              <a:ext cx="6281792" cy="1821202"/>
            </a:xfrm>
            <a:prstGeom prst="roundRect">
              <a:avLst>
                <a:gd name="adj" fmla="val 55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A273A1B-028C-9B7F-1A32-E585C1734320}"/>
                </a:ext>
              </a:extLst>
            </p:cNvPr>
            <p:cNvSpPr/>
            <p:nvPr userDrawn="1"/>
          </p:nvSpPr>
          <p:spPr bwMode="auto">
            <a:xfrm>
              <a:off x="5327597" y="2516812"/>
              <a:ext cx="6281792" cy="1821202"/>
            </a:xfrm>
            <a:prstGeom prst="roundRect">
              <a:avLst>
                <a:gd name="adj" fmla="val 55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6" name="Oval 34_1">
              <a:extLst>
                <a:ext uri="{FF2B5EF4-FFF2-40B4-BE49-F238E27FC236}">
                  <a16:creationId xmlns:a16="http://schemas.microsoft.com/office/drawing/2014/main" id="{86B07D5C-AECC-4BB4-3CD3-476BFB3E1F5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1183086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9" name="Oval 34_1">
              <a:extLst>
                <a:ext uri="{FF2B5EF4-FFF2-40B4-BE49-F238E27FC236}">
                  <a16:creationId xmlns:a16="http://schemas.microsoft.com/office/drawing/2014/main" id="{8888544D-C4E7-DD03-38C0-BBBAAF389A7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3114111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2" name="Oval 34_1">
              <a:extLst>
                <a:ext uri="{FF2B5EF4-FFF2-40B4-BE49-F238E27FC236}">
                  <a16:creationId xmlns:a16="http://schemas.microsoft.com/office/drawing/2014/main" id="{BA371ED1-4011-53D8-0AC4-968222881CD4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5045135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781C2BD-71CC-E8DA-2CD2-7EC1EE464E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5700" y="1342500"/>
            <a:ext cx="4962864" cy="30777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B024FE9-8420-721C-1B3E-F074AB484E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5700" y="3273525"/>
            <a:ext cx="4962864" cy="30777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D4390A1-43BB-6A5C-31C4-F3F0F668BE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5700" y="5204549"/>
            <a:ext cx="4962864" cy="30777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14443804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Titl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400EC74-E51F-C8B9-C8C3-71A4E8D46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7"/>
            <a:ext cx="11609389" cy="6272214"/>
            <a:chOff x="0" y="585787"/>
            <a:chExt cx="11609389" cy="627221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5C39B8-70DA-2457-19C0-6C825851BE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668" b="28956"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D9976D7-22B2-2D23-2CA3-3681DC9237A5}"/>
                </a:ext>
              </a:extLst>
            </p:cNvPr>
            <p:cNvSpPr/>
            <p:nvPr userDrawn="1"/>
          </p:nvSpPr>
          <p:spPr bwMode="auto">
            <a:xfrm>
              <a:off x="5327597" y="585787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136F2367-76C4-E545-5C1A-90E892605445}"/>
                </a:ext>
              </a:extLst>
            </p:cNvPr>
            <p:cNvSpPr/>
            <p:nvPr userDrawn="1"/>
          </p:nvSpPr>
          <p:spPr bwMode="auto">
            <a:xfrm>
              <a:off x="5327597" y="2034065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D924E9F-25C9-9F23-8C86-BB5F6ECEEE69}"/>
                </a:ext>
              </a:extLst>
            </p:cNvPr>
            <p:cNvSpPr/>
            <p:nvPr userDrawn="1"/>
          </p:nvSpPr>
          <p:spPr bwMode="auto">
            <a:xfrm>
              <a:off x="5327597" y="3482343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A96AFEA4-47A0-A1D1-99B0-ED4425253D9A}"/>
                </a:ext>
              </a:extLst>
            </p:cNvPr>
            <p:cNvSpPr/>
            <p:nvPr userDrawn="1"/>
          </p:nvSpPr>
          <p:spPr bwMode="auto">
            <a:xfrm>
              <a:off x="5327597" y="4930622"/>
              <a:ext cx="6281792" cy="1338416"/>
            </a:xfrm>
            <a:prstGeom prst="roundRect">
              <a:avLst>
                <a:gd name="adj" fmla="val 690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20" name="Oval 34_1">
              <a:extLst>
                <a:ext uri="{FF2B5EF4-FFF2-40B4-BE49-F238E27FC236}">
                  <a16:creationId xmlns:a16="http://schemas.microsoft.com/office/drawing/2014/main" id="{1BD2B4C0-2BE2-8194-CFA3-64686077DF4A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941693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3" name="Oval 34_1">
              <a:extLst>
                <a:ext uri="{FF2B5EF4-FFF2-40B4-BE49-F238E27FC236}">
                  <a16:creationId xmlns:a16="http://schemas.microsoft.com/office/drawing/2014/main" id="{C46A5452-5C1B-A9F6-D212-064FBE78512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2389971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6" name="Oval 34_1">
              <a:extLst>
                <a:ext uri="{FF2B5EF4-FFF2-40B4-BE49-F238E27FC236}">
                  <a16:creationId xmlns:a16="http://schemas.microsoft.com/office/drawing/2014/main" id="{2A41A90C-7E5E-50B3-7038-3B85AB33834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3838249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9" name="Oval 34_1">
              <a:extLst>
                <a:ext uri="{FF2B5EF4-FFF2-40B4-BE49-F238E27FC236}">
                  <a16:creationId xmlns:a16="http://schemas.microsoft.com/office/drawing/2014/main" id="{DC0304B1-DC30-1788-8EAD-386E3545771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5286528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781C2BD-71CC-E8DA-2CD2-7EC1EE464E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5700" y="1116496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B024FE9-8420-721C-1B3E-F074AB484E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5700" y="2564774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D4390A1-43BB-6A5C-31C4-F3F0F668BE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5700" y="4013052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78530A-1329-276E-A36E-6F474A93F3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5700" y="5461331"/>
            <a:ext cx="4962864" cy="276999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84401950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Titl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7F829C8-10DD-8CBC-6572-A517F3A112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8"/>
            <a:ext cx="11609389" cy="6272213"/>
            <a:chOff x="0" y="585788"/>
            <a:chExt cx="11609389" cy="6272213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5C39B8-70DA-2457-19C0-6C825851BE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668" b="28956"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94B24E7-BDC5-704A-3520-5BA157CCADBB}"/>
                </a:ext>
              </a:extLst>
            </p:cNvPr>
            <p:cNvSpPr/>
            <p:nvPr userDrawn="1"/>
          </p:nvSpPr>
          <p:spPr bwMode="auto">
            <a:xfrm>
              <a:off x="5327597" y="585788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DF15C1D0-79F6-DF5C-4D9E-DD99F3149746}"/>
                </a:ext>
              </a:extLst>
            </p:cNvPr>
            <p:cNvSpPr/>
            <p:nvPr userDrawn="1"/>
          </p:nvSpPr>
          <p:spPr bwMode="auto">
            <a:xfrm>
              <a:off x="5327597" y="1744391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E0C076A-0D67-AB80-F3A6-3D197A1CD5CB}"/>
                </a:ext>
              </a:extLst>
            </p:cNvPr>
            <p:cNvSpPr/>
            <p:nvPr userDrawn="1"/>
          </p:nvSpPr>
          <p:spPr bwMode="auto">
            <a:xfrm>
              <a:off x="5327597" y="2902994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1C31759-F2E5-1C81-1DC8-7742FD10E32E}"/>
                </a:ext>
              </a:extLst>
            </p:cNvPr>
            <p:cNvSpPr/>
            <p:nvPr userDrawn="1"/>
          </p:nvSpPr>
          <p:spPr bwMode="auto">
            <a:xfrm>
              <a:off x="5327597" y="4061598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81991F0-8681-D926-9FA8-93C0441B89F6}"/>
                </a:ext>
              </a:extLst>
            </p:cNvPr>
            <p:cNvSpPr/>
            <p:nvPr userDrawn="1"/>
          </p:nvSpPr>
          <p:spPr bwMode="auto">
            <a:xfrm>
              <a:off x="5327597" y="5220201"/>
              <a:ext cx="6281792" cy="1048837"/>
            </a:xfrm>
            <a:prstGeom prst="roundRect">
              <a:avLst>
                <a:gd name="adj" fmla="val 110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9" name="Oval 34_1">
              <a:extLst>
                <a:ext uri="{FF2B5EF4-FFF2-40B4-BE49-F238E27FC236}">
                  <a16:creationId xmlns:a16="http://schemas.microsoft.com/office/drawing/2014/main" id="{A8930BD0-00D8-B437-4B47-25E693EA11C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796904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14" name="Oval 34_1">
              <a:extLst>
                <a:ext uri="{FF2B5EF4-FFF2-40B4-BE49-F238E27FC236}">
                  <a16:creationId xmlns:a16="http://schemas.microsoft.com/office/drawing/2014/main" id="{A015EE23-653F-7D60-B089-79AF9E7DFE1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1955508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27" name="Oval 34_1">
              <a:extLst>
                <a:ext uri="{FF2B5EF4-FFF2-40B4-BE49-F238E27FC236}">
                  <a16:creationId xmlns:a16="http://schemas.microsoft.com/office/drawing/2014/main" id="{54324D74-C62C-3E4C-849A-69D608802DFB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3114110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34" name="Oval 34_1">
              <a:extLst>
                <a:ext uri="{FF2B5EF4-FFF2-40B4-BE49-F238E27FC236}">
                  <a16:creationId xmlns:a16="http://schemas.microsoft.com/office/drawing/2014/main" id="{C529DDF3-178A-0258-06C9-9D526047B01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4272714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  <p:sp>
          <p:nvSpPr>
            <p:cNvPr id="37" name="Oval 34_1">
              <a:extLst>
                <a:ext uri="{FF2B5EF4-FFF2-40B4-BE49-F238E27FC236}">
                  <a16:creationId xmlns:a16="http://schemas.microsoft.com/office/drawing/2014/main" id="{E43F7604-A3AB-F5CE-386A-A65B131E513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8422" y="5431317"/>
              <a:ext cx="624256" cy="62660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74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ln w="3175">
                  <a:noFill/>
                </a:ln>
                <a:gradFill>
                  <a:gsLst>
                    <a:gs pos="96000">
                      <a:srgbClr val="0078D4"/>
                    </a:gs>
                    <a:gs pos="52000">
                      <a:srgbClr val="3897A3">
                        <a:lumMod val="87000"/>
                      </a:srgbClr>
                    </a:gs>
                  </a:gsLst>
                  <a:lin ang="0" scaled="1"/>
                </a:gradFill>
                <a:latin typeface="+mj-lt"/>
                <a:ea typeface="+mj-lt"/>
                <a:cs typeface="Segoe Sans Display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EE51A17-B90C-1F1D-23D8-3D0CECBA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1936704"/>
            <a:ext cx="3964152" cy="615553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781C2BD-71CC-E8DA-2CD2-7EC1EE464E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5700" y="987096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B024FE9-8420-721C-1B3E-F074AB484E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5700" y="2145699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DD4390A1-43BB-6A5C-31C4-F3F0F668BE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95700" y="3304301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78530A-1329-276E-A36E-6F474A93F3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5700" y="4462906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77EB4440-BC12-3719-3D9C-38AB655451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5700" y="5621509"/>
            <a:ext cx="4962864" cy="246221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53631172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oin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E611AC6-E3F2-803B-4CB7-D3E656743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0"/>
            <a:ext cx="12192007" cy="6858000"/>
            <a:chOff x="-1" y="0"/>
            <a:chExt cx="1219200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484113-24B3-3685-ECFF-49005F1F2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7F8483-A5FC-7117-F502-F1472FBEF2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A10733-DF23-767F-D4BC-978CB741B8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V="1">
              <a:off x="7634077" y="1321597"/>
              <a:ext cx="4143809" cy="4972049"/>
            </a:xfrm>
            <a:custGeom>
              <a:avLst/>
              <a:gdLst>
                <a:gd name="connsiteX0" fmla="*/ 0 w 4593406"/>
                <a:gd name="connsiteY0" fmla="*/ 312719 h 5511799"/>
                <a:gd name="connsiteX1" fmla="*/ 0 w 4593406"/>
                <a:gd name="connsiteY1" fmla="*/ 5511799 h 5511799"/>
                <a:gd name="connsiteX2" fmla="*/ 4593406 w 4593406"/>
                <a:gd name="connsiteY2" fmla="*/ 5511799 h 5511799"/>
                <a:gd name="connsiteX3" fmla="*/ 4593406 w 4593406"/>
                <a:gd name="connsiteY3" fmla="*/ 312719 h 5511799"/>
                <a:gd name="connsiteX4" fmla="*/ 4280687 w 4593406"/>
                <a:gd name="connsiteY4" fmla="*/ 0 h 5511799"/>
                <a:gd name="connsiteX5" fmla="*/ 312719 w 4593406"/>
                <a:gd name="connsiteY5" fmla="*/ 0 h 5511799"/>
                <a:gd name="connsiteX6" fmla="*/ 0 w 4593406"/>
                <a:gd name="connsiteY6" fmla="*/ 312719 h 551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93406" h="5511799">
                  <a:moveTo>
                    <a:pt x="0" y="312719"/>
                  </a:moveTo>
                  <a:lnTo>
                    <a:pt x="0" y="5511799"/>
                  </a:lnTo>
                  <a:lnTo>
                    <a:pt x="4593406" y="5511799"/>
                  </a:lnTo>
                  <a:lnTo>
                    <a:pt x="4593406" y="312719"/>
                  </a:lnTo>
                  <a:cubicBezTo>
                    <a:pt x="4593406" y="140009"/>
                    <a:pt x="4453397" y="0"/>
                    <a:pt x="4280687" y="0"/>
                  </a:cubicBezTo>
                  <a:lnTo>
                    <a:pt x="312719" y="0"/>
                  </a:lnTo>
                  <a:cubicBezTo>
                    <a:pt x="140009" y="0"/>
                    <a:pt x="0" y="140009"/>
                    <a:pt x="0" y="31271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wrap="square" lIns="146304" tIns="146304" rIns="146304" bIns="146304">
              <a:noAutofit/>
            </a:bodyPr>
            <a:lstStyle/>
            <a:p>
              <a:endParaRPr lang="en-US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B956781-A77E-C931-8046-7A932907D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 flipH="1" flipV="1">
              <a:off x="1012031" y="334171"/>
              <a:ext cx="4922835" cy="6946900"/>
            </a:xfrm>
            <a:prstGeom prst="round2SameRect">
              <a:avLst>
                <a:gd name="adj1" fmla="val 3733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C9C1D8E-4D3B-DDBD-2012-158D1525DE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2987148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69A856D-ED7D-C1D3-3DAC-1ADE6CE2FF1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4628093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CB90DB-CB62-055F-F422-19CCBB913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da-DK"/>
              <a:t>Lorem ipsum dolor sit amet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D92894B-10DB-D6E9-3D54-2F851A8E04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964" y="1889677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CF9DBA1-6B59-78ED-B38B-D1966C2FA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47028" y="1723479"/>
            <a:ext cx="5134771" cy="886397"/>
          </a:xfrm>
        </p:spPr>
        <p:txBody>
          <a:bodyPr anchor="ctr"/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E7C1168F-08DA-CEB5-3FBF-DC82EE338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8964" y="3530622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19E0DB77-C215-3EDC-33C9-F67E33B95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47028" y="3364424"/>
            <a:ext cx="5134771" cy="886397"/>
          </a:xfrm>
        </p:spPr>
        <p:txBody>
          <a:bodyPr anchor="ctr"/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297BFAB4-E7AB-3C9C-3BE4-488C3CAAE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4" y="5171567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73B2FE30-E9EC-CD51-F62D-16CD8D696B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7028" y="5005369"/>
            <a:ext cx="5134771" cy="886397"/>
          </a:xfrm>
        </p:spPr>
        <p:txBody>
          <a:bodyPr anchor="ctr"/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07EE1F0-24B7-C9D3-BFD5-44540BC0A16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327900" y="1830462"/>
            <a:ext cx="4864100" cy="3954318"/>
          </a:xfrm>
          <a:custGeom>
            <a:avLst/>
            <a:gdLst>
              <a:gd name="connsiteX0" fmla="*/ 198626 w 4864100"/>
              <a:gd name="connsiteY0" fmla="*/ 0 h 3954318"/>
              <a:gd name="connsiteX1" fmla="*/ 4864100 w 4864100"/>
              <a:gd name="connsiteY1" fmla="*/ 0 h 3954318"/>
              <a:gd name="connsiteX2" fmla="*/ 4864100 w 4864100"/>
              <a:gd name="connsiteY2" fmla="*/ 3954318 h 3954318"/>
              <a:gd name="connsiteX3" fmla="*/ 198626 w 4864100"/>
              <a:gd name="connsiteY3" fmla="*/ 3954318 h 3954318"/>
              <a:gd name="connsiteX4" fmla="*/ 0 w 4864100"/>
              <a:gd name="connsiteY4" fmla="*/ 3755693 h 3954318"/>
              <a:gd name="connsiteX5" fmla="*/ 0 w 4864100"/>
              <a:gd name="connsiteY5" fmla="*/ 198626 h 3954318"/>
              <a:gd name="connsiteX6" fmla="*/ 198626 w 4864100"/>
              <a:gd name="connsiteY6" fmla="*/ 0 h 3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64100" h="3954318">
                <a:moveTo>
                  <a:pt x="198626" y="0"/>
                </a:moveTo>
                <a:lnTo>
                  <a:pt x="4864100" y="0"/>
                </a:lnTo>
                <a:lnTo>
                  <a:pt x="4864100" y="3954318"/>
                </a:lnTo>
                <a:lnTo>
                  <a:pt x="198626" y="3954318"/>
                </a:lnTo>
                <a:cubicBezTo>
                  <a:pt x="88928" y="3954318"/>
                  <a:pt x="0" y="3865391"/>
                  <a:pt x="0" y="3755693"/>
                </a:cubicBezTo>
                <a:lnTo>
                  <a:pt x="0" y="198626"/>
                </a:lnTo>
                <a:cubicBezTo>
                  <a:pt x="0" y="88927"/>
                  <a:pt x="88928" y="0"/>
                  <a:pt x="19862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74762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26AD282-25FF-AAD3-D670-21EB1ADD32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0"/>
            <a:ext cx="12192007" cy="6858000"/>
            <a:chOff x="-1" y="0"/>
            <a:chExt cx="1219200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484113-24B3-3685-ECFF-49005F1F2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7F8483-A5FC-7117-F502-F1472FBEF2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A10733-DF23-767F-D4BC-978CB741B8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V="1">
              <a:off x="7634077" y="1321597"/>
              <a:ext cx="4143809" cy="4972049"/>
            </a:xfrm>
            <a:custGeom>
              <a:avLst/>
              <a:gdLst>
                <a:gd name="connsiteX0" fmla="*/ 0 w 4593406"/>
                <a:gd name="connsiteY0" fmla="*/ 312719 h 5511799"/>
                <a:gd name="connsiteX1" fmla="*/ 0 w 4593406"/>
                <a:gd name="connsiteY1" fmla="*/ 5511799 h 5511799"/>
                <a:gd name="connsiteX2" fmla="*/ 4593406 w 4593406"/>
                <a:gd name="connsiteY2" fmla="*/ 5511799 h 5511799"/>
                <a:gd name="connsiteX3" fmla="*/ 4593406 w 4593406"/>
                <a:gd name="connsiteY3" fmla="*/ 312719 h 5511799"/>
                <a:gd name="connsiteX4" fmla="*/ 4280687 w 4593406"/>
                <a:gd name="connsiteY4" fmla="*/ 0 h 5511799"/>
                <a:gd name="connsiteX5" fmla="*/ 312719 w 4593406"/>
                <a:gd name="connsiteY5" fmla="*/ 0 h 5511799"/>
                <a:gd name="connsiteX6" fmla="*/ 0 w 4593406"/>
                <a:gd name="connsiteY6" fmla="*/ 312719 h 551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93406" h="5511799">
                  <a:moveTo>
                    <a:pt x="0" y="312719"/>
                  </a:moveTo>
                  <a:lnTo>
                    <a:pt x="0" y="5511799"/>
                  </a:lnTo>
                  <a:lnTo>
                    <a:pt x="4593406" y="5511799"/>
                  </a:lnTo>
                  <a:lnTo>
                    <a:pt x="4593406" y="312719"/>
                  </a:lnTo>
                  <a:cubicBezTo>
                    <a:pt x="4593406" y="140009"/>
                    <a:pt x="4453397" y="0"/>
                    <a:pt x="4280687" y="0"/>
                  </a:cubicBezTo>
                  <a:lnTo>
                    <a:pt x="312719" y="0"/>
                  </a:lnTo>
                  <a:cubicBezTo>
                    <a:pt x="140009" y="0"/>
                    <a:pt x="0" y="140009"/>
                    <a:pt x="0" y="31271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wrap="square" lIns="146304" tIns="146304" rIns="146304" bIns="146304">
              <a:noAutofit/>
            </a:bodyPr>
            <a:lstStyle/>
            <a:p>
              <a:endParaRPr lang="en-US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B956781-A77E-C931-8046-7A932907D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 flipH="1" flipV="1">
              <a:off x="1012031" y="334171"/>
              <a:ext cx="4922835" cy="6946900"/>
            </a:xfrm>
            <a:prstGeom prst="round2SameRect">
              <a:avLst>
                <a:gd name="adj1" fmla="val 3733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C9C1D8E-4D3B-DDBD-2012-158D1525DE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2576071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69A856D-ED7D-C1D3-3DAC-1ADE6CE2FF1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5035807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C63B577-7DCA-9887-CFDE-13D7AF8539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3805939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29696BE-5B93-F245-9DA3-68AA1F5885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da-DK"/>
              <a:t>Lorem ipsum dolor sit amet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D92894B-10DB-D6E9-3D54-2F851A8E04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964" y="1714915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CF9DBA1-6B59-78ED-B38B-D1966C2FA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47028" y="1567184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E7C1168F-08DA-CEB5-3FBF-DC82EE338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8964" y="2944783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19E0DB77-C215-3EDC-33C9-F67E33B95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47028" y="2797053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297BFAB4-E7AB-3C9C-3BE4-488C3CAAE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4" y="4174651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73B2FE30-E9EC-CD51-F62D-16CD8D696B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7028" y="4026920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8FA4904-134A-2C81-7756-DD4ABAB38B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8964" y="5404520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A075FD85-A4EF-7AEF-2705-95DC10D71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7028" y="5256789"/>
            <a:ext cx="5134771" cy="787908"/>
          </a:xfrm>
        </p:spPr>
        <p:txBody>
          <a:bodyPr anchor="ctr"/>
          <a:lstStyle>
            <a:lvl1pPr marL="0" indent="0">
              <a:buNone/>
              <a:defRPr sz="16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6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695DDE6-9D96-331F-5069-45EBABD0ED7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327900" y="1830462"/>
            <a:ext cx="4864100" cy="3954318"/>
          </a:xfrm>
          <a:custGeom>
            <a:avLst/>
            <a:gdLst>
              <a:gd name="connsiteX0" fmla="*/ 198626 w 4864100"/>
              <a:gd name="connsiteY0" fmla="*/ 0 h 3954318"/>
              <a:gd name="connsiteX1" fmla="*/ 4864100 w 4864100"/>
              <a:gd name="connsiteY1" fmla="*/ 0 h 3954318"/>
              <a:gd name="connsiteX2" fmla="*/ 4864100 w 4864100"/>
              <a:gd name="connsiteY2" fmla="*/ 3954318 h 3954318"/>
              <a:gd name="connsiteX3" fmla="*/ 198626 w 4864100"/>
              <a:gd name="connsiteY3" fmla="*/ 3954318 h 3954318"/>
              <a:gd name="connsiteX4" fmla="*/ 0 w 4864100"/>
              <a:gd name="connsiteY4" fmla="*/ 3755693 h 3954318"/>
              <a:gd name="connsiteX5" fmla="*/ 0 w 4864100"/>
              <a:gd name="connsiteY5" fmla="*/ 198626 h 3954318"/>
              <a:gd name="connsiteX6" fmla="*/ 198626 w 4864100"/>
              <a:gd name="connsiteY6" fmla="*/ 0 h 3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64100" h="3954318">
                <a:moveTo>
                  <a:pt x="198626" y="0"/>
                </a:moveTo>
                <a:lnTo>
                  <a:pt x="4864100" y="0"/>
                </a:lnTo>
                <a:lnTo>
                  <a:pt x="4864100" y="3954318"/>
                </a:lnTo>
                <a:lnTo>
                  <a:pt x="198626" y="3954318"/>
                </a:lnTo>
                <a:cubicBezTo>
                  <a:pt x="88928" y="3954318"/>
                  <a:pt x="0" y="3865391"/>
                  <a:pt x="0" y="3755693"/>
                </a:cubicBezTo>
                <a:lnTo>
                  <a:pt x="0" y="198626"/>
                </a:lnTo>
                <a:cubicBezTo>
                  <a:pt x="0" y="88927"/>
                  <a:pt x="88928" y="0"/>
                  <a:pt x="19862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7704836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D02EFFE-762E-981F-B411-C93A513BB4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0"/>
            <a:ext cx="12192007" cy="6858000"/>
            <a:chOff x="-1" y="0"/>
            <a:chExt cx="1219200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D484113-24B3-3685-ECFF-49005F1F2B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D7F8483-A5FC-7117-F502-F1472FBEF2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A10733-DF23-767F-D4BC-978CB741B8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 flipV="1">
              <a:off x="7634077" y="1321597"/>
              <a:ext cx="4143809" cy="4972049"/>
            </a:xfrm>
            <a:custGeom>
              <a:avLst/>
              <a:gdLst>
                <a:gd name="connsiteX0" fmla="*/ 0 w 4593406"/>
                <a:gd name="connsiteY0" fmla="*/ 312719 h 5511799"/>
                <a:gd name="connsiteX1" fmla="*/ 0 w 4593406"/>
                <a:gd name="connsiteY1" fmla="*/ 5511799 h 5511799"/>
                <a:gd name="connsiteX2" fmla="*/ 4593406 w 4593406"/>
                <a:gd name="connsiteY2" fmla="*/ 5511799 h 5511799"/>
                <a:gd name="connsiteX3" fmla="*/ 4593406 w 4593406"/>
                <a:gd name="connsiteY3" fmla="*/ 312719 h 5511799"/>
                <a:gd name="connsiteX4" fmla="*/ 4280687 w 4593406"/>
                <a:gd name="connsiteY4" fmla="*/ 0 h 5511799"/>
                <a:gd name="connsiteX5" fmla="*/ 312719 w 4593406"/>
                <a:gd name="connsiteY5" fmla="*/ 0 h 5511799"/>
                <a:gd name="connsiteX6" fmla="*/ 0 w 4593406"/>
                <a:gd name="connsiteY6" fmla="*/ 312719 h 5511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93406" h="5511799">
                  <a:moveTo>
                    <a:pt x="0" y="312719"/>
                  </a:moveTo>
                  <a:lnTo>
                    <a:pt x="0" y="5511799"/>
                  </a:lnTo>
                  <a:lnTo>
                    <a:pt x="4593406" y="5511799"/>
                  </a:lnTo>
                  <a:lnTo>
                    <a:pt x="4593406" y="312719"/>
                  </a:lnTo>
                  <a:cubicBezTo>
                    <a:pt x="4593406" y="140009"/>
                    <a:pt x="4453397" y="0"/>
                    <a:pt x="4280687" y="0"/>
                  </a:cubicBezTo>
                  <a:lnTo>
                    <a:pt x="312719" y="0"/>
                  </a:lnTo>
                  <a:cubicBezTo>
                    <a:pt x="140009" y="0"/>
                    <a:pt x="0" y="140009"/>
                    <a:pt x="0" y="31271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wrap="square" lIns="146304" tIns="146304" rIns="146304" bIns="146304">
              <a:noAutofit/>
            </a:bodyPr>
            <a:lstStyle/>
            <a:p>
              <a:endParaRPr lang="en-US"/>
            </a:p>
          </p:txBody>
        </p:sp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7B956781-A77E-C931-8046-7A932907D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 flipH="1" flipV="1">
              <a:off x="1012031" y="334171"/>
              <a:ext cx="4922835" cy="6946900"/>
            </a:xfrm>
            <a:prstGeom prst="round2SameRect">
              <a:avLst>
                <a:gd name="adj1" fmla="val 3733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C9C1D8E-4D3B-DDBD-2012-158D1525DE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2330098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69A856D-ED7D-C1D3-3DAC-1ADE6CE2FF1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4297886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C63B577-7DCA-9887-CFDE-13D7AF8539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3313992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8_1">
              <a:extLst>
                <a:ext uri="{FF2B5EF4-FFF2-40B4-BE49-F238E27FC236}">
                  <a16:creationId xmlns:a16="http://schemas.microsoft.com/office/drawing/2014/main" id="{EC75C6E7-ECC8-4BC6-4C00-82B7C130CD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647029" y="5281780"/>
              <a:ext cx="5134771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F4DE3F4-5F9B-44AB-B1B7-734E519E94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da-DK"/>
              <a:t>Lorem ipsum dolor sit amet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D92894B-10DB-D6E9-3D54-2F851A8E04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964" y="1591929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CF9DBA1-6B59-78ED-B38B-D1966C2FA1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47028" y="1493441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E7C1168F-08DA-CEB5-3FBF-DC82EE338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8964" y="2575824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19E0DB77-C215-3EDC-33C9-F67E33B952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47028" y="2477335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297BFAB4-E7AB-3C9C-3BE4-488C3CAAE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964" y="3559718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73B2FE30-E9EC-CD51-F62D-16CD8D696B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47028" y="3461229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8FA4904-134A-2C81-7756-DD4ABAB38B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8964" y="4543613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A075FD85-A4EF-7AEF-2705-95DC10D71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7028" y="4445123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62" name="Text Placeholder 17">
            <a:extLst>
              <a:ext uri="{FF2B5EF4-FFF2-40B4-BE49-F238E27FC236}">
                <a16:creationId xmlns:a16="http://schemas.microsoft.com/office/drawing/2014/main" id="{C6EFD860-B217-DFE3-287F-F858E528C4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964" y="5527507"/>
            <a:ext cx="947213" cy="492443"/>
          </a:xfrm>
        </p:spPr>
        <p:txBody>
          <a:bodyPr anchor="ctr"/>
          <a:lstStyle>
            <a:lvl1pPr marL="0" indent="0">
              <a:buNone/>
              <a:defRPr sz="32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63" name="Text Placeholder 25">
            <a:extLst>
              <a:ext uri="{FF2B5EF4-FFF2-40B4-BE49-F238E27FC236}">
                <a16:creationId xmlns:a16="http://schemas.microsoft.com/office/drawing/2014/main" id="{EC3976E2-532B-830F-6B85-F1526A0CD7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47028" y="5429019"/>
            <a:ext cx="5134771" cy="689420"/>
          </a:xfrm>
        </p:spPr>
        <p:txBody>
          <a:bodyPr anchor="ctr"/>
          <a:lstStyle>
            <a:lvl1pPr marL="0" indent="0">
              <a:buNone/>
              <a:defRPr sz="14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4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6CBA71B2-9F4C-D9EE-BA56-232C21BBBC3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327900" y="1830462"/>
            <a:ext cx="4864100" cy="3954318"/>
          </a:xfrm>
          <a:custGeom>
            <a:avLst/>
            <a:gdLst>
              <a:gd name="connsiteX0" fmla="*/ 198626 w 4864100"/>
              <a:gd name="connsiteY0" fmla="*/ 0 h 3954318"/>
              <a:gd name="connsiteX1" fmla="*/ 4864100 w 4864100"/>
              <a:gd name="connsiteY1" fmla="*/ 0 h 3954318"/>
              <a:gd name="connsiteX2" fmla="*/ 4864100 w 4864100"/>
              <a:gd name="connsiteY2" fmla="*/ 3954318 h 3954318"/>
              <a:gd name="connsiteX3" fmla="*/ 198626 w 4864100"/>
              <a:gd name="connsiteY3" fmla="*/ 3954318 h 3954318"/>
              <a:gd name="connsiteX4" fmla="*/ 0 w 4864100"/>
              <a:gd name="connsiteY4" fmla="*/ 3755693 h 3954318"/>
              <a:gd name="connsiteX5" fmla="*/ 0 w 4864100"/>
              <a:gd name="connsiteY5" fmla="*/ 198626 h 3954318"/>
              <a:gd name="connsiteX6" fmla="*/ 198626 w 4864100"/>
              <a:gd name="connsiteY6" fmla="*/ 0 h 3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64100" h="3954318">
                <a:moveTo>
                  <a:pt x="198626" y="0"/>
                </a:moveTo>
                <a:lnTo>
                  <a:pt x="4864100" y="0"/>
                </a:lnTo>
                <a:lnTo>
                  <a:pt x="4864100" y="3954318"/>
                </a:lnTo>
                <a:lnTo>
                  <a:pt x="198626" y="3954318"/>
                </a:lnTo>
                <a:cubicBezTo>
                  <a:pt x="88928" y="3954318"/>
                  <a:pt x="0" y="3865391"/>
                  <a:pt x="0" y="3755693"/>
                </a:cubicBezTo>
                <a:lnTo>
                  <a:pt x="0" y="198626"/>
                </a:lnTo>
                <a:cubicBezTo>
                  <a:pt x="0" y="88927"/>
                  <a:pt x="88928" y="0"/>
                  <a:pt x="19862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30030384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484113-24B3-3685-ECFF-49005F1F2B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6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266" t="61909" b="1"/>
          <a:stretch/>
        </p:blipFill>
        <p:spPr>
          <a:xfrm>
            <a:off x="0" y="3239821"/>
            <a:ext cx="12192000" cy="36181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D7F8483-A5FC-7117-F502-F1472FBEF2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7F7F8"/>
              </a:gs>
              <a:gs pos="100000">
                <a:srgbClr val="F7F7F8">
                  <a:alpha val="0"/>
                </a:srgb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DA10733-DF23-767F-D4BC-978CB741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5400000" flipV="1">
            <a:off x="7634077" y="1503592"/>
            <a:ext cx="4143809" cy="4972049"/>
          </a:xfrm>
          <a:custGeom>
            <a:avLst/>
            <a:gdLst>
              <a:gd name="connsiteX0" fmla="*/ 0 w 4593406"/>
              <a:gd name="connsiteY0" fmla="*/ 312719 h 5511799"/>
              <a:gd name="connsiteX1" fmla="*/ 0 w 4593406"/>
              <a:gd name="connsiteY1" fmla="*/ 5511799 h 5511799"/>
              <a:gd name="connsiteX2" fmla="*/ 4593406 w 4593406"/>
              <a:gd name="connsiteY2" fmla="*/ 5511799 h 5511799"/>
              <a:gd name="connsiteX3" fmla="*/ 4593406 w 4593406"/>
              <a:gd name="connsiteY3" fmla="*/ 312719 h 5511799"/>
              <a:gd name="connsiteX4" fmla="*/ 4280687 w 4593406"/>
              <a:gd name="connsiteY4" fmla="*/ 0 h 5511799"/>
              <a:gd name="connsiteX5" fmla="*/ 312719 w 4593406"/>
              <a:gd name="connsiteY5" fmla="*/ 0 h 5511799"/>
              <a:gd name="connsiteX6" fmla="*/ 0 w 4593406"/>
              <a:gd name="connsiteY6" fmla="*/ 312719 h 5511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406" h="5511799">
                <a:moveTo>
                  <a:pt x="0" y="312719"/>
                </a:moveTo>
                <a:lnTo>
                  <a:pt x="0" y="5511799"/>
                </a:lnTo>
                <a:lnTo>
                  <a:pt x="4593406" y="5511799"/>
                </a:lnTo>
                <a:lnTo>
                  <a:pt x="4593406" y="312719"/>
                </a:lnTo>
                <a:cubicBezTo>
                  <a:pt x="4593406" y="140009"/>
                  <a:pt x="4453397" y="0"/>
                  <a:pt x="4280687" y="0"/>
                </a:cubicBezTo>
                <a:lnTo>
                  <a:pt x="312719" y="0"/>
                </a:lnTo>
                <a:cubicBezTo>
                  <a:pt x="140009" y="0"/>
                  <a:pt x="0" y="140009"/>
                  <a:pt x="0" y="312719"/>
                </a:cubicBezTo>
                <a:close/>
              </a:path>
            </a:pathLst>
          </a:cu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135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wrap="square" lIns="146304" tIns="146304" rIns="146304" bIns="146304">
            <a:noAutofit/>
          </a:bodyPr>
          <a:lstStyle/>
          <a:p>
            <a:endParaRPr lang="en-US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7B956781-A77E-C931-8046-7A932907DD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 flipH="1" flipV="1">
            <a:off x="1182008" y="516166"/>
            <a:ext cx="4582882" cy="6946900"/>
          </a:xfrm>
          <a:prstGeom prst="round2SameRect">
            <a:avLst>
              <a:gd name="adj1" fmla="val 3733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9C1D8E-4D3B-DDBD-2012-158D1525DE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824032" y="3161319"/>
            <a:ext cx="4957767" cy="0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9A856D-ED7D-C1D3-3DAC-1ADE6CE2FF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824032" y="4802264"/>
            <a:ext cx="4957767" cy="0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BCB90DB-CB62-055F-F422-19CCBB91341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pPr lvl="0"/>
            <a:r>
              <a:rPr lang="da-DK"/>
              <a:t>Lorem ipsum dolor sit amet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D92894B-10DB-D6E9-3D54-2F851A8E0427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88964" y="2063848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8CF9DBA1-6B59-78ED-B38B-D1966C2FA1DA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824032" y="1759151"/>
            <a:ext cx="4957767" cy="1163395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E7C1168F-08DA-CEB5-3FBF-DC82EE338DE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8964" y="3704793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19E0DB77-C215-3EDC-33C9-F67E33B952D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824032" y="3400096"/>
            <a:ext cx="4957767" cy="1163395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297BFAB4-E7AB-3C9C-3BE4-488C3CAAEEF1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8964" y="5345738"/>
            <a:ext cx="947213" cy="553998"/>
          </a:xfrm>
        </p:spPr>
        <p:txBody>
          <a:bodyPr anchor="ctr"/>
          <a:lstStyle>
            <a:lvl1pPr marL="0" indent="0">
              <a:buNone/>
              <a:defRPr sz="3600">
                <a:gradFill>
                  <a:gsLst>
                    <a:gs pos="0">
                      <a:srgbClr val="90D0AC"/>
                    </a:gs>
                    <a:gs pos="31000">
                      <a:srgbClr val="57B9C5"/>
                    </a:gs>
                    <a:gs pos="100000">
                      <a:srgbClr val="0F656B"/>
                    </a:gs>
                  </a:gsLst>
                  <a:path path="circle">
                    <a:fillToRect r="100000" b="100000"/>
                  </a:path>
                </a:gradFill>
                <a:latin typeface="+mj-lt"/>
              </a:defRPr>
            </a:lvl1pPr>
          </a:lstStyle>
          <a:p>
            <a:pPr lvl="0"/>
            <a:r>
              <a:rPr lang="da-DK"/>
              <a:t>XX%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73B2FE30-E9EC-CD51-F62D-16CD8D696B4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824032" y="5041041"/>
            <a:ext cx="4957767" cy="1163395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228600" indent="0" algn="r">
              <a:buFont typeface="Arial" panose="020B0604020202020204" pitchFamily="34" charset="0"/>
              <a:buNone/>
              <a:defRPr sz="1800"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  <a:p>
            <a:pPr lvl="1"/>
            <a:r>
              <a:rPr lang="en-US"/>
              <a:t>– Lorem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07EE1F0-24B7-C9D3-BFD5-44540BC0A160}"/>
              </a:ext>
            </a:extLst>
          </p:cNvPr>
          <p:cNvSpPr>
            <a:spLocks noGrp="1"/>
          </p:cNvSpPr>
          <p:nvPr userDrawn="1">
            <p:ph type="pic" sz="quarter" idx="22" hasCustomPrompt="1"/>
          </p:nvPr>
        </p:nvSpPr>
        <p:spPr>
          <a:xfrm>
            <a:off x="7327900" y="2012457"/>
            <a:ext cx="4864100" cy="3954318"/>
          </a:xfrm>
          <a:custGeom>
            <a:avLst/>
            <a:gdLst>
              <a:gd name="connsiteX0" fmla="*/ 198626 w 4864100"/>
              <a:gd name="connsiteY0" fmla="*/ 0 h 3954318"/>
              <a:gd name="connsiteX1" fmla="*/ 4864100 w 4864100"/>
              <a:gd name="connsiteY1" fmla="*/ 0 h 3954318"/>
              <a:gd name="connsiteX2" fmla="*/ 4864100 w 4864100"/>
              <a:gd name="connsiteY2" fmla="*/ 3954318 h 3954318"/>
              <a:gd name="connsiteX3" fmla="*/ 198626 w 4864100"/>
              <a:gd name="connsiteY3" fmla="*/ 3954318 h 3954318"/>
              <a:gd name="connsiteX4" fmla="*/ 0 w 4864100"/>
              <a:gd name="connsiteY4" fmla="*/ 3755693 h 3954318"/>
              <a:gd name="connsiteX5" fmla="*/ 0 w 4864100"/>
              <a:gd name="connsiteY5" fmla="*/ 198626 h 3954318"/>
              <a:gd name="connsiteX6" fmla="*/ 198626 w 4864100"/>
              <a:gd name="connsiteY6" fmla="*/ 0 h 3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64100" h="3954318">
                <a:moveTo>
                  <a:pt x="198626" y="0"/>
                </a:moveTo>
                <a:lnTo>
                  <a:pt x="4864100" y="0"/>
                </a:lnTo>
                <a:lnTo>
                  <a:pt x="4864100" y="3954318"/>
                </a:lnTo>
                <a:lnTo>
                  <a:pt x="198626" y="3954318"/>
                </a:lnTo>
                <a:cubicBezTo>
                  <a:pt x="88928" y="3954318"/>
                  <a:pt x="0" y="3865391"/>
                  <a:pt x="0" y="3755693"/>
                </a:cubicBezTo>
                <a:lnTo>
                  <a:pt x="0" y="198626"/>
                </a:lnTo>
                <a:cubicBezTo>
                  <a:pt x="0" y="88927"/>
                  <a:pt x="88928" y="0"/>
                  <a:pt x="19862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1968644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Points With Picture/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86335C-5EAA-7A04-FBA3-7610BBED57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0874" y="1804933"/>
            <a:ext cx="11601126" cy="5053064"/>
            <a:chOff x="590874" y="1804933"/>
            <a:chExt cx="11601126" cy="505306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9FB63A5-1EEB-A6E9-C835-9028695FD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1E4A0E79-A374-FB8D-805B-DB66CCBC9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>
              <a:off x="2162881" y="445706"/>
              <a:ext cx="4269532" cy="7413545"/>
            </a:xfrm>
            <a:prstGeom prst="round2SameRect">
              <a:avLst>
                <a:gd name="adj1" fmla="val 3269"/>
                <a:gd name="adj2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4258DBF-B67E-6DB0-47E8-8EF0AF457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2445583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03B6888-C630-28BC-F651-A4064A0C3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837515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F1C5841-DFA5-ABD7-ED0C-E45CAFF2C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5229447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44A4D2-4E55-1663-438C-F5C27018B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3432857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67318F-9170-4A8A-2252-B3A228711F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4824790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CE03631-0B3D-A0A8-1670-F533C9997C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8004416" y="1804933"/>
              <a:ext cx="3604972" cy="4695090"/>
            </a:xfrm>
            <a:prstGeom prst="roundRect">
              <a:avLst>
                <a:gd name="adj" fmla="val 419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6E8609-6578-B52C-F4AB-5BD0C647F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FD8DD1C-E747-D187-444C-35835A6A76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7174" y="2293180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ED2A534-E19F-43C5-1B06-E382D7769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3685113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6BB8C8B-FE81-FE17-BC75-CF40E24B8C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174" y="5077044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B76E5BF-F645-2E9F-7FD7-F7A237CEA6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26335" y="1926853"/>
            <a:ext cx="3361134" cy="4451250"/>
          </a:xfrm>
          <a:custGeom>
            <a:avLst/>
            <a:gdLst>
              <a:gd name="connsiteX0" fmla="*/ 125874 w 3361134"/>
              <a:gd name="connsiteY0" fmla="*/ 0 h 4451250"/>
              <a:gd name="connsiteX1" fmla="*/ 3235260 w 3361134"/>
              <a:gd name="connsiteY1" fmla="*/ 0 h 4451250"/>
              <a:gd name="connsiteX2" fmla="*/ 3361134 w 3361134"/>
              <a:gd name="connsiteY2" fmla="*/ 125874 h 4451250"/>
              <a:gd name="connsiteX3" fmla="*/ 3361134 w 3361134"/>
              <a:gd name="connsiteY3" fmla="*/ 4325376 h 4451250"/>
              <a:gd name="connsiteX4" fmla="*/ 3235260 w 3361134"/>
              <a:gd name="connsiteY4" fmla="*/ 4451250 h 4451250"/>
              <a:gd name="connsiteX5" fmla="*/ 125874 w 3361134"/>
              <a:gd name="connsiteY5" fmla="*/ 4451250 h 4451250"/>
              <a:gd name="connsiteX6" fmla="*/ 0 w 3361134"/>
              <a:gd name="connsiteY6" fmla="*/ 4325376 h 4451250"/>
              <a:gd name="connsiteX7" fmla="*/ 0 w 3361134"/>
              <a:gd name="connsiteY7" fmla="*/ 125874 h 4451250"/>
              <a:gd name="connsiteX8" fmla="*/ 125874 w 3361134"/>
              <a:gd name="connsiteY8" fmla="*/ 0 h 44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1134" h="4451250">
                <a:moveTo>
                  <a:pt x="125874" y="0"/>
                </a:moveTo>
                <a:lnTo>
                  <a:pt x="3235260" y="0"/>
                </a:lnTo>
                <a:cubicBezTo>
                  <a:pt x="3304778" y="0"/>
                  <a:pt x="3361134" y="56356"/>
                  <a:pt x="3361134" y="125874"/>
                </a:cubicBezTo>
                <a:lnTo>
                  <a:pt x="3361134" y="4325376"/>
                </a:lnTo>
                <a:cubicBezTo>
                  <a:pt x="3361134" y="4394894"/>
                  <a:pt x="3304778" y="4451250"/>
                  <a:pt x="3235260" y="4451250"/>
                </a:cubicBezTo>
                <a:lnTo>
                  <a:pt x="125874" y="4451250"/>
                </a:lnTo>
                <a:cubicBezTo>
                  <a:pt x="56356" y="4451250"/>
                  <a:pt x="0" y="4394894"/>
                  <a:pt x="0" y="4325376"/>
                </a:cubicBezTo>
                <a:lnTo>
                  <a:pt x="0" y="125874"/>
                </a:lnTo>
                <a:cubicBezTo>
                  <a:pt x="0" y="56356"/>
                  <a:pt x="56356" y="0"/>
                  <a:pt x="1258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41522968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 With Picture/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97945BA-8DBF-7DEE-DE5D-CB10ADBCBD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0874" y="1804933"/>
            <a:ext cx="11601126" cy="5053064"/>
            <a:chOff x="590874" y="1804933"/>
            <a:chExt cx="11601126" cy="505306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9FB63A5-1EEB-A6E9-C835-9028695FD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1E4A0E79-A374-FB8D-805B-DB66CCBC9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>
              <a:off x="2162881" y="445706"/>
              <a:ext cx="4269532" cy="7413545"/>
            </a:xfrm>
            <a:prstGeom prst="round2SameRect">
              <a:avLst>
                <a:gd name="adj1" fmla="val 3269"/>
                <a:gd name="adj2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4258DBF-B67E-6DB0-47E8-8EF0AF457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2260186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03B6888-C630-28BC-F651-A4064A0C3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327748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F1C5841-DFA5-ABD7-ED0C-E45CAFF2C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5462872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44A4D2-4E55-1663-438C-F5C27018B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3085275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67318F-9170-4A8A-2252-B3A228711F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4152837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CE03631-0B3D-A0A8-1670-F533C9997C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8004416" y="1804933"/>
              <a:ext cx="3604972" cy="4695090"/>
            </a:xfrm>
            <a:prstGeom prst="roundRect">
              <a:avLst>
                <a:gd name="adj" fmla="val 419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247FBCB-3742-904F-82E4-BE874D85E3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4395310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84AC5AA-97BD-4BB5-CBE5-8236455A18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5220399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6E8609-6578-B52C-F4AB-5BD0C647F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FD8DD1C-E747-D187-444C-35835A6A76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7174" y="2153950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ED2A534-E19F-43C5-1B06-E382D7769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3221511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DE32B2AD-0AEF-DCCF-DED1-B5D74F777B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7174" y="4289073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6BB8C8B-FE81-FE17-BC75-CF40E24B8C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174" y="5356636"/>
            <a:ext cx="6297909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53233C1-A747-EAC4-B3E5-9B8645D7D18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26335" y="1926853"/>
            <a:ext cx="3361134" cy="4451250"/>
          </a:xfrm>
          <a:custGeom>
            <a:avLst/>
            <a:gdLst>
              <a:gd name="connsiteX0" fmla="*/ 125874 w 3361134"/>
              <a:gd name="connsiteY0" fmla="*/ 0 h 4451250"/>
              <a:gd name="connsiteX1" fmla="*/ 3235260 w 3361134"/>
              <a:gd name="connsiteY1" fmla="*/ 0 h 4451250"/>
              <a:gd name="connsiteX2" fmla="*/ 3361134 w 3361134"/>
              <a:gd name="connsiteY2" fmla="*/ 125874 h 4451250"/>
              <a:gd name="connsiteX3" fmla="*/ 3361134 w 3361134"/>
              <a:gd name="connsiteY3" fmla="*/ 4325376 h 4451250"/>
              <a:gd name="connsiteX4" fmla="*/ 3235260 w 3361134"/>
              <a:gd name="connsiteY4" fmla="*/ 4451250 h 4451250"/>
              <a:gd name="connsiteX5" fmla="*/ 125874 w 3361134"/>
              <a:gd name="connsiteY5" fmla="*/ 4451250 h 4451250"/>
              <a:gd name="connsiteX6" fmla="*/ 0 w 3361134"/>
              <a:gd name="connsiteY6" fmla="*/ 4325376 h 4451250"/>
              <a:gd name="connsiteX7" fmla="*/ 0 w 3361134"/>
              <a:gd name="connsiteY7" fmla="*/ 125874 h 4451250"/>
              <a:gd name="connsiteX8" fmla="*/ 125874 w 3361134"/>
              <a:gd name="connsiteY8" fmla="*/ 0 h 44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1134" h="4451250">
                <a:moveTo>
                  <a:pt x="125874" y="0"/>
                </a:moveTo>
                <a:lnTo>
                  <a:pt x="3235260" y="0"/>
                </a:lnTo>
                <a:cubicBezTo>
                  <a:pt x="3304778" y="0"/>
                  <a:pt x="3361134" y="56356"/>
                  <a:pt x="3361134" y="125874"/>
                </a:cubicBezTo>
                <a:lnTo>
                  <a:pt x="3361134" y="4325376"/>
                </a:lnTo>
                <a:cubicBezTo>
                  <a:pt x="3361134" y="4394894"/>
                  <a:pt x="3304778" y="4451250"/>
                  <a:pt x="3235260" y="4451250"/>
                </a:cubicBezTo>
                <a:lnTo>
                  <a:pt x="125874" y="4451250"/>
                </a:lnTo>
                <a:cubicBezTo>
                  <a:pt x="56356" y="4451250"/>
                  <a:pt x="0" y="4394894"/>
                  <a:pt x="0" y="4325376"/>
                </a:cubicBezTo>
                <a:lnTo>
                  <a:pt x="0" y="125874"/>
                </a:lnTo>
                <a:cubicBezTo>
                  <a:pt x="0" y="56356"/>
                  <a:pt x="56356" y="0"/>
                  <a:pt x="1258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76877738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s With Picture/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E48B8FAA-A260-6834-47B1-02598C9B35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0874" y="1804933"/>
            <a:ext cx="11601126" cy="5053064"/>
            <a:chOff x="590874" y="1804933"/>
            <a:chExt cx="11601126" cy="505306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9FB63A5-1EEB-A6E9-C835-9028695FD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1E4A0E79-A374-FB8D-805B-DB66CCBC9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>
              <a:off x="2162881" y="445706"/>
              <a:ext cx="4269532" cy="7413545"/>
            </a:xfrm>
            <a:prstGeom prst="round2SameRect">
              <a:avLst>
                <a:gd name="adj1" fmla="val 3269"/>
                <a:gd name="adj2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4258DBF-B67E-6DB0-47E8-8EF0AF457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2153430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03B6888-C630-28BC-F651-A4064A0C3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007480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F1C5841-DFA5-ABD7-ED0C-E45CAFF2C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4715579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44A4D2-4E55-1663-438C-F5C27018B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2871763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67318F-9170-4A8A-2252-B3A228711F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3725812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CE03631-0B3D-A0A8-1670-F533C9997C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8004416" y="1804933"/>
              <a:ext cx="3604972" cy="4695090"/>
            </a:xfrm>
            <a:prstGeom prst="roundRect">
              <a:avLst>
                <a:gd name="adj" fmla="val 419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247FBCB-3742-904F-82E4-BE874D85E3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861529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84AC5AA-97BD-4BB5-CBE5-8236455A18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5433912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B9F9899A-4157-6EAF-1962-0350888EED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4579862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CA9D4F7-B93C-A84B-AFC3-239300B3F4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5569628"/>
              <a:ext cx="582616" cy="582616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6E8609-6578-B52C-F4AB-5BD0C647F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FD8DD1C-E747-D187-444C-35835A6A76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7174" y="2093360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ED2A534-E19F-43C5-1B06-E382D7769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2947410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DE32B2AD-0AEF-DCCF-DED1-B5D74F777B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7174" y="3801459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6BB8C8B-FE81-FE17-BC75-CF40E24B8C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174" y="4655509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:a16="http://schemas.microsoft.com/office/drawing/2014/main" id="{3F36374E-B481-978F-58DB-A15E1EE6A3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7174" y="5509559"/>
            <a:ext cx="6297909" cy="70275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4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05BDA1B-2B2F-6A64-AFE5-B26FA1F1EB9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26335" y="1926853"/>
            <a:ext cx="3361134" cy="4451250"/>
          </a:xfrm>
          <a:custGeom>
            <a:avLst/>
            <a:gdLst>
              <a:gd name="connsiteX0" fmla="*/ 125874 w 3361134"/>
              <a:gd name="connsiteY0" fmla="*/ 0 h 4451250"/>
              <a:gd name="connsiteX1" fmla="*/ 3235260 w 3361134"/>
              <a:gd name="connsiteY1" fmla="*/ 0 h 4451250"/>
              <a:gd name="connsiteX2" fmla="*/ 3361134 w 3361134"/>
              <a:gd name="connsiteY2" fmla="*/ 125874 h 4451250"/>
              <a:gd name="connsiteX3" fmla="*/ 3361134 w 3361134"/>
              <a:gd name="connsiteY3" fmla="*/ 4325376 h 4451250"/>
              <a:gd name="connsiteX4" fmla="*/ 3235260 w 3361134"/>
              <a:gd name="connsiteY4" fmla="*/ 4451250 h 4451250"/>
              <a:gd name="connsiteX5" fmla="*/ 125874 w 3361134"/>
              <a:gd name="connsiteY5" fmla="*/ 4451250 h 4451250"/>
              <a:gd name="connsiteX6" fmla="*/ 0 w 3361134"/>
              <a:gd name="connsiteY6" fmla="*/ 4325376 h 4451250"/>
              <a:gd name="connsiteX7" fmla="*/ 0 w 3361134"/>
              <a:gd name="connsiteY7" fmla="*/ 125874 h 4451250"/>
              <a:gd name="connsiteX8" fmla="*/ 125874 w 3361134"/>
              <a:gd name="connsiteY8" fmla="*/ 0 h 44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1134" h="4451250">
                <a:moveTo>
                  <a:pt x="125874" y="0"/>
                </a:moveTo>
                <a:lnTo>
                  <a:pt x="3235260" y="0"/>
                </a:lnTo>
                <a:cubicBezTo>
                  <a:pt x="3304778" y="0"/>
                  <a:pt x="3361134" y="56356"/>
                  <a:pt x="3361134" y="125874"/>
                </a:cubicBezTo>
                <a:lnTo>
                  <a:pt x="3361134" y="4325376"/>
                </a:lnTo>
                <a:cubicBezTo>
                  <a:pt x="3361134" y="4394894"/>
                  <a:pt x="3304778" y="4451250"/>
                  <a:pt x="3235260" y="4451250"/>
                </a:cubicBezTo>
                <a:lnTo>
                  <a:pt x="125874" y="4451250"/>
                </a:lnTo>
                <a:cubicBezTo>
                  <a:pt x="56356" y="4451250"/>
                  <a:pt x="0" y="4394894"/>
                  <a:pt x="0" y="4325376"/>
                </a:cubicBezTo>
                <a:lnTo>
                  <a:pt x="0" y="125874"/>
                </a:lnTo>
                <a:cubicBezTo>
                  <a:pt x="0" y="56356"/>
                  <a:pt x="56356" y="0"/>
                  <a:pt x="1258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2561994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ow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86CDF1D-870C-F36F-18A9-6BD44A3DB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98D4A6C-B3F4-5206-71C6-6B446058E3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668" b="28956"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39E8181-C805-7C52-F1CC-AA3750329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0A2D673-966E-5BC1-DEC6-749794E1BEE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587374"/>
              <a:ext cx="6137502" cy="2762132"/>
            </a:xfrm>
            <a:prstGeom prst="roundRect">
              <a:avLst>
                <a:gd name="adj" fmla="val 41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17B534D-3559-4568-9ECC-096AB71F2E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3508493"/>
              <a:ext cx="6137502" cy="2762132"/>
            </a:xfrm>
            <a:prstGeom prst="roundRect">
              <a:avLst>
                <a:gd name="adj" fmla="val 41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2A142B-2A9E-F79B-0718-9C0F941E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4" y="1793848"/>
            <a:ext cx="4211947" cy="2215991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DA7A0FE6-26C7-C2B0-2A91-4D6733154AA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599412" y="726955"/>
            <a:ext cx="1741188" cy="2482970"/>
          </a:xfrm>
          <a:custGeom>
            <a:avLst/>
            <a:gdLst>
              <a:gd name="connsiteX0" fmla="*/ 87059 w 1741188"/>
              <a:gd name="connsiteY0" fmla="*/ 0 h 2482970"/>
              <a:gd name="connsiteX1" fmla="*/ 1654129 w 1741188"/>
              <a:gd name="connsiteY1" fmla="*/ 0 h 2482970"/>
              <a:gd name="connsiteX2" fmla="*/ 1741188 w 1741188"/>
              <a:gd name="connsiteY2" fmla="*/ 87059 h 2482970"/>
              <a:gd name="connsiteX3" fmla="*/ 1741188 w 1741188"/>
              <a:gd name="connsiteY3" fmla="*/ 2395911 h 2482970"/>
              <a:gd name="connsiteX4" fmla="*/ 1654129 w 1741188"/>
              <a:gd name="connsiteY4" fmla="*/ 2482970 h 2482970"/>
              <a:gd name="connsiteX5" fmla="*/ 87059 w 1741188"/>
              <a:gd name="connsiteY5" fmla="*/ 2482970 h 2482970"/>
              <a:gd name="connsiteX6" fmla="*/ 0 w 1741188"/>
              <a:gd name="connsiteY6" fmla="*/ 2395911 h 2482970"/>
              <a:gd name="connsiteX7" fmla="*/ 0 w 1741188"/>
              <a:gd name="connsiteY7" fmla="*/ 87059 h 2482970"/>
              <a:gd name="connsiteX8" fmla="*/ 87059 w 1741188"/>
              <a:gd name="connsiteY8" fmla="*/ 0 h 2482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2482970">
                <a:moveTo>
                  <a:pt x="87059" y="0"/>
                </a:moveTo>
                <a:lnTo>
                  <a:pt x="1654129" y="0"/>
                </a:lnTo>
                <a:cubicBezTo>
                  <a:pt x="1702210" y="0"/>
                  <a:pt x="1741188" y="38978"/>
                  <a:pt x="1741188" y="87059"/>
                </a:cubicBezTo>
                <a:lnTo>
                  <a:pt x="1741188" y="2395911"/>
                </a:lnTo>
                <a:cubicBezTo>
                  <a:pt x="1741188" y="2443992"/>
                  <a:pt x="1702210" y="2482970"/>
                  <a:pt x="1654129" y="2482970"/>
                </a:cubicBezTo>
                <a:lnTo>
                  <a:pt x="87059" y="2482970"/>
                </a:lnTo>
                <a:cubicBezTo>
                  <a:pt x="38978" y="2482970"/>
                  <a:pt x="0" y="2443992"/>
                  <a:pt x="0" y="2395911"/>
                </a:cubicBezTo>
                <a:lnTo>
                  <a:pt x="0" y="87059"/>
                </a:lnTo>
                <a:cubicBezTo>
                  <a:pt x="0" y="38978"/>
                  <a:pt x="38978" y="0"/>
                  <a:pt x="87059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9433A33-D1F7-6F3D-751E-A323E717E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2375" y="1524730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C90064C-55ED-5EB5-C222-614927EB87F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99412" y="3648074"/>
            <a:ext cx="1741188" cy="2482970"/>
          </a:xfrm>
          <a:custGeom>
            <a:avLst/>
            <a:gdLst>
              <a:gd name="connsiteX0" fmla="*/ 87059 w 1741188"/>
              <a:gd name="connsiteY0" fmla="*/ 0 h 2482970"/>
              <a:gd name="connsiteX1" fmla="*/ 1654129 w 1741188"/>
              <a:gd name="connsiteY1" fmla="*/ 0 h 2482970"/>
              <a:gd name="connsiteX2" fmla="*/ 1741188 w 1741188"/>
              <a:gd name="connsiteY2" fmla="*/ 87059 h 2482970"/>
              <a:gd name="connsiteX3" fmla="*/ 1741188 w 1741188"/>
              <a:gd name="connsiteY3" fmla="*/ 2395911 h 2482970"/>
              <a:gd name="connsiteX4" fmla="*/ 1654129 w 1741188"/>
              <a:gd name="connsiteY4" fmla="*/ 2482970 h 2482970"/>
              <a:gd name="connsiteX5" fmla="*/ 87059 w 1741188"/>
              <a:gd name="connsiteY5" fmla="*/ 2482970 h 2482970"/>
              <a:gd name="connsiteX6" fmla="*/ 0 w 1741188"/>
              <a:gd name="connsiteY6" fmla="*/ 2395911 h 2482970"/>
              <a:gd name="connsiteX7" fmla="*/ 0 w 1741188"/>
              <a:gd name="connsiteY7" fmla="*/ 87059 h 2482970"/>
              <a:gd name="connsiteX8" fmla="*/ 87059 w 1741188"/>
              <a:gd name="connsiteY8" fmla="*/ 0 h 2482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2482970">
                <a:moveTo>
                  <a:pt x="87059" y="0"/>
                </a:moveTo>
                <a:lnTo>
                  <a:pt x="1654129" y="0"/>
                </a:lnTo>
                <a:cubicBezTo>
                  <a:pt x="1702210" y="0"/>
                  <a:pt x="1741188" y="38978"/>
                  <a:pt x="1741188" y="87059"/>
                </a:cubicBezTo>
                <a:lnTo>
                  <a:pt x="1741188" y="2395911"/>
                </a:lnTo>
                <a:cubicBezTo>
                  <a:pt x="1741188" y="2443992"/>
                  <a:pt x="1702210" y="2482970"/>
                  <a:pt x="1654129" y="2482970"/>
                </a:cubicBezTo>
                <a:lnTo>
                  <a:pt x="87059" y="2482970"/>
                </a:lnTo>
                <a:cubicBezTo>
                  <a:pt x="38978" y="2482970"/>
                  <a:pt x="0" y="2443992"/>
                  <a:pt x="0" y="2395911"/>
                </a:cubicBezTo>
                <a:lnTo>
                  <a:pt x="0" y="87059"/>
                </a:lnTo>
                <a:cubicBezTo>
                  <a:pt x="0" y="38978"/>
                  <a:pt x="38978" y="0"/>
                  <a:pt x="87059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F3EEC439-631E-D53B-B833-0CAF78FE8D2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2375" y="4445849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66696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83A3F60F-0961-799A-23C8-C085F7E85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98D4A6C-B3F4-5206-71C6-6B446058E3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668" b="28956"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39E8181-C805-7C52-F1CC-AA3750329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9A8A4B8-493B-2E65-41B9-0F2E817028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587375"/>
              <a:ext cx="6137502" cy="1787687"/>
            </a:xfrm>
            <a:prstGeom prst="roundRect">
              <a:avLst>
                <a:gd name="adj" fmla="val 6145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F0F04394-45BA-0E09-ED0D-C6A7D1CE37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2535157"/>
              <a:ext cx="6137502" cy="1787687"/>
            </a:xfrm>
            <a:prstGeom prst="roundRect">
              <a:avLst>
                <a:gd name="adj" fmla="val 6145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7A7C091-5ED2-B676-2774-3D2AD7B9A69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4482938"/>
              <a:ext cx="6137502" cy="1787687"/>
            </a:xfrm>
            <a:prstGeom prst="roundRect">
              <a:avLst>
                <a:gd name="adj" fmla="val 6145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2A142B-2A9E-F79B-0718-9C0F941E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4" y="1793848"/>
            <a:ext cx="4211947" cy="2215991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969E0858-9036-D12C-BFC1-BC7110D6527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599412" y="719218"/>
            <a:ext cx="1741188" cy="1524002"/>
          </a:xfrm>
          <a:custGeom>
            <a:avLst/>
            <a:gdLst>
              <a:gd name="connsiteX0" fmla="*/ 76200 w 1741188"/>
              <a:gd name="connsiteY0" fmla="*/ 0 h 1524002"/>
              <a:gd name="connsiteX1" fmla="*/ 1664988 w 1741188"/>
              <a:gd name="connsiteY1" fmla="*/ 0 h 1524002"/>
              <a:gd name="connsiteX2" fmla="*/ 1741188 w 1741188"/>
              <a:gd name="connsiteY2" fmla="*/ 76200 h 1524002"/>
              <a:gd name="connsiteX3" fmla="*/ 1741188 w 1741188"/>
              <a:gd name="connsiteY3" fmla="*/ 1447802 h 1524002"/>
              <a:gd name="connsiteX4" fmla="*/ 1664988 w 1741188"/>
              <a:gd name="connsiteY4" fmla="*/ 1524002 h 1524002"/>
              <a:gd name="connsiteX5" fmla="*/ 76200 w 1741188"/>
              <a:gd name="connsiteY5" fmla="*/ 1524002 h 1524002"/>
              <a:gd name="connsiteX6" fmla="*/ 0 w 1741188"/>
              <a:gd name="connsiteY6" fmla="*/ 1447802 h 1524002"/>
              <a:gd name="connsiteX7" fmla="*/ 0 w 1741188"/>
              <a:gd name="connsiteY7" fmla="*/ 76200 h 1524002"/>
              <a:gd name="connsiteX8" fmla="*/ 76200 w 1741188"/>
              <a:gd name="connsiteY8" fmla="*/ 0 h 152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524002">
                <a:moveTo>
                  <a:pt x="76200" y="0"/>
                </a:moveTo>
                <a:lnTo>
                  <a:pt x="1664988" y="0"/>
                </a:lnTo>
                <a:cubicBezTo>
                  <a:pt x="1707072" y="0"/>
                  <a:pt x="1741188" y="34116"/>
                  <a:pt x="1741188" y="76200"/>
                </a:cubicBezTo>
                <a:lnTo>
                  <a:pt x="1741188" y="1447802"/>
                </a:lnTo>
                <a:cubicBezTo>
                  <a:pt x="1741188" y="1489886"/>
                  <a:pt x="1707072" y="1524002"/>
                  <a:pt x="1664988" y="1524002"/>
                </a:cubicBezTo>
                <a:lnTo>
                  <a:pt x="76200" y="1524002"/>
                </a:lnTo>
                <a:cubicBezTo>
                  <a:pt x="34116" y="1524002"/>
                  <a:pt x="0" y="1489886"/>
                  <a:pt x="0" y="1447802"/>
                </a:cubicBezTo>
                <a:lnTo>
                  <a:pt x="0" y="76200"/>
                </a:lnTo>
                <a:cubicBezTo>
                  <a:pt x="0" y="34116"/>
                  <a:pt x="34116" y="0"/>
                  <a:pt x="76200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7BA03EBD-9216-9D6E-3981-AE46C65059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72375" y="1037508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7DC44A8A-6671-C6EE-0CAE-973E87FD954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99412" y="2667000"/>
            <a:ext cx="1741188" cy="1524002"/>
          </a:xfrm>
          <a:custGeom>
            <a:avLst/>
            <a:gdLst>
              <a:gd name="connsiteX0" fmla="*/ 76200 w 1741188"/>
              <a:gd name="connsiteY0" fmla="*/ 0 h 1524002"/>
              <a:gd name="connsiteX1" fmla="*/ 1664988 w 1741188"/>
              <a:gd name="connsiteY1" fmla="*/ 0 h 1524002"/>
              <a:gd name="connsiteX2" fmla="*/ 1741188 w 1741188"/>
              <a:gd name="connsiteY2" fmla="*/ 76200 h 1524002"/>
              <a:gd name="connsiteX3" fmla="*/ 1741188 w 1741188"/>
              <a:gd name="connsiteY3" fmla="*/ 1447802 h 1524002"/>
              <a:gd name="connsiteX4" fmla="*/ 1664988 w 1741188"/>
              <a:gd name="connsiteY4" fmla="*/ 1524002 h 1524002"/>
              <a:gd name="connsiteX5" fmla="*/ 76200 w 1741188"/>
              <a:gd name="connsiteY5" fmla="*/ 1524002 h 1524002"/>
              <a:gd name="connsiteX6" fmla="*/ 0 w 1741188"/>
              <a:gd name="connsiteY6" fmla="*/ 1447802 h 1524002"/>
              <a:gd name="connsiteX7" fmla="*/ 0 w 1741188"/>
              <a:gd name="connsiteY7" fmla="*/ 76200 h 1524002"/>
              <a:gd name="connsiteX8" fmla="*/ 76200 w 1741188"/>
              <a:gd name="connsiteY8" fmla="*/ 0 h 152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524002">
                <a:moveTo>
                  <a:pt x="76200" y="0"/>
                </a:moveTo>
                <a:lnTo>
                  <a:pt x="1664988" y="0"/>
                </a:lnTo>
                <a:cubicBezTo>
                  <a:pt x="1707072" y="0"/>
                  <a:pt x="1741188" y="34116"/>
                  <a:pt x="1741188" y="76200"/>
                </a:cubicBezTo>
                <a:lnTo>
                  <a:pt x="1741188" y="1447802"/>
                </a:lnTo>
                <a:cubicBezTo>
                  <a:pt x="1741188" y="1489886"/>
                  <a:pt x="1707072" y="1524002"/>
                  <a:pt x="1664988" y="1524002"/>
                </a:cubicBezTo>
                <a:lnTo>
                  <a:pt x="76200" y="1524002"/>
                </a:lnTo>
                <a:cubicBezTo>
                  <a:pt x="34116" y="1524002"/>
                  <a:pt x="0" y="1489886"/>
                  <a:pt x="0" y="1447802"/>
                </a:cubicBezTo>
                <a:lnTo>
                  <a:pt x="0" y="76200"/>
                </a:lnTo>
                <a:cubicBezTo>
                  <a:pt x="0" y="34116"/>
                  <a:pt x="34116" y="0"/>
                  <a:pt x="76200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A5B2D365-3E70-67A7-AF2F-821526A10D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72375" y="2985289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06197C82-98AB-708F-FFEB-1ABBE3C4933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599412" y="4614780"/>
            <a:ext cx="1741188" cy="1524002"/>
          </a:xfrm>
          <a:custGeom>
            <a:avLst/>
            <a:gdLst>
              <a:gd name="connsiteX0" fmla="*/ 76200 w 1741188"/>
              <a:gd name="connsiteY0" fmla="*/ 0 h 1524002"/>
              <a:gd name="connsiteX1" fmla="*/ 1664988 w 1741188"/>
              <a:gd name="connsiteY1" fmla="*/ 0 h 1524002"/>
              <a:gd name="connsiteX2" fmla="*/ 1741188 w 1741188"/>
              <a:gd name="connsiteY2" fmla="*/ 76200 h 1524002"/>
              <a:gd name="connsiteX3" fmla="*/ 1741188 w 1741188"/>
              <a:gd name="connsiteY3" fmla="*/ 1447802 h 1524002"/>
              <a:gd name="connsiteX4" fmla="*/ 1664988 w 1741188"/>
              <a:gd name="connsiteY4" fmla="*/ 1524002 h 1524002"/>
              <a:gd name="connsiteX5" fmla="*/ 76200 w 1741188"/>
              <a:gd name="connsiteY5" fmla="*/ 1524002 h 1524002"/>
              <a:gd name="connsiteX6" fmla="*/ 0 w 1741188"/>
              <a:gd name="connsiteY6" fmla="*/ 1447802 h 1524002"/>
              <a:gd name="connsiteX7" fmla="*/ 0 w 1741188"/>
              <a:gd name="connsiteY7" fmla="*/ 76200 h 1524002"/>
              <a:gd name="connsiteX8" fmla="*/ 76200 w 1741188"/>
              <a:gd name="connsiteY8" fmla="*/ 0 h 152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524002">
                <a:moveTo>
                  <a:pt x="76200" y="0"/>
                </a:moveTo>
                <a:lnTo>
                  <a:pt x="1664988" y="0"/>
                </a:lnTo>
                <a:cubicBezTo>
                  <a:pt x="1707072" y="0"/>
                  <a:pt x="1741188" y="34116"/>
                  <a:pt x="1741188" y="76200"/>
                </a:cubicBezTo>
                <a:lnTo>
                  <a:pt x="1741188" y="1447802"/>
                </a:lnTo>
                <a:cubicBezTo>
                  <a:pt x="1741188" y="1489886"/>
                  <a:pt x="1707072" y="1524002"/>
                  <a:pt x="1664988" y="1524002"/>
                </a:cubicBezTo>
                <a:lnTo>
                  <a:pt x="76200" y="1524002"/>
                </a:lnTo>
                <a:cubicBezTo>
                  <a:pt x="34116" y="1524002"/>
                  <a:pt x="0" y="1489886"/>
                  <a:pt x="0" y="1447802"/>
                </a:cubicBezTo>
                <a:lnTo>
                  <a:pt x="0" y="76200"/>
                </a:lnTo>
                <a:cubicBezTo>
                  <a:pt x="0" y="34116"/>
                  <a:pt x="34116" y="0"/>
                  <a:pt x="76200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AEC523A-1F21-4EA4-AB34-C7154B6377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2375" y="4933071"/>
            <a:ext cx="3908425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2151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A948D29-85DD-E3DA-0376-079E17013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98D4A6C-B3F4-5206-71C6-6B446058E3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/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4668" b="28956"/>
            <a:stretch/>
          </p:blipFill>
          <p:spPr>
            <a:xfrm flipH="1">
              <a:off x="0" y="2901844"/>
              <a:ext cx="5079701" cy="3956157"/>
            </a:xfrm>
            <a:custGeom>
              <a:avLst/>
              <a:gdLst>
                <a:gd name="connsiteX0" fmla="*/ 5079701 w 5079701"/>
                <a:gd name="connsiteY0" fmla="*/ 0 h 3956157"/>
                <a:gd name="connsiteX1" fmla="*/ 0 w 5079701"/>
                <a:gd name="connsiteY1" fmla="*/ 0 h 3956157"/>
                <a:gd name="connsiteX2" fmla="*/ 0 w 5079701"/>
                <a:gd name="connsiteY2" fmla="*/ 3956157 h 3956157"/>
                <a:gd name="connsiteX3" fmla="*/ 5079701 w 5079701"/>
                <a:gd name="connsiteY3" fmla="*/ 3956157 h 395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79701" h="3956157">
                  <a:moveTo>
                    <a:pt x="5079701" y="0"/>
                  </a:moveTo>
                  <a:lnTo>
                    <a:pt x="0" y="0"/>
                  </a:lnTo>
                  <a:lnTo>
                    <a:pt x="0" y="3956157"/>
                  </a:lnTo>
                  <a:lnTo>
                    <a:pt x="5079701" y="3956157"/>
                  </a:lnTo>
                  <a:close/>
                </a:path>
              </a:pathLst>
            </a:cu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39E8181-C805-7C52-F1CC-AA37503294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409C17E0-883F-32B8-D11E-9AB4729C8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587375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90F36C64-87E5-119C-CE39-1762577038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2037367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6D0A9C8D-A33F-26CF-909F-2871E5D333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3487359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E3A39115-C4B4-F681-2767-0F257C9707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1887" y="4937350"/>
              <a:ext cx="6137502" cy="1333275"/>
            </a:xfrm>
            <a:prstGeom prst="roundRect">
              <a:avLst>
                <a:gd name="adj" fmla="val 720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2A142B-2A9E-F79B-0718-9C0F941E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4" y="1793848"/>
            <a:ext cx="4211947" cy="2215991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AF5771C9-FC40-E2B4-30FA-46CF6F3B440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99412" y="716697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66015E09-CDA9-58E2-C7FE-D91F98349E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72375" y="856469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B91F3E2E-91E9-F48A-1023-6D68CDB0C13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99412" y="2166689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 algn="ctr">
              <a:buNone/>
            </a:pPr>
            <a:r>
              <a:rPr lang="en-US"/>
              <a:t>Picture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81CE8524-6E50-4286-4CDD-DCF931D3C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72375" y="2306461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7FC8C2E-2298-EA67-8C55-32826605239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599412" y="3616681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 algn="ctr">
              <a:buNone/>
            </a:pPr>
            <a:r>
              <a:rPr lang="en-US"/>
              <a:t>Picture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B806F1D3-0115-3F84-BAAB-98F886D54E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2375" y="3756453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53" name="Picture Placeholder 52">
            <a:extLst>
              <a:ext uri="{FF2B5EF4-FFF2-40B4-BE49-F238E27FC236}">
                <a16:creationId xmlns:a16="http://schemas.microsoft.com/office/drawing/2014/main" id="{28C06C34-EEBE-6ACE-0075-AD8A8817B44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599412" y="5066672"/>
            <a:ext cx="1741188" cy="1074630"/>
          </a:xfrm>
          <a:custGeom>
            <a:avLst/>
            <a:gdLst>
              <a:gd name="connsiteX0" fmla="*/ 64478 w 1741188"/>
              <a:gd name="connsiteY0" fmla="*/ 0 h 1074630"/>
              <a:gd name="connsiteX1" fmla="*/ 1676710 w 1741188"/>
              <a:gd name="connsiteY1" fmla="*/ 0 h 1074630"/>
              <a:gd name="connsiteX2" fmla="*/ 1741188 w 1741188"/>
              <a:gd name="connsiteY2" fmla="*/ 64478 h 1074630"/>
              <a:gd name="connsiteX3" fmla="*/ 1741188 w 1741188"/>
              <a:gd name="connsiteY3" fmla="*/ 1010152 h 1074630"/>
              <a:gd name="connsiteX4" fmla="*/ 1676710 w 1741188"/>
              <a:gd name="connsiteY4" fmla="*/ 1074630 h 1074630"/>
              <a:gd name="connsiteX5" fmla="*/ 64478 w 1741188"/>
              <a:gd name="connsiteY5" fmla="*/ 1074630 h 1074630"/>
              <a:gd name="connsiteX6" fmla="*/ 0 w 1741188"/>
              <a:gd name="connsiteY6" fmla="*/ 1010152 h 1074630"/>
              <a:gd name="connsiteX7" fmla="*/ 0 w 1741188"/>
              <a:gd name="connsiteY7" fmla="*/ 64478 h 1074630"/>
              <a:gd name="connsiteX8" fmla="*/ 64478 w 1741188"/>
              <a:gd name="connsiteY8" fmla="*/ 0 h 1074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41188" h="1074630">
                <a:moveTo>
                  <a:pt x="64478" y="0"/>
                </a:moveTo>
                <a:lnTo>
                  <a:pt x="1676710" y="0"/>
                </a:lnTo>
                <a:cubicBezTo>
                  <a:pt x="1712320" y="0"/>
                  <a:pt x="1741188" y="28868"/>
                  <a:pt x="1741188" y="64478"/>
                </a:cubicBezTo>
                <a:lnTo>
                  <a:pt x="1741188" y="1010152"/>
                </a:lnTo>
                <a:cubicBezTo>
                  <a:pt x="1741188" y="1045762"/>
                  <a:pt x="1712320" y="1074630"/>
                  <a:pt x="1676710" y="1074630"/>
                </a:cubicBezTo>
                <a:lnTo>
                  <a:pt x="64478" y="1074630"/>
                </a:lnTo>
                <a:cubicBezTo>
                  <a:pt x="28868" y="1074630"/>
                  <a:pt x="0" y="1045762"/>
                  <a:pt x="0" y="1010152"/>
                </a:cubicBezTo>
                <a:lnTo>
                  <a:pt x="0" y="64478"/>
                </a:lnTo>
                <a:cubicBezTo>
                  <a:pt x="0" y="28868"/>
                  <a:pt x="28868" y="0"/>
                  <a:pt x="6447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  <a:effectLst>
            <a:innerShdw blurRad="136547" dist="50800" dir="13500000">
              <a:prstClr val="black">
                <a:alpha val="39864"/>
              </a:prstClr>
            </a:innerShdw>
          </a:effectLst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 algn="ctr">
              <a:buNone/>
            </a:pPr>
            <a:r>
              <a:rPr lang="en-US"/>
              <a:t>Picture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1F1DAC55-9E1E-3F43-E048-5F55CAFBE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72375" y="5206444"/>
            <a:ext cx="3908425" cy="795089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80675611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CC536E1-C784-73F2-F6DF-D4FCB8C679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97737E7-53FD-4237-3F7F-2EDB7D6EAB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FE70C3BC-27DA-B08D-354D-5D7B29280B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  <a:gradFill flip="none" rotWithShape="1">
                <a:gsLst>
                  <a:gs pos="0">
                    <a:srgbClr val="A8DAA2"/>
                  </a:gs>
                  <a:gs pos="40000">
                    <a:srgbClr val="57B9C5"/>
                  </a:gs>
                  <a:gs pos="88000">
                    <a:srgbClr val="0F656B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9525" cap="flat">
                <a:noFill/>
                <a:prstDash val="solid"/>
                <a:miter/>
              </a:ln>
              <a:effectLst>
                <a:outerShdw blurRad="50800" dist="254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3E9644D-1C61-A1F2-DA64-F90CB0EEE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53C5B0A-CC75-1BA8-7472-42D277CC6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667329"/>
              <a:ext cx="11018520" cy="43019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CDF58D0E-224D-3FA1-F4A0-375844895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787979"/>
              <a:ext cx="10804396" cy="4060654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99F8546-CE82-A78C-0BBF-A4BD702FDC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4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5C90097-2F31-DAC8-E35A-02678FEF03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3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F02CD68-AFDC-454B-79D6-5AED219C5C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2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91167A5-92CD-D130-0716-50FBDC7BEF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1" y="3285160"/>
              <a:ext cx="0" cy="215443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5E19E29-F14D-5AAF-CEC4-229C51353F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367532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34538A6-442E-CDA7-8BE1-BE1E69B6276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528411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E9DE165-6145-2EC2-7C70-5A908F310E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689290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372925BF-9F6B-82CB-1350-D52D7C86FB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850169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A56DA6E-FD33-72FD-B2A5-7D0CA3A18B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011049" y="2128337"/>
              <a:ext cx="816464" cy="816464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4CBD5D5-40EA-F508-1751-8D2961C656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33BD9DED-CB08-082E-FDDA-0BAA2E0E40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360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3" name="Text Placeholder 25">
            <a:extLst>
              <a:ext uri="{FF2B5EF4-FFF2-40B4-BE49-F238E27FC236}">
                <a16:creationId xmlns:a16="http://schemas.microsoft.com/office/drawing/2014/main" id="{1AC0983B-C634-CEF8-3583-7CA7FF2F2ED7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991239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4" name="Text Placeholder 25">
            <a:extLst>
              <a:ext uri="{FF2B5EF4-FFF2-40B4-BE49-F238E27FC236}">
                <a16:creationId xmlns:a16="http://schemas.microsoft.com/office/drawing/2014/main" id="{D24A97A6-1EA8-6B66-1057-931798BFA051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152118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36B38729-A0A6-F264-ADCB-4646C1814C7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312997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2" name="Text Placeholder 25">
            <a:extLst>
              <a:ext uri="{FF2B5EF4-FFF2-40B4-BE49-F238E27FC236}">
                <a16:creationId xmlns:a16="http://schemas.microsoft.com/office/drawing/2014/main" id="{0FE31903-BBD7-E808-7C7A-A6A46FD5F3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473876" y="3285160"/>
            <a:ext cx="1890810" cy="1938992"/>
          </a:xfrm>
        </p:spPr>
        <p:txBody>
          <a:bodyPr lIns="0" tIns="0" rIns="0" bIns="0"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99282771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DD07EA9-3CB3-E8C6-F695-388225B9E0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3F2502F-654E-0747-57A7-F9F623456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A809D1E4-E3C3-FA64-49E0-8C972CB579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097" t="-471" b="16643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B908AC18-017E-FCDB-BE40-11B4D32A89E7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C0FE920-4C8B-22E5-E004-1524C1896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2832100"/>
              <a:ext cx="11018520" cy="27906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4ACC00B-574C-8287-F96C-4D727A9B6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2948058"/>
              <a:ext cx="10804396" cy="2558738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B6F6DB8-E62C-03BC-C07C-03FA32CDC8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6790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D6F9F09-0FA9-F1D0-D877-D07C71D7876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98255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81CCDC2-47B5-2844-578C-EDF604D75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973" y="928832"/>
            <a:ext cx="11087100" cy="738664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05A93F-4B9F-F168-F47D-204BD4B4FE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973" y="1805894"/>
            <a:ext cx="11087100" cy="430887"/>
          </a:xfrm>
        </p:spPr>
        <p:txBody>
          <a:bodyPr/>
          <a:lstStyle>
            <a:lvl1pPr marL="0" indent="0" algn="ctr">
              <a:buNone/>
              <a:defRPr>
                <a:gradFill>
                  <a:gsLst>
                    <a:gs pos="100000">
                      <a:srgbClr val="0078D4"/>
                    </a:gs>
                    <a:gs pos="56000">
                      <a:srgbClr val="31838E"/>
                    </a:gs>
                  </a:gsLst>
                  <a:lin ang="0" scaled="1"/>
                </a:gradFill>
                <a:latin typeface="Segoe Sans Display Semilight" pitchFamily="2" charset="0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CFFD686-DC89-9E54-07F1-4FDD843123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1187" y="4073538"/>
            <a:ext cx="3329741" cy="307777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3A0CEF-15EA-4F25-02E1-949287E47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2652" y="4073538"/>
            <a:ext cx="3329741" cy="307777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F268C7BD-0316-6FEE-EB12-4133C67B9F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4117" y="4073538"/>
            <a:ext cx="3329741" cy="307777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30356265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D27B66C4-92B3-62EE-1ADC-4989E3F898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3F2502F-654E-0747-57A7-F9F623456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A809D1E4-E3C3-FA64-49E0-8C972CB579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097" t="-471" b="16643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B908AC18-017E-FCDB-BE40-11B4D32A89E7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C0FE920-4C8B-22E5-E004-1524C1896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2832100"/>
              <a:ext cx="11018520" cy="2790654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4ACC00B-574C-8287-F96C-4D727A9B6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2948058"/>
              <a:ext cx="10804396" cy="2558738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5100C0B-E72C-72F9-2853-D659DF97D2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4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0629200-A673-33E6-C5E1-75FED3B170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3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A35638A-E181-C55C-B88B-BE008AEA94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2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ACC6ECA-C2B6-5D31-363B-32936CA438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1" y="3673428"/>
              <a:ext cx="0" cy="1107996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81CCDC2-47B5-2844-578C-EDF604D75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449" y="928832"/>
            <a:ext cx="11087100" cy="738664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05A93F-4B9F-F168-F47D-204BD4B4FE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1805894"/>
            <a:ext cx="11087100" cy="430887"/>
          </a:xfrm>
        </p:spPr>
        <p:txBody>
          <a:bodyPr/>
          <a:lstStyle>
            <a:lvl1pPr marL="0" indent="0" algn="ctr">
              <a:buNone/>
              <a:defRPr>
                <a:gradFill>
                  <a:gsLst>
                    <a:gs pos="100000">
                      <a:srgbClr val="0078D4"/>
                    </a:gs>
                    <a:gs pos="56000">
                      <a:srgbClr val="31838E"/>
                    </a:gs>
                  </a:gsLst>
                  <a:lin ang="0" scaled="1"/>
                </a:gradFill>
                <a:latin typeface="Segoe Sans Display Semilight" pitchFamily="2" charset="0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CFFD686-DC89-9E54-07F1-4FDD843123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62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3A0CEF-15EA-4F25-02E1-949287E47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79441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F268C7BD-0316-6FEE-EB12-4133C67B9F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0320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1238FE33-2976-5504-46ED-B7F8B2A67C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01199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3F4A6CFD-4C13-0CC3-8E12-26A51D8A0B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62078" y="3981205"/>
            <a:ext cx="1914405" cy="492443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  <a:cs typeface="Segoe Sans Display Semilight" pitchFamily="2" charset="0"/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54715590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C615CE1-F07D-5AFC-3575-A3E6A52370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0775" y="0"/>
            <a:ext cx="10961227" cy="6858000"/>
            <a:chOff x="1230775" y="0"/>
            <a:chExt cx="1096122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5C9EE4-C10D-7B3D-9040-294201FA24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1A8CEC-882A-1156-0753-DD25176FCB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0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36">
              <a:extLst>
                <a:ext uri="{FF2B5EF4-FFF2-40B4-BE49-F238E27FC236}">
                  <a16:creationId xmlns:a16="http://schemas.microsoft.com/office/drawing/2014/main" id="{85F5104E-025D-ECE3-5CA1-227944802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6134034" y="-9526"/>
              <a:ext cx="5238882" cy="6877051"/>
            </a:xfrm>
            <a:prstGeom prst="round2SameRect">
              <a:avLst>
                <a:gd name="adj1" fmla="val 2613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81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6" name="Rounded Rectangle 38">
              <a:extLst>
                <a:ext uri="{FF2B5EF4-FFF2-40B4-BE49-F238E27FC236}">
                  <a16:creationId xmlns:a16="http://schemas.microsoft.com/office/drawing/2014/main" id="{CF5D267C-41BF-B59E-5D09-CBFA4A1990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6419342" y="85576"/>
              <a:ext cx="4858472" cy="6686848"/>
            </a:xfrm>
            <a:prstGeom prst="round2SameRect">
              <a:avLst>
                <a:gd name="adj1" fmla="val 1788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E297AC1-52CC-E845-426B-15EEF8822C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7" y="2805039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EB44C4D-3736-7263-FF26-6AB8442932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7" y="4052959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90BF04ED-00CF-F146-ADF8-793FC1258C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1" y="2598003"/>
            <a:ext cx="4329113" cy="1107996"/>
          </a:xfrm>
        </p:spPr>
        <p:txBody>
          <a:bodyPr anchor="ctr"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DA4CC2E3-75FA-03DF-B853-2246AFD424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43483" y="1962175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CBE4911-C72B-010E-92AC-197C85A48B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6378" y="2027191"/>
            <a:ext cx="5201422" cy="307777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47930BF3-4CCA-22C6-935F-A81E231D14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3483" y="3210095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FBE41CD-14B6-ED3B-332F-247AA4A1C3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6378" y="3275110"/>
            <a:ext cx="5201422" cy="307777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8" name="Picture Placeholder 22">
            <a:extLst>
              <a:ext uri="{FF2B5EF4-FFF2-40B4-BE49-F238E27FC236}">
                <a16:creationId xmlns:a16="http://schemas.microsoft.com/office/drawing/2014/main" id="{82DDDDE4-414B-F894-7DD8-0B1B2629FC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43483" y="4458015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IN"/>
              <a:t>Icon</a:t>
            </a:r>
            <a:endParaRPr lang="en-US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9BDE4C3-81CD-B685-0F6A-0BF1174256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06378" y="4523031"/>
            <a:ext cx="5201422" cy="307777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67730024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oints With Picture/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86335C-5EAA-7A04-FBA3-7610BBED57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0874" y="1804933"/>
            <a:ext cx="11601126" cy="5053064"/>
            <a:chOff x="590874" y="1804933"/>
            <a:chExt cx="11601126" cy="505306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9FB63A5-1EEB-A6E9-C835-9028695FDC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4" name="Rectangle: Top Corners Rounded 3">
              <a:extLst>
                <a:ext uri="{FF2B5EF4-FFF2-40B4-BE49-F238E27FC236}">
                  <a16:creationId xmlns:a16="http://schemas.microsoft.com/office/drawing/2014/main" id="{1E4A0E79-A374-FB8D-805B-DB66CCBC91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6200000">
              <a:off x="2162881" y="445706"/>
              <a:ext cx="4269532" cy="7413545"/>
            </a:xfrm>
            <a:prstGeom prst="round2SameRect">
              <a:avLst>
                <a:gd name="adj1" fmla="val 3269"/>
                <a:gd name="adj2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4258DBF-B67E-6DB0-47E8-8EF0AF4572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2445583"/>
              <a:ext cx="582616" cy="582616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03B6888-C630-28BC-F651-A4064A0C3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3837515"/>
              <a:ext cx="582616" cy="582616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F1C5841-DFA5-ABD7-ED0C-E45CAFF2C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765172" y="5229447"/>
              <a:ext cx="582616" cy="582616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D44A4D2-4E55-1663-438C-F5C27018B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3432857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A67318F-9170-4A8A-2252-B3A228711F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7174" y="4824790"/>
              <a:ext cx="6297909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CE03631-0B3D-A0A8-1670-F533C9997C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8004416" y="1804933"/>
              <a:ext cx="3604972" cy="4695090"/>
            </a:xfrm>
            <a:prstGeom prst="roundRect">
              <a:avLst>
                <a:gd name="adj" fmla="val 419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6E8609-6578-B52C-F4AB-5BD0C647F6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11079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FD8DD1C-E747-D187-444C-35835A6A76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7174" y="2293180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ED2A534-E19F-43C5-1B06-E382D7769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3685113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6BB8C8B-FE81-FE17-BC75-CF40E24B8C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174" y="5077044"/>
            <a:ext cx="6297909" cy="887422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200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1800"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B76E5BF-F645-2E9F-7FD7-F7A237CEA6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26335" y="1926853"/>
            <a:ext cx="3361134" cy="4451250"/>
          </a:xfrm>
          <a:custGeom>
            <a:avLst/>
            <a:gdLst>
              <a:gd name="connsiteX0" fmla="*/ 125874 w 3361134"/>
              <a:gd name="connsiteY0" fmla="*/ 0 h 4451250"/>
              <a:gd name="connsiteX1" fmla="*/ 3235260 w 3361134"/>
              <a:gd name="connsiteY1" fmla="*/ 0 h 4451250"/>
              <a:gd name="connsiteX2" fmla="*/ 3361134 w 3361134"/>
              <a:gd name="connsiteY2" fmla="*/ 125874 h 4451250"/>
              <a:gd name="connsiteX3" fmla="*/ 3361134 w 3361134"/>
              <a:gd name="connsiteY3" fmla="*/ 4325376 h 4451250"/>
              <a:gd name="connsiteX4" fmla="*/ 3235260 w 3361134"/>
              <a:gd name="connsiteY4" fmla="*/ 4451250 h 4451250"/>
              <a:gd name="connsiteX5" fmla="*/ 125874 w 3361134"/>
              <a:gd name="connsiteY5" fmla="*/ 4451250 h 4451250"/>
              <a:gd name="connsiteX6" fmla="*/ 0 w 3361134"/>
              <a:gd name="connsiteY6" fmla="*/ 4325376 h 4451250"/>
              <a:gd name="connsiteX7" fmla="*/ 0 w 3361134"/>
              <a:gd name="connsiteY7" fmla="*/ 125874 h 4451250"/>
              <a:gd name="connsiteX8" fmla="*/ 125874 w 3361134"/>
              <a:gd name="connsiteY8" fmla="*/ 0 h 44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1134" h="4451250">
                <a:moveTo>
                  <a:pt x="125874" y="0"/>
                </a:moveTo>
                <a:lnTo>
                  <a:pt x="3235260" y="0"/>
                </a:lnTo>
                <a:cubicBezTo>
                  <a:pt x="3304778" y="0"/>
                  <a:pt x="3361134" y="56356"/>
                  <a:pt x="3361134" y="125874"/>
                </a:cubicBezTo>
                <a:lnTo>
                  <a:pt x="3361134" y="4325376"/>
                </a:lnTo>
                <a:cubicBezTo>
                  <a:pt x="3361134" y="4394894"/>
                  <a:pt x="3304778" y="4451250"/>
                  <a:pt x="3235260" y="4451250"/>
                </a:cubicBezTo>
                <a:lnTo>
                  <a:pt x="125874" y="4451250"/>
                </a:lnTo>
                <a:cubicBezTo>
                  <a:pt x="56356" y="4451250"/>
                  <a:pt x="0" y="4394894"/>
                  <a:pt x="0" y="4325376"/>
                </a:cubicBezTo>
                <a:lnTo>
                  <a:pt x="0" y="125874"/>
                </a:lnTo>
                <a:cubicBezTo>
                  <a:pt x="0" y="56356"/>
                  <a:pt x="56356" y="0"/>
                  <a:pt x="12587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 algn="ctr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0496579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D9E3361E-D3D0-D24B-385F-4B93D0B3FF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0775" y="0"/>
            <a:ext cx="10961227" cy="6858000"/>
            <a:chOff x="1230775" y="0"/>
            <a:chExt cx="1096122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5C9EE4-C10D-7B3D-9040-294201FA24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1A8CEC-882A-1156-0753-DD25176FCB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0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36">
              <a:extLst>
                <a:ext uri="{FF2B5EF4-FFF2-40B4-BE49-F238E27FC236}">
                  <a16:creationId xmlns:a16="http://schemas.microsoft.com/office/drawing/2014/main" id="{85F5104E-025D-ECE3-5CA1-227944802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6134034" y="-9526"/>
              <a:ext cx="5238882" cy="6877051"/>
            </a:xfrm>
            <a:prstGeom prst="round2SameRect">
              <a:avLst>
                <a:gd name="adj1" fmla="val 2613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81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6" name="Rounded Rectangle 38">
              <a:extLst>
                <a:ext uri="{FF2B5EF4-FFF2-40B4-BE49-F238E27FC236}">
                  <a16:creationId xmlns:a16="http://schemas.microsoft.com/office/drawing/2014/main" id="{CF5D267C-41BF-B59E-5D09-CBFA4A1990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6419342" y="85576"/>
              <a:ext cx="4858472" cy="6686848"/>
            </a:xfrm>
            <a:prstGeom prst="round2SameRect">
              <a:avLst>
                <a:gd name="adj1" fmla="val 1788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290AF011-3795-8E34-8B43-ED21F876B0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6" y="2298555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A2ECB14-C4F2-4FFD-3650-F8F6824DF6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6" y="3429000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B0E5C52-8D37-FADB-CE15-FB452D4E16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06376" y="4559445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FA1DE64F-957A-A233-CFB0-3F9376616C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1" y="2598003"/>
            <a:ext cx="4329113" cy="1107996"/>
          </a:xfrm>
        </p:spPr>
        <p:txBody>
          <a:bodyPr anchor="ctr"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DA4CC2E3-75FA-03DF-B853-2246AFD424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43483" y="1514428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 dirty="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CBE4911-C72B-010E-92AC-197C85A48B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6376" y="1594833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47930BF3-4CCA-22C6-935F-A81E231D14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3483" y="2644873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 dirty="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FBE41CD-14B6-ED3B-332F-247AA4A1C3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6376" y="2725277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8" name="Picture Placeholder 22">
            <a:extLst>
              <a:ext uri="{FF2B5EF4-FFF2-40B4-BE49-F238E27FC236}">
                <a16:creationId xmlns:a16="http://schemas.microsoft.com/office/drawing/2014/main" id="{82DDDDE4-414B-F894-7DD8-0B1B2629FC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43483" y="3775318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9BDE4C3-81CD-B685-0F6A-0BF1174256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06376" y="3855722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82DE6A1B-C705-57ED-5D21-422B7272AD3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43483" y="4905763"/>
            <a:ext cx="433480" cy="437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800"/>
            </a:lvl1pPr>
          </a:lstStyle>
          <a:p>
            <a:pPr marL="228600" lvl="0" indent="-228600" algn="ctr"/>
            <a:r>
              <a:rPr lang="en-IN"/>
              <a:t>Icon</a:t>
            </a:r>
            <a:endParaRPr lang="en-US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89EE348C-96E1-D36F-C098-3F670FA1DF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6376" y="4986167"/>
            <a:ext cx="5201422" cy="276999"/>
          </a:xfrm>
        </p:spPr>
        <p:txBody>
          <a:bodyPr anchor="ctr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64130498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Row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8336471-DF8E-293A-1C5E-A0FBC2173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30775" y="0"/>
            <a:ext cx="10961227" cy="6858000"/>
            <a:chOff x="1230775" y="0"/>
            <a:chExt cx="10961227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5C9EE4-C10D-7B3D-9040-294201FA24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1A8CEC-882A-1156-0753-DD25176FCB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0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36">
              <a:extLst>
                <a:ext uri="{FF2B5EF4-FFF2-40B4-BE49-F238E27FC236}">
                  <a16:creationId xmlns:a16="http://schemas.microsoft.com/office/drawing/2014/main" id="{85F5104E-025D-ECE3-5CA1-227944802E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6134034" y="-9526"/>
              <a:ext cx="5238882" cy="6877051"/>
            </a:xfrm>
            <a:prstGeom prst="round2SameRect">
              <a:avLst>
                <a:gd name="adj1" fmla="val 2613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81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6" name="Rounded Rectangle 38">
              <a:extLst>
                <a:ext uri="{FF2B5EF4-FFF2-40B4-BE49-F238E27FC236}">
                  <a16:creationId xmlns:a16="http://schemas.microsoft.com/office/drawing/2014/main" id="{CF5D267C-41BF-B59E-5D09-CBFA4A1990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 rot="16200000">
              <a:off x="6419342" y="85576"/>
              <a:ext cx="4858472" cy="6686848"/>
            </a:xfrm>
            <a:prstGeom prst="round2SameRect">
              <a:avLst>
                <a:gd name="adj1" fmla="val 1800"/>
                <a:gd name="adj2" fmla="val 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270CB02-7EFE-CC8B-E384-981C216CCF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1971458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C2A9C6F-8F54-4C5E-ED2B-1C3DCD92BD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2943153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D8B869C-F8CC-1C53-F103-A3026670B4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3914848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7483BB6-D282-CE62-8782-CD9810E894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415291" y="4886543"/>
              <a:ext cx="5201422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330CDF3-495A-F4F1-9344-C69EA023DD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1" y="2598003"/>
            <a:ext cx="4329113" cy="1107996"/>
          </a:xfrm>
        </p:spPr>
        <p:txBody>
          <a:bodyPr anchor="ctr"/>
          <a:lstStyle/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DA4CC2E3-75FA-03DF-B853-2246AFD424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743483" y="1262498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CBE4911-C72B-010E-92AC-197C85A48B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6377" y="1358292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47930BF3-4CCA-22C6-935F-A81E231D14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3483" y="2234193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FBE41CD-14B6-ED3B-332F-247AA4A1C3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6377" y="2329986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8" name="Picture Placeholder 22">
            <a:extLst>
              <a:ext uri="{FF2B5EF4-FFF2-40B4-BE49-F238E27FC236}">
                <a16:creationId xmlns:a16="http://schemas.microsoft.com/office/drawing/2014/main" id="{82DDDDE4-414B-F894-7DD8-0B1B2629FC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43483" y="3205888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9BDE4C3-81CD-B685-0F6A-0BF1174256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06377" y="3301681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82DE6A1B-C705-57ED-5D21-422B7272AD3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43483" y="4177583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89EE348C-96E1-D36F-C098-3F670FA1DF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6377" y="4273376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5" name="Picture Placeholder 22">
            <a:extLst>
              <a:ext uri="{FF2B5EF4-FFF2-40B4-BE49-F238E27FC236}">
                <a16:creationId xmlns:a16="http://schemas.microsoft.com/office/drawing/2014/main" id="{05D7DA5F-A044-B252-F234-F0BDF9AF3CF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43483" y="5149278"/>
            <a:ext cx="433480" cy="437808"/>
          </a:xfrm>
        </p:spPr>
        <p:txBody>
          <a:bodyPr anchor="ctr">
            <a:noAutofit/>
          </a:bodyPr>
          <a:lstStyle>
            <a:lvl1pPr marL="0" indent="0" algn="ctr">
              <a:buNone/>
              <a:defRPr sz="800"/>
            </a:lvl1pPr>
          </a:lstStyle>
          <a:p>
            <a:pPr marL="0" lvl="0" indent="0" algn="ctr">
              <a:buNone/>
            </a:pPr>
            <a:r>
              <a:rPr lang="en-IN"/>
              <a:t>Icon</a:t>
            </a:r>
            <a:endParaRPr lang="en-US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79DEA43A-4C65-DE5E-DA6C-F3CE7EF442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6377" y="5245071"/>
            <a:ext cx="5201422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45127339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665F012-10DD-9679-ECCC-693C177A0C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1AA96F5-1BDF-F65A-E96A-BA5695794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BE4FD4-DCCB-144B-93C7-68382DCDAF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D181186-378B-65D0-51AA-1CAC9C642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436688"/>
              <a:ext cx="11018520" cy="4841133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E378FBA-7993-4EE5-34B5-03885D5AAB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538514"/>
              <a:ext cx="10804396" cy="4637480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BC94A3C-9B34-1A0A-6287-C7E8596339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95325" y="1894793"/>
              <a:ext cx="10804396" cy="92460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E2CA89C-CC32-1FEC-C753-BAC8E05644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9825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BB519F7-742D-3BC7-8EDC-55F2763997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6790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34_1">
              <a:extLst>
                <a:ext uri="{FF2B5EF4-FFF2-40B4-BE49-F238E27FC236}">
                  <a16:creationId xmlns:a16="http://schemas.microsoft.com/office/drawing/2014/main" id="{DE63D16C-789A-CBFD-A85A-24460C0BC77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4243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5" name="Graphic 16" descr="Icon of a forward pointing arrow">
              <a:extLst>
                <a:ext uri="{FF2B5EF4-FFF2-40B4-BE49-F238E27FC236}">
                  <a16:creationId xmlns:a16="http://schemas.microsoft.com/office/drawing/2014/main" id="{EDA80957-28A6-EAC3-BD09-4B6186358BA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1831270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1DE6904-D51A-C12C-4B15-CCED57CF3D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9825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9EED113-4FF9-E4B8-4489-A2A44757EF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296790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34_1">
              <a:extLst>
                <a:ext uri="{FF2B5EF4-FFF2-40B4-BE49-F238E27FC236}">
                  <a16:creationId xmlns:a16="http://schemas.microsoft.com/office/drawing/2014/main" id="{E0F4E953-6AE3-75FE-F806-83ADC2E4DB7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5479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0" name="Graphic 16" descr="Icon of a forward pointing arrow">
              <a:extLst>
                <a:ext uri="{FF2B5EF4-FFF2-40B4-BE49-F238E27FC236}">
                  <a16:creationId xmlns:a16="http://schemas.microsoft.com/office/drawing/2014/main" id="{F6C547B2-C44B-75D4-5224-C49437A590C4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5432506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" name="Oval 34_1">
              <a:extLst>
                <a:ext uri="{FF2B5EF4-FFF2-40B4-BE49-F238E27FC236}">
                  <a16:creationId xmlns:a16="http://schemas.microsoft.com/office/drawing/2014/main" id="{422EB85E-288A-1687-F9EB-A5AAE68F42DB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57173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3" name="Graphic 16" descr="Icon of a forward pointing arrow">
              <a:extLst>
                <a:ext uri="{FF2B5EF4-FFF2-40B4-BE49-F238E27FC236}">
                  <a16:creationId xmlns:a16="http://schemas.microsoft.com/office/drawing/2014/main" id="{494E6564-20E9-F141-5C00-34424D2767A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9034200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A559581-970D-F07F-7AF5-419CCB479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>
                <a:solidFill>
                  <a:srgbClr val="454142"/>
                </a:solidFill>
              </a:rPr>
              <a:t>Lorem ipsum dolor sit 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37" name="Picture Placeholder 35">
            <a:extLst>
              <a:ext uri="{FF2B5EF4-FFF2-40B4-BE49-F238E27FC236}">
                <a16:creationId xmlns:a16="http://schemas.microsoft.com/office/drawing/2014/main" id="{39D1D15A-5E8B-87F9-77A1-65A2EE74E5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583708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0F0874C-DD87-22B2-BC30-B438C28CA3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187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5AF2F96E-74DB-CD63-D225-1D6394F23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6405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E6116428-8F89-9766-9040-9B5398B0A05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85173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D2783A76-804D-8011-B18D-BE26AF1C7C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32652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D2C67434-F448-64CD-5B1E-B5AA7CED84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37641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41" name="Picture Placeholder 35">
            <a:extLst>
              <a:ext uri="{FF2B5EF4-FFF2-40B4-BE49-F238E27FC236}">
                <a16:creationId xmlns:a16="http://schemas.microsoft.com/office/drawing/2014/main" id="{47626B74-A52F-4614-322D-CACDA52DB3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786639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80AA847F-C394-F0C1-2241-96C04C34AC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4117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054EF6A0-A8DC-0D5E-5F4D-5262727787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9335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</p:spTree>
    <p:extLst>
      <p:ext uri="{BB962C8B-B14F-4D97-AF65-F5344CB8AC3E}">
        <p14:creationId xmlns:p14="http://schemas.microsoft.com/office/powerpoint/2010/main" val="169778683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8519523-0AB8-CE7F-2A3A-40EF4FBE07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1AA96F5-1BDF-F65A-E96A-BA5695794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BE4FD4-DCCB-144B-93C7-68382DCDAF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D181186-378B-65D0-51AA-1CAC9C642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436688"/>
              <a:ext cx="11018520" cy="4841133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E378FBA-7993-4EE5-34B5-03885D5AAB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538514"/>
              <a:ext cx="10804396" cy="4637480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4883295-0753-D88F-8705-BE3C44BDAE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95325" y="1894793"/>
              <a:ext cx="10804396" cy="92460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71F7A586-025A-66C6-4FF9-F3C4A3D95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FDE5295-6467-67F3-B300-B53DB27142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3E40F6D-8042-8E9B-549A-640EB1381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CEDD79D-ED87-58C6-D949-A16C89FA83C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98624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3BAF2BF-3FC9-435B-02C9-52DC9735EC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4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9292BB9-274B-7BE0-2DBA-EE28DB9766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9642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9B6DA9E9-713E-3095-AEAA-4DF0BA0BEC5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04061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63" name="Graphic 16" descr="Icon of a forward pointing arrow">
              <a:extLst>
                <a:ext uri="{FF2B5EF4-FFF2-40B4-BE49-F238E27FC236}">
                  <a16:creationId xmlns:a16="http://schemas.microsoft.com/office/drawing/2014/main" id="{1289E6A0-DEBA-AD72-259C-160B6165FC2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1381088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23" name="Oval 34_1">
              <a:extLst>
                <a:ext uri="{FF2B5EF4-FFF2-40B4-BE49-F238E27FC236}">
                  <a16:creationId xmlns:a16="http://schemas.microsoft.com/office/drawing/2014/main" id="{735CC24D-4F84-1966-17EE-0B434D653FE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05160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24" name="Graphic 16" descr="Icon of a forward pointing arrow">
              <a:extLst>
                <a:ext uri="{FF2B5EF4-FFF2-40B4-BE49-F238E27FC236}">
                  <a16:creationId xmlns:a16="http://schemas.microsoft.com/office/drawing/2014/main" id="{81EAC87E-C8FB-3AC0-7CDF-B09B4389B73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4082187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27" name="Oval 34_1">
              <a:extLst>
                <a:ext uri="{FF2B5EF4-FFF2-40B4-BE49-F238E27FC236}">
                  <a16:creationId xmlns:a16="http://schemas.microsoft.com/office/drawing/2014/main" id="{05EA2839-E4E2-65D0-0CD9-372390F9D3C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6260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28" name="Graphic 16" descr="Icon of a forward pointing arrow">
              <a:extLst>
                <a:ext uri="{FF2B5EF4-FFF2-40B4-BE49-F238E27FC236}">
                  <a16:creationId xmlns:a16="http://schemas.microsoft.com/office/drawing/2014/main" id="{1E633B4A-38A9-56C3-9967-CCB81E04FC7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6783287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1" name="Oval 34_1">
              <a:extLst>
                <a:ext uri="{FF2B5EF4-FFF2-40B4-BE49-F238E27FC236}">
                  <a16:creationId xmlns:a16="http://schemas.microsoft.com/office/drawing/2014/main" id="{3B152BFA-0C24-E97A-7CD0-8B9ED88B6629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07357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32" name="Graphic 16" descr="Icon of a forward pointing arrow">
              <a:extLst>
                <a:ext uri="{FF2B5EF4-FFF2-40B4-BE49-F238E27FC236}">
                  <a16:creationId xmlns:a16="http://schemas.microsoft.com/office/drawing/2014/main" id="{2CCC892C-6D3E-9A65-7331-75FEDE6582B0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9484384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A559581-970D-F07F-7AF5-419CCB479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>
                <a:solidFill>
                  <a:srgbClr val="454142"/>
                </a:solidFill>
              </a:rPr>
              <a:t>Lorem ipsum dolor sit 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138" name="Picture Placeholder 35">
            <a:extLst>
              <a:ext uri="{FF2B5EF4-FFF2-40B4-BE49-F238E27FC236}">
                <a16:creationId xmlns:a16="http://schemas.microsoft.com/office/drawing/2014/main" id="{FC7F1915-DFB0-222B-BC47-472C28C820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13352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0F0874C-DD87-22B2-BC30-B438C28CA3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33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82" name="Text Placeholder 28">
            <a:extLst>
              <a:ext uri="{FF2B5EF4-FFF2-40B4-BE49-F238E27FC236}">
                <a16:creationId xmlns:a16="http://schemas.microsoft.com/office/drawing/2014/main" id="{10CABBE8-2638-BAC2-E832-618C53F3FE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5994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39" name="Picture Placeholder 35">
            <a:extLst>
              <a:ext uri="{FF2B5EF4-FFF2-40B4-BE49-F238E27FC236}">
                <a16:creationId xmlns:a16="http://schemas.microsoft.com/office/drawing/2014/main" id="{0D40BF4B-A5BF-46BC-6196-3A6AA9238C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83462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D2783A76-804D-8011-B18D-BE26AF1C7C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244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5AF2F96E-74DB-CD63-D225-1D6394F23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87093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0" name="Picture Placeholder 35">
            <a:extLst>
              <a:ext uri="{FF2B5EF4-FFF2-40B4-BE49-F238E27FC236}">
                <a16:creationId xmlns:a16="http://schemas.microsoft.com/office/drawing/2014/main" id="{153455A0-B802-51EB-4881-44A60B1A86C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535725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80AA847F-C394-F0C1-2241-96C04C34AC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55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D2C67434-F448-64CD-5B1E-B5AA7CED84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8191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1" name="Picture Placeholder 35">
            <a:extLst>
              <a:ext uri="{FF2B5EF4-FFF2-40B4-BE49-F238E27FC236}">
                <a16:creationId xmlns:a16="http://schemas.microsoft.com/office/drawing/2014/main" id="{94CBFB06-E612-8812-905E-426934B978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36822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1" name="Text Placeholder 28">
            <a:extLst>
              <a:ext uri="{FF2B5EF4-FFF2-40B4-BE49-F238E27FC236}">
                <a16:creationId xmlns:a16="http://schemas.microsoft.com/office/drawing/2014/main" id="{DD83EEF1-01E9-8119-E92A-2C8F2ECB37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26627" y="3199889"/>
            <a:ext cx="2445096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054EF6A0-A8DC-0D5E-5F4D-5262727787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89290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</p:spTree>
    <p:extLst>
      <p:ext uri="{BB962C8B-B14F-4D97-AF65-F5344CB8AC3E}">
        <p14:creationId xmlns:p14="http://schemas.microsoft.com/office/powerpoint/2010/main" val="419165688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 With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A3AEB20-3B06-F9A1-EEE9-04824346C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1AA96F5-1BDF-F65A-E96A-BA5695794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BE4FD4-DCCB-144B-93C7-68382DCDAF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D181186-378B-65D0-51AA-1CAC9C642D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63" y="1436688"/>
              <a:ext cx="11018520" cy="4841133"/>
            </a:xfrm>
            <a:prstGeom prst="roundRect">
              <a:avLst>
                <a:gd name="adj" fmla="val 3926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E378FBA-7993-4EE5-34B5-03885D5AAB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325" y="1538514"/>
              <a:ext cx="10804396" cy="4637480"/>
            </a:xfrm>
            <a:prstGeom prst="roundRect">
              <a:avLst>
                <a:gd name="adj" fmla="val 3926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0B9FD821-861D-2EBD-340F-7FFC336F34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95325" y="1894793"/>
              <a:ext cx="10804396" cy="92460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9AFDBB06-056C-F43B-DA07-6F4B4DFABD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F342D02-8FC1-6829-E9E0-5E7BEEB105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5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770233AA-FCB2-B8CA-52C7-1E386A5DD6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4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C1F7DC8D-A6D5-ED89-4FD1-94C4440C7A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3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l 34_1">
              <a:extLst>
                <a:ext uri="{FF2B5EF4-FFF2-40B4-BE49-F238E27FC236}">
                  <a16:creationId xmlns:a16="http://schemas.microsoft.com/office/drawing/2014/main" id="{ED2CB4A8-98B0-1EBE-5417-11191CC88C0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951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94" name="Graphic 16" descr="Icon of a forward pointing arrow">
              <a:extLst>
                <a:ext uri="{FF2B5EF4-FFF2-40B4-BE49-F238E27FC236}">
                  <a16:creationId xmlns:a16="http://schemas.microsoft.com/office/drawing/2014/main" id="{E3968D37-1D29-99C9-3188-212955497EE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1110978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96" name="Oval 34_1">
              <a:extLst>
                <a:ext uri="{FF2B5EF4-FFF2-40B4-BE49-F238E27FC236}">
                  <a16:creationId xmlns:a16="http://schemas.microsoft.com/office/drawing/2014/main" id="{AB7F968F-BFF9-4E1D-EE5F-F121ADB8EB4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5710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97" name="Graphic 16" descr="Icon of a forward pointing arrow">
              <a:extLst>
                <a:ext uri="{FF2B5EF4-FFF2-40B4-BE49-F238E27FC236}">
                  <a16:creationId xmlns:a16="http://schemas.microsoft.com/office/drawing/2014/main" id="{C43994D0-27B1-567C-B208-2242805E3CC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5432737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02" name="Oval 34_1">
              <a:extLst>
                <a:ext uri="{FF2B5EF4-FFF2-40B4-BE49-F238E27FC236}">
                  <a16:creationId xmlns:a16="http://schemas.microsoft.com/office/drawing/2014/main" id="{03363F12-9BAF-22D1-161D-F8E174F4A0C8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94831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3" name="Graphic 16" descr="Icon of a forward pointing arrow">
              <a:extLst>
                <a:ext uri="{FF2B5EF4-FFF2-40B4-BE49-F238E27FC236}">
                  <a16:creationId xmlns:a16="http://schemas.microsoft.com/office/drawing/2014/main" id="{B1221598-A85E-F8D2-EF86-030FA59DC5C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3271858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05" name="Oval 34_1">
              <a:extLst>
                <a:ext uri="{FF2B5EF4-FFF2-40B4-BE49-F238E27FC236}">
                  <a16:creationId xmlns:a16="http://schemas.microsoft.com/office/drawing/2014/main" id="{25331CE2-100C-71D5-2655-ED622BBCB7BA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6589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6" name="Graphic 16" descr="Icon of a forward pointing arrow">
              <a:extLst>
                <a:ext uri="{FF2B5EF4-FFF2-40B4-BE49-F238E27FC236}">
                  <a16:creationId xmlns:a16="http://schemas.microsoft.com/office/drawing/2014/main" id="{65112361-974E-0D5D-C4D8-B49E2612A8A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7593616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93B8826-7E11-7D0A-C050-B8DD7D288B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85620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631B97DE-A29B-C60B-70E7-E4C477A87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17085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F03A490F-5D35-EE20-5021-69D137A5ED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77964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00CD3CC5-01BA-A149-28AD-577FA4D3D1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8843" y="1894793"/>
              <a:ext cx="0" cy="924608"/>
            </a:xfrm>
            <a:prstGeom prst="line">
              <a:avLst/>
            </a:prstGeom>
            <a:ln w="6350" cap="rnd">
              <a:solidFill>
                <a:schemeClr val="bg2"/>
              </a:solidFill>
              <a:prstDash val="solid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Oval 34_1">
              <a:extLst>
                <a:ext uri="{FF2B5EF4-FFF2-40B4-BE49-F238E27FC236}">
                  <a16:creationId xmlns:a16="http://schemas.microsoft.com/office/drawing/2014/main" id="{7F0EDB24-78C9-A63A-0C0C-3EAB402F572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77468" y="5577688"/>
              <a:ext cx="1483629" cy="40219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0" name="Graphic 16" descr="Icon of a forward pointing arrow">
              <a:extLst>
                <a:ext uri="{FF2B5EF4-FFF2-40B4-BE49-F238E27FC236}">
                  <a16:creationId xmlns:a16="http://schemas.microsoft.com/office/drawing/2014/main" id="{8E31534D-DFF5-EDDC-EBD9-F586BCA03FD0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9754495" y="5640523"/>
              <a:ext cx="274320" cy="276528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A559581-970D-F07F-7AF5-419CCB479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>
                <a:solidFill>
                  <a:srgbClr val="454142"/>
                </a:solidFill>
              </a:rPr>
              <a:t>Lorem ipsum dolor sit 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146" name="Picture Placeholder 35">
            <a:extLst>
              <a:ext uri="{FF2B5EF4-FFF2-40B4-BE49-F238E27FC236}">
                <a16:creationId xmlns:a16="http://schemas.microsoft.com/office/drawing/2014/main" id="{266DFEED-2FDF-143B-331D-CB8D8129C399}"/>
              </a:ext>
            </a:extLst>
          </p:cNvPr>
          <p:cNvSpPr>
            <a:spLocks noGrp="1"/>
          </p:cNvSpPr>
          <p:nvPr userDrawn="1">
            <p:ph type="pic" sz="quarter" idx="20" hasCustomPrompt="1"/>
          </p:nvPr>
        </p:nvSpPr>
        <p:spPr>
          <a:xfrm>
            <a:off x="86341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0F0874C-DD87-22B2-BC30-B438C28CA39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18563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82" name="Text Placeholder 28">
            <a:extLst>
              <a:ext uri="{FF2B5EF4-FFF2-40B4-BE49-F238E27FC236}">
                <a16:creationId xmlns:a16="http://schemas.microsoft.com/office/drawing/2014/main" id="{10CABBE8-2638-BAC2-E832-618C53F3FE2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15884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7" name="Picture Placeholder 35">
            <a:extLst>
              <a:ext uri="{FF2B5EF4-FFF2-40B4-BE49-F238E27FC236}">
                <a16:creationId xmlns:a16="http://schemas.microsoft.com/office/drawing/2014/main" id="{EF2A6C6A-F038-05BA-D0E8-AF00E9C23B6A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3024296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D2783A76-804D-8011-B18D-BE26AF1C7C8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979443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5AF2F96E-74DB-CD63-D225-1D6394F23F3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676764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8" name="Picture Placeholder 35">
            <a:extLst>
              <a:ext uri="{FF2B5EF4-FFF2-40B4-BE49-F238E27FC236}">
                <a16:creationId xmlns:a16="http://schemas.microsoft.com/office/drawing/2014/main" id="{B3A4636C-8D5A-BCDE-7ADB-7CD4BF4BC07A}"/>
              </a:ext>
            </a:extLst>
          </p:cNvPr>
          <p:cNvSpPr>
            <a:spLocks noGrp="1"/>
          </p:cNvSpPr>
          <p:nvPr userDrawn="1">
            <p:ph type="pic" sz="quarter" idx="22" hasCustomPrompt="1"/>
          </p:nvPr>
        </p:nvSpPr>
        <p:spPr>
          <a:xfrm>
            <a:off x="5185175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80AA847F-C394-F0C1-2241-96C04C34AC7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140322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D2C67434-F448-64CD-5B1E-B5AA7CED848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837643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49" name="Picture Placeholder 35">
            <a:extLst>
              <a:ext uri="{FF2B5EF4-FFF2-40B4-BE49-F238E27FC236}">
                <a16:creationId xmlns:a16="http://schemas.microsoft.com/office/drawing/2014/main" id="{8C5FF639-A8E6-F4C2-CFB1-1C00EA8DC7CE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7346055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1" name="Text Placeholder 28">
            <a:extLst>
              <a:ext uri="{FF2B5EF4-FFF2-40B4-BE49-F238E27FC236}">
                <a16:creationId xmlns:a16="http://schemas.microsoft.com/office/drawing/2014/main" id="{DD83EEF1-01E9-8119-E92A-2C8F2ECB370B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301201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118" name="Text Placeholder 28">
            <a:extLst>
              <a:ext uri="{FF2B5EF4-FFF2-40B4-BE49-F238E27FC236}">
                <a16:creationId xmlns:a16="http://schemas.microsoft.com/office/drawing/2014/main" id="{15F76C39-C98A-4B20-67C6-6F4615B573DA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998522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  <p:sp>
        <p:nvSpPr>
          <p:cNvPr id="150" name="Picture Placeholder 35">
            <a:extLst>
              <a:ext uri="{FF2B5EF4-FFF2-40B4-BE49-F238E27FC236}">
                <a16:creationId xmlns:a16="http://schemas.microsoft.com/office/drawing/2014/main" id="{B1C3EAF9-9BBC-7AA0-5F6D-AE36881C6906}"/>
              </a:ext>
            </a:extLst>
          </p:cNvPr>
          <p:cNvSpPr>
            <a:spLocks noGrp="1"/>
          </p:cNvSpPr>
          <p:nvPr userDrawn="1">
            <p:ph type="pic" sz="quarter" idx="24" hasCustomPrompt="1"/>
          </p:nvPr>
        </p:nvSpPr>
        <p:spPr>
          <a:xfrm>
            <a:off x="9506934" y="2154473"/>
            <a:ext cx="1824698" cy="405248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17" name="Text Placeholder 28">
            <a:extLst>
              <a:ext uri="{FF2B5EF4-FFF2-40B4-BE49-F238E27FC236}">
                <a16:creationId xmlns:a16="http://schemas.microsoft.com/office/drawing/2014/main" id="{C26EEDAE-6293-5D8C-29C3-DA0425B152C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462080" y="3199889"/>
            <a:ext cx="1914405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054EF6A0-A8DC-0D5E-5F4D-52627277871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159401" y="5671065"/>
            <a:ext cx="824037" cy="215444"/>
          </a:xfrm>
        </p:spPr>
        <p:txBody>
          <a:bodyPr lIns="0" tIns="0" rIns="0" bIns="0"/>
          <a:lstStyle>
            <a:lvl1pPr marL="0" indent="0" algn="l">
              <a:buNone/>
              <a:defRPr sz="1400" u="sng">
                <a:solidFill>
                  <a:srgbClr val="1C628B"/>
                </a:solidFill>
                <a:latin typeface="+mj-lt"/>
              </a:defRPr>
            </a:lvl1pPr>
          </a:lstStyle>
          <a:p>
            <a:pPr lvl="0"/>
            <a:r>
              <a:rPr lang="en-US"/>
              <a:t>See more</a:t>
            </a:r>
          </a:p>
        </p:txBody>
      </p:sp>
    </p:spTree>
    <p:extLst>
      <p:ext uri="{BB962C8B-B14F-4D97-AF65-F5344CB8AC3E}">
        <p14:creationId xmlns:p14="http://schemas.microsoft.com/office/powerpoint/2010/main" val="162550657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46C996C-EE31-6DDE-0311-14BE23B5F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832" y="1436688"/>
            <a:ext cx="12221496" cy="5421312"/>
            <a:chOff x="-9832" y="1436688"/>
            <a:chExt cx="12221496" cy="5421312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8033685-E0A8-2074-E605-6C3FEB0820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FBD5C9D-8F90-698B-C906-3CF91D371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832" y="1436688"/>
              <a:ext cx="12221496" cy="4841133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0F8AC82-6D22-0F68-8B35-E0F7B5203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538514"/>
              <a:ext cx="12192000" cy="463748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8FBFC72-FE0A-867F-5B01-381258BA52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2391723"/>
              <a:ext cx="12192000" cy="0"/>
            </a:xfrm>
            <a:prstGeom prst="line">
              <a:avLst/>
            </a:prstGeom>
            <a:ln w="57150">
              <a:gradFill flip="none" rotWithShape="1">
                <a:gsLst>
                  <a:gs pos="0">
                    <a:srgbClr val="B5D7EC"/>
                  </a:gs>
                  <a:gs pos="100000">
                    <a:srgbClr val="57B9C5"/>
                  </a:gs>
                </a:gsLst>
                <a:lin ang="0" scaled="1"/>
                <a:tileRect/>
              </a:gradFill>
              <a:headEnd type="none"/>
              <a:tailEnd type="none"/>
            </a:ln>
            <a:effectLst>
              <a:outerShdw blurRad="50800" dist="38100" dir="2700000" algn="tl" rotWithShape="0">
                <a:srgbClr val="CFCBBB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34_1">
              <a:extLst>
                <a:ext uri="{FF2B5EF4-FFF2-40B4-BE49-F238E27FC236}">
                  <a16:creationId xmlns:a16="http://schemas.microsoft.com/office/drawing/2014/main" id="{E03DFB26-0834-85B7-6E0B-CEE43D59C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8377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018E7340-EDB0-3940-FA6A-620E65A05B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816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3" name="Oval 34_1">
              <a:extLst>
                <a:ext uri="{FF2B5EF4-FFF2-40B4-BE49-F238E27FC236}">
                  <a16:creationId xmlns:a16="http://schemas.microsoft.com/office/drawing/2014/main" id="{6D60BEFE-5287-46A4-A3FE-2E1CDB4213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255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B5B755F-1F23-CFA1-D05F-5720C98716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019717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ED37B9-A0F3-DF2F-74FC-30B9981DB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75328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C9514E4-4D97-9DD6-9E46-1FC29CAEF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B38686-8F02-1A26-32BA-09C64EE9C4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ACC12E5-21FF-1BFE-F2D2-8D5365A83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32652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753221A-E9B0-B89B-CAAB-C1F6E7528B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77042" y="3199889"/>
            <a:ext cx="3329741" cy="1231106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911408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8DBDCA3-1755-F009-E430-C8F3A5D98B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832" y="1436688"/>
            <a:ext cx="12221496" cy="5421312"/>
            <a:chOff x="-9832" y="1436688"/>
            <a:chExt cx="12221496" cy="5421312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8033685-E0A8-2074-E605-6C3FEB0820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FBD5C9D-8F90-698B-C906-3CF91D371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832" y="1436688"/>
              <a:ext cx="12221496" cy="4841133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0F8AC82-6D22-0F68-8B35-E0F7B5203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538514"/>
              <a:ext cx="12192000" cy="463748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8FBFC72-FE0A-867F-5B01-381258BA52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2391723"/>
              <a:ext cx="12192000" cy="0"/>
            </a:xfrm>
            <a:prstGeom prst="line">
              <a:avLst/>
            </a:prstGeom>
            <a:ln w="57150">
              <a:gradFill flip="none" rotWithShape="1">
                <a:gsLst>
                  <a:gs pos="0">
                    <a:srgbClr val="B5D7EC"/>
                  </a:gs>
                  <a:gs pos="100000">
                    <a:srgbClr val="57B9C5"/>
                  </a:gs>
                </a:gsLst>
                <a:lin ang="0" scaled="1"/>
                <a:tileRect/>
              </a:gradFill>
              <a:headEnd type="none"/>
              <a:tailEnd type="none"/>
            </a:ln>
            <a:effectLst>
              <a:outerShdw blurRad="50800" dist="38100" dir="2700000" algn="tl" rotWithShape="0">
                <a:srgbClr val="CFCBBB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34_1">
              <a:extLst>
                <a:ext uri="{FF2B5EF4-FFF2-40B4-BE49-F238E27FC236}">
                  <a16:creationId xmlns:a16="http://schemas.microsoft.com/office/drawing/2014/main" id="{E03DFB26-0834-85B7-6E0B-CEE43D59C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2296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018E7340-EDB0-3940-FA6A-620E65A05B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9542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3" name="Oval 34_1">
              <a:extLst>
                <a:ext uri="{FF2B5EF4-FFF2-40B4-BE49-F238E27FC236}">
                  <a16:creationId xmlns:a16="http://schemas.microsoft.com/office/drawing/2014/main" id="{6D60BEFE-5287-46A4-A3FE-2E1CDB4213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788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B5B755F-1F23-CFA1-D05F-5720C98716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240278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ED37B9-A0F3-DF2F-74FC-30B9981DB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7524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2EC1888-5B75-E1B1-5D10-B341386289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54770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34_1">
              <a:extLst>
                <a:ext uri="{FF2B5EF4-FFF2-40B4-BE49-F238E27FC236}">
                  <a16:creationId xmlns:a16="http://schemas.microsoft.com/office/drawing/2014/main" id="{9D22A76C-D26D-96DB-F63B-4C04B167AF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14032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C9514E4-4D97-9DD6-9E46-1FC29CAEF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B38686-8F02-1A26-32BA-09C64EE9C4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ACC12E5-21FF-1BFE-F2D2-8D5365A83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45509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753221A-E9B0-B89B-CAAB-C1F6E7528B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2755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8B5E0DB-CDD8-0FE0-0B67-CFAC7B6D24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59999" y="3199888"/>
            <a:ext cx="2446784" cy="1384995"/>
          </a:xfrm>
        </p:spPr>
        <p:txBody>
          <a:bodyPr lIns="0" tIns="0" rIns="0" bIns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5407992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ED5E79E-ED46-7136-75B6-E56C92149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9832" y="1436688"/>
            <a:ext cx="12221496" cy="5421312"/>
            <a:chOff x="-9832" y="1436688"/>
            <a:chExt cx="12221496" cy="5421312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8033685-E0A8-2074-E605-6C3FEB0820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66" t="61909" b="1"/>
            <a:stretch/>
          </p:blipFill>
          <p:spPr>
            <a:xfrm>
              <a:off x="0" y="3239821"/>
              <a:ext cx="12192000" cy="3618179"/>
            </a:xfrm>
            <a:prstGeom prst="rect">
              <a:avLst/>
            </a:prstGeom>
          </p:spPr>
        </p:pic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FBD5C9D-8F90-698B-C906-3CF91D371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832" y="1436688"/>
              <a:ext cx="12221496" cy="4841133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0F8AC82-6D22-0F68-8B35-E0F7B5203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538514"/>
              <a:ext cx="12192000" cy="4637480"/>
            </a:xfrm>
            <a:prstGeom prst="roundRect">
              <a:avLst>
                <a:gd name="adj" fmla="val 0"/>
              </a:avLst>
            </a:prstGeom>
            <a:solidFill>
              <a:schemeClr val="bg2"/>
            </a:soli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rgbClr val="F4F3F5">
                  <a:lumMod val="75000"/>
                  <a:alpha val="84000"/>
                </a:srgbClr>
              </a:outerShdw>
            </a:effectLst>
          </p:spPr>
          <p:txBody>
            <a:bodyPr rot="0" spcFirstLastPara="0" vertOverflow="overflow" horzOverflow="overflow" vert="horz" wrap="square" lIns="91440" tIns="1527048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cs typeface="Segoe Sans Display" pitchFamily="2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8FBFC72-FE0A-867F-5B01-381258BA52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2391723"/>
              <a:ext cx="12192000" cy="0"/>
            </a:xfrm>
            <a:prstGeom prst="line">
              <a:avLst/>
            </a:prstGeom>
            <a:ln w="57150">
              <a:gradFill flip="none" rotWithShape="1">
                <a:gsLst>
                  <a:gs pos="0">
                    <a:srgbClr val="B5D7EC"/>
                  </a:gs>
                  <a:gs pos="100000">
                    <a:srgbClr val="57B9C5"/>
                  </a:gs>
                </a:gsLst>
                <a:lin ang="0" scaled="1"/>
                <a:tileRect/>
              </a:gradFill>
              <a:headEnd type="none"/>
              <a:tailEnd type="none"/>
            </a:ln>
            <a:effectLst>
              <a:outerShdw blurRad="50800" dist="38100" dir="2700000" algn="tl" rotWithShape="0">
                <a:srgbClr val="CFCBBB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34_1">
              <a:extLst>
                <a:ext uri="{FF2B5EF4-FFF2-40B4-BE49-F238E27FC236}">
                  <a16:creationId xmlns:a16="http://schemas.microsoft.com/office/drawing/2014/main" id="{E03DFB26-0834-85B7-6E0B-CEE43D59C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9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2" name="Oval 34_1">
              <a:extLst>
                <a:ext uri="{FF2B5EF4-FFF2-40B4-BE49-F238E27FC236}">
                  <a16:creationId xmlns:a16="http://schemas.microsoft.com/office/drawing/2014/main" id="{018E7340-EDB0-3940-FA6A-620E65A05B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9180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63" name="Oval 34_1">
              <a:extLst>
                <a:ext uri="{FF2B5EF4-FFF2-40B4-BE49-F238E27FC236}">
                  <a16:creationId xmlns:a16="http://schemas.microsoft.com/office/drawing/2014/main" id="{6D60BEFE-5287-46A4-A3FE-2E1CDB4213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8166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B5B755F-1F23-CFA1-D05F-5720C98716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64046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ED37B9-A0F3-DF2F-74FC-30B9981DB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53032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2EC1888-5B75-E1B1-5D10-B341386289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242018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34_1">
              <a:extLst>
                <a:ext uri="{FF2B5EF4-FFF2-40B4-BE49-F238E27FC236}">
                  <a16:creationId xmlns:a16="http://schemas.microsoft.com/office/drawing/2014/main" id="{9D22A76C-D26D-96DB-F63B-4C04B167AF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7152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sp>
          <p:nvSpPr>
            <p:cNvPr id="30" name="Oval 34_1">
              <a:extLst>
                <a:ext uri="{FF2B5EF4-FFF2-40B4-BE49-F238E27FC236}">
                  <a16:creationId xmlns:a16="http://schemas.microsoft.com/office/drawing/2014/main" id="{9463EDDE-B279-0FC7-5885-895DD2EF9C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06134" y="2022364"/>
              <a:ext cx="738718" cy="738718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headEnd type="none" w="med" len="med"/>
              <a:tailEnd type="none" w="med" len="med"/>
            </a:ln>
            <a:effectLst>
              <a:innerShdw blurRad="139700" dist="50800" dir="13500000">
                <a:schemeClr val="bg1">
                  <a:lumMod val="65000"/>
                  <a:alpha val="40000"/>
                </a:schemeClr>
              </a:inn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rgbClr val="FFFFFF"/>
                </a:solidFill>
                <a:latin typeface="Segoe UI"/>
                <a:cs typeface="Segoe UI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FE824D8-9BE0-16B0-3EEE-4C939FC4E6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31004" y="3199889"/>
              <a:ext cx="0" cy="2779997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7C9514E4-4D97-9DD6-9E46-1FC29CAEF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B38686-8F02-1A26-32BA-09C64EE9C4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ACC12E5-21FF-1BFE-F2D2-8D5365A83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7249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753221A-E9B0-B89B-CAAB-C1F6E7528B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66235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8B5E0DB-CDD8-0FE0-0B67-CFAC7B6D24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5221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9EB0181-84E6-CDCF-36C1-9A87981E65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44203" y="3199888"/>
            <a:ext cx="1862580" cy="1477328"/>
          </a:xfrm>
        </p:spPr>
        <p:txBody>
          <a:bodyPr lIns="0" tIns="0" rIns="0" bIns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83215804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8017CF9-8D63-B6A6-2572-4BCD1A3504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E738DB2-363C-B74C-F640-4AB2956C7B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DDB2926D-0246-88D9-97EA-8F29FF528F3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900B17AF-0AE6-4EC5-61A2-C125C452B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B9C7F5F-F35B-9EE1-A58E-55C47992DF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3734130" y="1925479"/>
              <a:ext cx="462355" cy="3266472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31750" cap="flat">
              <a:solidFill>
                <a:schemeClr val="bg2"/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0" name="Rectangle: Rounded Corners 36">
              <a:extLst>
                <a:ext uri="{FF2B5EF4-FFF2-40B4-BE49-F238E27FC236}">
                  <a16:creationId xmlns:a16="http://schemas.microsoft.com/office/drawing/2014/main" id="{FD0F4B89-F4A5-79B1-1D22-E564EB529E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588963" y="1765299"/>
              <a:ext cx="3145167" cy="3586831"/>
            </a:xfrm>
            <a:prstGeom prst="roundRect">
              <a:avLst>
                <a:gd name="adj" fmla="val 3578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  <p:sp>
          <p:nvSpPr>
            <p:cNvPr id="11" name="Rounded Rectangle 21">
              <a:extLst>
                <a:ext uri="{FF2B5EF4-FFF2-40B4-BE49-F238E27FC236}">
                  <a16:creationId xmlns:a16="http://schemas.microsoft.com/office/drawing/2014/main" id="{68ECE701-0FD7-BFB0-67DC-7F7540451E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4196486" y="1765299"/>
              <a:ext cx="7409727" cy="3586831"/>
            </a:xfrm>
            <a:prstGeom prst="roundRect">
              <a:avLst>
                <a:gd name="adj" fmla="val 394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413B1B5-900A-4ABA-DFB9-219C2BE7D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45171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070A1E7-2211-84E8-E2A0-F7AF90411B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50DA670-FF71-8D2F-2E55-EC96E31B6D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75693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95320803-AD6C-B766-EE53-41AB4661833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75693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AAFADB1F-176C-478C-E033-1653DE65B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93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7A9A2D5-E08B-B0D6-B6C2-D27589820D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8263" y="1685194"/>
              <a:ext cx="11018520" cy="4583844"/>
            </a:xfrm>
            <a:prstGeom prst="roundRect">
              <a:avLst>
                <a:gd name="adj" fmla="val 1870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lgDash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7" name="Title 28">
            <a:extLst>
              <a:ext uri="{FF2B5EF4-FFF2-40B4-BE49-F238E27FC236}">
                <a16:creationId xmlns:a16="http://schemas.microsoft.com/office/drawing/2014/main" id="{D588AA19-C94D-43DC-E34A-A343E7137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454142"/>
                </a:solidFill>
              </a:rPr>
              <a:t>Lorem ipsum dolor sit </a:t>
            </a:r>
            <a:r>
              <a:rPr lang="en-US" err="1">
                <a:solidFill>
                  <a:srgbClr val="454142"/>
                </a:solidFill>
              </a:rPr>
              <a:t>amet</a:t>
            </a:r>
            <a:endParaRPr lang="en-US">
              <a:solidFill>
                <a:srgbClr val="45414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403423-7803-ECBC-D072-5D496A9D87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3" y="1098807"/>
            <a:ext cx="11017250" cy="276999"/>
          </a:xfr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7062394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With Graphic">
    <p:bg>
      <p:bgPr>
        <a:solidFill>
          <a:srgbClr val="F6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CAD27F9-AA52-0ED7-2954-86FF003DD3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56F5E8C-FBBF-F670-D420-F6E8B65511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8A5465-4B37-01D6-4D65-7F2E2A4E0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DA8EF61-21E6-26C4-3B76-2BFC27121A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9" name="Rectangle: Top Corners Rounded 32">
            <a:extLst>
              <a:ext uri="{FF2B5EF4-FFF2-40B4-BE49-F238E27FC236}">
                <a16:creationId xmlns:a16="http://schemas.microsoft.com/office/drawing/2014/main" id="{EA13B5A3-ED23-5ACB-0E05-F77F207CC3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261619" y="445706"/>
            <a:ext cx="407205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E92FC8F-FD5A-7900-4DA8-C64009D597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52537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92CDC-4C5B-32A6-814D-53ADFD70EE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3471902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0D4C7572-BD60-BDB6-3A1A-0EAE35644B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253968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88F296-C8BB-42B9-CBF3-7369A8B66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380240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5326A88-2097-5094-2227-E3774B7D9F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06512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94CB96E-605E-5DAD-1236-30136D2A66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712839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79A2A44C-3737-97CF-D8EE-6D6B02EE8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86443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7818F2F-9034-8F3D-31C8-DFD6604DF5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05081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C403393-B966-EB59-4601-78887B05709C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22" name="Picture Placeholder 3">
              <a:extLst>
                <a:ext uri="{FF2B5EF4-FFF2-40B4-BE49-F238E27FC236}">
                  <a16:creationId xmlns:a16="http://schemas.microsoft.com/office/drawing/2014/main" id="{5DE72A72-B05F-BE2F-6724-26D6DE02E2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23" name="Rectangle: Rounded Corners 36">
              <a:extLst>
                <a:ext uri="{FF2B5EF4-FFF2-40B4-BE49-F238E27FC236}">
                  <a16:creationId xmlns:a16="http://schemas.microsoft.com/office/drawing/2014/main" id="{DC650EED-7241-DEE5-43EE-C2EDC6A010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24" name="Rectangle: Top Corners Rounded 6">
              <a:extLst>
                <a:ext uri="{FF2B5EF4-FFF2-40B4-BE49-F238E27FC236}">
                  <a16:creationId xmlns:a16="http://schemas.microsoft.com/office/drawing/2014/main" id="{9C5838B8-BEF5-9782-FAE6-2EB7239DDE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004BF560-0A91-2559-E643-3A6341705CC7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7EC74E4-C1EF-8304-595B-7E2596BBEB7F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8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9ECF2BE3-7A62-6F20-922D-240417E328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9" name="Graphic 16">
              <a:hlinkClick r:id="rId6"/>
              <a:extLst>
                <a:ext uri="{FF2B5EF4-FFF2-40B4-BE49-F238E27FC236}">
                  <a16:creationId xmlns:a16="http://schemas.microsoft.com/office/drawing/2014/main" id="{E9A88192-2983-BD9C-1E52-B0EA0F4560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48BF2612-793F-E943-EEE9-492074328D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38558FD7-AFA4-C271-FBC2-9ED426AE91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A681479-7ECE-D562-180D-4E9C9DEBFF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6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14528014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4487D11-2ECE-85B1-EC88-0F6BA75EA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483F80E8-0561-9982-DB00-79AAF7F9EE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flipV="1">
              <a:off x="5291174" y="2567676"/>
              <a:ext cx="6900826" cy="4290321"/>
            </a:xfrm>
            <a:prstGeom prst="rect">
              <a:avLst/>
            </a:prstGeom>
          </p:spPr>
        </p:pic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F0781E78-8CDC-5019-D09E-8447477865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DA8A5465-4B37-01D6-4D65-7F2E2A4E0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0A404E1-61F1-7AF3-0C7D-ECCFB49BB6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15143" y="4851400"/>
            <a:ext cx="11164888" cy="1417638"/>
          </a:xfrm>
          <a:prstGeom prst="roundRect">
            <a:avLst>
              <a:gd name="adj" fmla="val 8067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18900000" scaled="1"/>
            <a:tileRect/>
          </a:gradFill>
          <a:ln w="28575">
            <a:solidFill>
              <a:schemeClr val="bg1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CCC9786-CEEB-FD12-E7CB-054357D659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588962" y="1436688"/>
            <a:ext cx="11017250" cy="3709595"/>
          </a:xfrm>
          <a:prstGeom prst="roundRect">
            <a:avLst>
              <a:gd name="adj" fmla="val 2853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kern="0"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20882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20F022DB-D703-EC79-F97F-936F637F66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3687" y="0"/>
            <a:ext cx="11509459" cy="6561438"/>
            <a:chOff x="293687" y="0"/>
            <a:chExt cx="11509459" cy="6561438"/>
          </a:xfrm>
        </p:grpSpPr>
        <p:sp>
          <p:nvSpPr>
            <p:cNvPr id="3" name="Rectangle: Top Corners Rounded 5">
              <a:extLst>
                <a:ext uri="{FF2B5EF4-FFF2-40B4-BE49-F238E27FC236}">
                  <a16:creationId xmlns:a16="http://schemas.microsoft.com/office/drawing/2014/main" id="{25176C7D-8DA6-C9F3-6B85-61090A915A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293687" y="0"/>
              <a:ext cx="4062413" cy="6561438"/>
            </a:xfrm>
            <a:prstGeom prst="round2SameRect">
              <a:avLst>
                <a:gd name="adj1" fmla="val 0"/>
                <a:gd name="adj2" fmla="val 4714"/>
              </a:avLst>
            </a:prstGeom>
            <a:gradFill flip="none" rotWithShape="1">
              <a:gsLst>
                <a:gs pos="32000">
                  <a:schemeClr val="bg2"/>
                </a:gs>
                <a:gs pos="100000">
                  <a:schemeClr val="bg2">
                    <a:lumMod val="95000"/>
                  </a:schemeClr>
                </a:gs>
              </a:gsLst>
              <a:lin ang="135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chemeClr val="bg1">
                  <a:lumMod val="50000"/>
                </a:schemeClr>
              </a:outerShdw>
            </a:effectLst>
          </p:spPr>
          <p:txBody>
            <a:bodyPr rot="0" spcFirstLastPara="0" vertOverflow="overflow" horzOverflow="overflow" vert="horz" wrap="square" lIns="0" tIns="457200" rIns="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kern="0">
                <a:solidFill>
                  <a:srgbClr val="000000"/>
                </a:solidFill>
                <a:latin typeface="Segoe Sans Small" pitchFamily="2" charset="0"/>
                <a:cs typeface="Segoe Sans Small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8E33276-5D08-D85D-B656-615C0089F5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293687" y="1345023"/>
              <a:ext cx="3300317" cy="152167"/>
              <a:chOff x="353635" y="4046193"/>
              <a:chExt cx="3300317" cy="15216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91B839CF-4C95-EAB5-7D2B-CA763278A1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53635" y="4122276"/>
                <a:ext cx="2703004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A672B4-4B84-04AC-3617-D1EB1361C7D1}"/>
                  </a:ext>
                </a:extLst>
              </p:cNvPr>
              <p:cNvGrpSpPr/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55B39D24-0E3C-B8FD-A29D-53F46298B5B8}"/>
                    </a:ext>
                  </a:extLst>
                </p:cNvPr>
                <p:cNvSpPr/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09D23AAD-188D-515A-B7B8-750FBAE0E9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16F2EE8A-B9E9-ED2C-F118-EAEF32C968F1}"/>
                    </a:ext>
                  </a:extLst>
                </p:cNvPr>
                <p:cNvSpPr/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8EC8E9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402716-7F38-D62A-A81B-4445CE2849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1077800" y="5191231"/>
              <a:ext cx="415932" cy="1403132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3ADAC97-67AC-E4A0-61BE-587B053DF4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74721" y="5080365"/>
              <a:ext cx="0" cy="1327149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9BAC5EA-F96B-B57A-A9D1-BDFA815A08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9690" y="5080365"/>
              <a:ext cx="0" cy="1327149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Graphic 16" descr="Icon of a forward pointing arrow">
              <a:hlinkClick r:id="rId2"/>
              <a:extLst>
                <a:ext uri="{FF2B5EF4-FFF2-40B4-BE49-F238E27FC236}">
                  <a16:creationId xmlns:a16="http://schemas.microsoft.com/office/drawing/2014/main" id="{24E7F838-E391-99C2-390B-D1F732B80C6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647320" y="5768797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0BE2128-91CA-F36C-FC8D-77BA93EFA62D}"/>
                </a:ext>
              </a:extLst>
            </p:cNvPr>
            <p:cNvPicPr>
              <a:picLocks/>
            </p:cNvPicPr>
            <p:nvPr userDrawn="1"/>
          </p:nvPicPr>
          <p:blipFill>
            <a:blip r:embed="rId3">
              <a:alphaModFix amt="4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89263" y="6397455"/>
              <a:ext cx="7213883" cy="163983"/>
            </a:xfrm>
            <a:prstGeom prst="rect">
              <a:avLst/>
            </a:prstGeom>
          </p:spPr>
        </p:pic>
      </p:grpSp>
      <p:sp>
        <p:nvSpPr>
          <p:cNvPr id="26" name="Title 25">
            <a:extLst>
              <a:ext uri="{FF2B5EF4-FFF2-40B4-BE49-F238E27FC236}">
                <a16:creationId xmlns:a16="http://schemas.microsoft.com/office/drawing/2014/main" id="{8D242A61-7B69-4E76-E485-2576E9D1B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2616200"/>
            <a:ext cx="3198813" cy="166199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DE69DB48-AF41-DFE2-4441-A11FEB38D4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100" y="484481"/>
            <a:ext cx="2412856" cy="516759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latin typeface="+mj-lt"/>
              </a:defRPr>
            </a:lvl1pPr>
          </a:lstStyle>
          <a:p>
            <a:r>
              <a:rPr lang="en-IN"/>
              <a:t>Logo</a:t>
            </a:r>
            <a:endParaRPr lang="en-US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94B11F76-CB40-F446-693F-95D5DA15E4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4347" y="5795847"/>
            <a:ext cx="880049" cy="18466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 u="sng">
                <a:solidFill>
                  <a:srgbClr val="1C628B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Read mor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A5902F29-6EE4-F7C1-46C1-9FB7CD1C0C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56100" y="3"/>
            <a:ext cx="7835900" cy="3270427"/>
          </a:xfrm>
          <a:custGeom>
            <a:avLst/>
            <a:gdLst>
              <a:gd name="connsiteX0" fmla="*/ 0 w 7835900"/>
              <a:gd name="connsiteY0" fmla="*/ 0 h 3270427"/>
              <a:gd name="connsiteX1" fmla="*/ 7835900 w 7835900"/>
              <a:gd name="connsiteY1" fmla="*/ 0 h 3270427"/>
              <a:gd name="connsiteX2" fmla="*/ 7835900 w 7835900"/>
              <a:gd name="connsiteY2" fmla="*/ 3270427 h 3270427"/>
              <a:gd name="connsiteX3" fmla="*/ 1030310 w 7835900"/>
              <a:gd name="connsiteY3" fmla="*/ 3270427 h 3270427"/>
              <a:gd name="connsiteX4" fmla="*/ 1023844 w 7835900"/>
              <a:gd name="connsiteY4" fmla="*/ 3206279 h 3270427"/>
              <a:gd name="connsiteX5" fmla="*/ 661988 w 7835900"/>
              <a:gd name="connsiteY5" fmla="*/ 2911358 h 3270427"/>
              <a:gd name="connsiteX6" fmla="*/ 300133 w 7835900"/>
              <a:gd name="connsiteY6" fmla="*/ 3206279 h 3270427"/>
              <a:gd name="connsiteX7" fmla="*/ 293667 w 7835900"/>
              <a:gd name="connsiteY7" fmla="*/ 3270427 h 3270427"/>
              <a:gd name="connsiteX8" fmla="*/ 0 w 7835900"/>
              <a:gd name="connsiteY8" fmla="*/ 3270427 h 3270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35900" h="3270427">
                <a:moveTo>
                  <a:pt x="0" y="0"/>
                </a:moveTo>
                <a:lnTo>
                  <a:pt x="7835900" y="0"/>
                </a:lnTo>
                <a:lnTo>
                  <a:pt x="7835900" y="3270427"/>
                </a:lnTo>
                <a:lnTo>
                  <a:pt x="1030310" y="3270427"/>
                </a:lnTo>
                <a:lnTo>
                  <a:pt x="1023844" y="3206279"/>
                </a:lnTo>
                <a:cubicBezTo>
                  <a:pt x="989402" y="3037968"/>
                  <a:pt x="840481" y="2911358"/>
                  <a:pt x="661988" y="2911358"/>
                </a:cubicBezTo>
                <a:cubicBezTo>
                  <a:pt x="483496" y="2911358"/>
                  <a:pt x="334575" y="3037968"/>
                  <a:pt x="300133" y="3206279"/>
                </a:cubicBezTo>
                <a:lnTo>
                  <a:pt x="293667" y="3270427"/>
                </a:lnTo>
                <a:lnTo>
                  <a:pt x="0" y="327042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5AFFD4E-6469-FE74-13DC-B76F811867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6100" y="3280719"/>
            <a:ext cx="7835900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rgbClr val="57B9C5"/>
                </a:gs>
              </a:gsLst>
              <a:lin ang="0" scaled="1"/>
              <a:tileRect/>
            </a:gradFill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34_1">
            <a:extLst>
              <a:ext uri="{FF2B5EF4-FFF2-40B4-BE49-F238E27FC236}">
                <a16:creationId xmlns:a16="http://schemas.microsoft.com/office/drawing/2014/main" id="{49C38EB2-7856-F0CF-45F7-6852FDD95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4648729" y="2911360"/>
            <a:ext cx="738718" cy="738718"/>
          </a:xfrm>
          <a:prstGeom prst="ellipse">
            <a:avLst/>
          </a:prstGeom>
          <a:solidFill>
            <a:schemeClr val="bg2"/>
          </a:solidFill>
          <a:ln w="25400" cap="flat">
            <a:noFill/>
            <a:prstDash val="solid"/>
            <a:miter/>
          </a:ln>
          <a:effectLst>
            <a:outerShdw blurRad="190500" dist="114300" dir="5400000" sx="96000" sy="96000" algn="t" rotWithShape="0">
              <a:schemeClr val="bg1">
                <a:lumMod val="65000"/>
                <a:alpha val="48000"/>
              </a:scheme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A5003263-D2B0-C545-9DC0-A1B385362A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8729" y="3807355"/>
            <a:ext cx="6959073" cy="93871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 i="1">
                <a:solidFill>
                  <a:schemeClr val="tx1"/>
                </a:solidFill>
              </a:defRPr>
            </a:lvl1pPr>
            <a:lvl2pPr marL="228600" indent="0" algn="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  <a:p>
            <a:pPr lvl="1"/>
            <a:r>
              <a:rPr lang="en-US"/>
              <a:t>— 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FE35E6D3-10C1-214D-0980-9F9405DB16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48729" y="5080365"/>
            <a:ext cx="1951251" cy="86946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hallenge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B40E3E7-136F-7BD8-CAB9-67A964DB4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40" y="5080365"/>
            <a:ext cx="1951251" cy="86946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Solution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C4761A2A-35E5-113F-41CB-21E44A939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56551" y="5080365"/>
            <a:ext cx="1951251" cy="86946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Result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51307677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r Slide Withou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C942705-DC45-1FDE-D48E-49A3E3BA79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3687" y="0"/>
            <a:ext cx="11509459" cy="6561438"/>
            <a:chOff x="293687" y="0"/>
            <a:chExt cx="11509459" cy="6561438"/>
          </a:xfrm>
        </p:grpSpPr>
        <p:sp>
          <p:nvSpPr>
            <p:cNvPr id="3" name="Rectangle: Top Corners Rounded 5">
              <a:extLst>
                <a:ext uri="{FF2B5EF4-FFF2-40B4-BE49-F238E27FC236}">
                  <a16:creationId xmlns:a16="http://schemas.microsoft.com/office/drawing/2014/main" id="{25176C7D-8DA6-C9F3-6B85-61090A915A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293687" y="0"/>
              <a:ext cx="4062413" cy="6561438"/>
            </a:xfrm>
            <a:prstGeom prst="round2SameRect">
              <a:avLst>
                <a:gd name="adj1" fmla="val 0"/>
                <a:gd name="adj2" fmla="val 4714"/>
              </a:avLst>
            </a:prstGeom>
            <a:gradFill flip="none" rotWithShape="1">
              <a:gsLst>
                <a:gs pos="32000">
                  <a:schemeClr val="bg2"/>
                </a:gs>
                <a:gs pos="100000">
                  <a:schemeClr val="bg2">
                    <a:lumMod val="95000"/>
                  </a:schemeClr>
                </a:gs>
              </a:gsLst>
              <a:lin ang="135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chemeClr val="bg1">
                  <a:lumMod val="50000"/>
                </a:schemeClr>
              </a:outerShdw>
            </a:effectLst>
          </p:spPr>
          <p:txBody>
            <a:bodyPr rot="0" spcFirstLastPara="0" vertOverflow="overflow" horzOverflow="overflow" vert="horz" wrap="square" lIns="0" tIns="457200" rIns="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 kern="0">
                <a:solidFill>
                  <a:srgbClr val="000000"/>
                </a:solidFill>
                <a:latin typeface="Segoe Sans Small" pitchFamily="2" charset="0"/>
                <a:cs typeface="Segoe Sans Small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8E33276-5D08-D85D-B656-615C0089F5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293687" y="1345023"/>
              <a:ext cx="3300317" cy="152167"/>
              <a:chOff x="353635" y="4046193"/>
              <a:chExt cx="3300317" cy="15216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91B839CF-4C95-EAB5-7D2B-CA763278A1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53635" y="4122276"/>
                <a:ext cx="2703004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A672B4-4B84-04AC-3617-D1EB1361C7D1}"/>
                  </a:ext>
                </a:extLst>
              </p:cNvPr>
              <p:cNvGrpSpPr/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55B39D24-0E3C-B8FD-A29D-53F46298B5B8}"/>
                    </a:ext>
                  </a:extLst>
                </p:cNvPr>
                <p:cNvSpPr/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09D23AAD-188D-515A-B7B8-750FBAE0E9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16F2EE8A-B9E9-ED2C-F118-EAEF32C968F1}"/>
                    </a:ext>
                  </a:extLst>
                </p:cNvPr>
                <p:cNvSpPr/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8EC8E9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402716-7F38-D62A-A81B-4445CE2849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1077800" y="5191231"/>
              <a:ext cx="415932" cy="1403132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chemeClr val="bg2">
                    <a:alpha val="17000"/>
                  </a:scheme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chemeClr val="bg1"/>
              </a:solidFill>
              <a:prstDash val="solid"/>
              <a:miter/>
            </a:ln>
            <a:effectLst>
              <a:outerShdw blurRad="127000" dist="381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3ADAC97-67AC-E4A0-61BE-587B053DF4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74721" y="3657601"/>
              <a:ext cx="0" cy="2749913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9BAC5EA-F96B-B57A-A9D1-BDFA815A08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9690" y="3657601"/>
              <a:ext cx="0" cy="2749913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Graphic 16" descr="Icon of a forward pointing arrow">
              <a:hlinkClick r:id="rId2"/>
              <a:extLst>
                <a:ext uri="{FF2B5EF4-FFF2-40B4-BE49-F238E27FC236}">
                  <a16:creationId xmlns:a16="http://schemas.microsoft.com/office/drawing/2014/main" id="{24E7F838-E391-99C2-390B-D1F732B80C6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647320" y="5768797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280A9B1-BF02-8938-C988-E1B9DA9A9836}"/>
                </a:ext>
              </a:extLst>
            </p:cNvPr>
            <p:cNvPicPr>
              <a:picLocks/>
            </p:cNvPicPr>
            <p:nvPr userDrawn="1"/>
          </p:nvPicPr>
          <p:blipFill>
            <a:blip r:embed="rId3">
              <a:alphaModFix amt="4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89263" y="6397455"/>
              <a:ext cx="7213883" cy="163983"/>
            </a:xfrm>
            <a:prstGeom prst="rect">
              <a:avLst/>
            </a:prstGeom>
          </p:spPr>
        </p:pic>
      </p:grpSp>
      <p:sp>
        <p:nvSpPr>
          <p:cNvPr id="26" name="Title 25">
            <a:extLst>
              <a:ext uri="{FF2B5EF4-FFF2-40B4-BE49-F238E27FC236}">
                <a16:creationId xmlns:a16="http://schemas.microsoft.com/office/drawing/2014/main" id="{8D242A61-7B69-4E76-E485-2576E9D1B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2616200"/>
            <a:ext cx="3198813" cy="166199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DE69DB48-AF41-DFE2-4441-A11FEB38D4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100" y="484481"/>
            <a:ext cx="2412856" cy="516759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latin typeface="+mj-lt"/>
              </a:defRPr>
            </a:lvl1pPr>
          </a:lstStyle>
          <a:p>
            <a:r>
              <a:rPr lang="en-IN"/>
              <a:t>Logo</a:t>
            </a:r>
            <a:endParaRPr lang="en-US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94B11F76-CB40-F446-693F-95D5DA15E4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4347" y="5795847"/>
            <a:ext cx="880049" cy="18466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 u="sng">
                <a:solidFill>
                  <a:srgbClr val="1C628B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Read mor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A5902F29-6EE4-F7C1-46C1-9FB7CD1C0C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56100" y="3"/>
            <a:ext cx="7835900" cy="327042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D33E086-FDF1-07B0-6B6F-3BC96881B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6100" y="3280719"/>
            <a:ext cx="7835900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rgbClr val="57B9C5"/>
                </a:gs>
              </a:gsLst>
              <a:lin ang="0" scaled="1"/>
              <a:tileRect/>
            </a:gradFill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FE35E6D3-10C1-214D-0980-9F9405DB16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48729" y="3657600"/>
            <a:ext cx="1951251" cy="243912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6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hallenge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2B40E3E7-136F-7BD8-CAB9-67A964DB4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52640" y="3657600"/>
            <a:ext cx="1951251" cy="243912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6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Solution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C4761A2A-35E5-113F-41CB-21E44A939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56551" y="3657600"/>
            <a:ext cx="1951251" cy="2439129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600" i="0">
                <a:solidFill>
                  <a:schemeClr val="accent4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Result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66082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r Slid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16B594A7-54B4-B108-65D5-C4E58AD69A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3687" y="0"/>
            <a:ext cx="11509459" cy="6561438"/>
            <a:chOff x="293687" y="0"/>
            <a:chExt cx="11509459" cy="6561438"/>
          </a:xfrm>
        </p:grpSpPr>
        <p:sp>
          <p:nvSpPr>
            <p:cNvPr id="3" name="Rectangle: Top Corners Rounded 5">
              <a:extLst>
                <a:ext uri="{FF2B5EF4-FFF2-40B4-BE49-F238E27FC236}">
                  <a16:creationId xmlns:a16="http://schemas.microsoft.com/office/drawing/2014/main" id="{25176C7D-8DA6-C9F3-6B85-61090A915A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293687" y="0"/>
              <a:ext cx="4062413" cy="6561438"/>
            </a:xfrm>
            <a:prstGeom prst="round2SameRect">
              <a:avLst>
                <a:gd name="adj1" fmla="val 0"/>
                <a:gd name="adj2" fmla="val 4714"/>
              </a:avLst>
            </a:prstGeom>
            <a:gradFill flip="none" rotWithShape="1">
              <a:gsLst>
                <a:gs pos="32000">
                  <a:schemeClr val="bg2"/>
                </a:gs>
                <a:gs pos="100000">
                  <a:schemeClr val="bg2">
                    <a:lumMod val="95000"/>
                  </a:schemeClr>
                </a:gs>
              </a:gsLst>
              <a:lin ang="13500000" scaled="1"/>
              <a:tileRect/>
            </a:gradFill>
            <a:ln w="38100" cap="flat">
              <a:noFill/>
              <a:prstDash val="solid"/>
              <a:miter/>
            </a:ln>
            <a:effectLst>
              <a:outerShdw blurRad="304800" dist="50800" dir="4440000" sx="94000" sy="94000" algn="ctr" rotWithShape="0">
                <a:schemeClr val="bg1">
                  <a:lumMod val="50000"/>
                </a:schemeClr>
              </a:outerShdw>
            </a:effectLst>
          </p:spPr>
          <p:txBody>
            <a:bodyPr rot="0" spcFirstLastPara="0" vertOverflow="overflow" horzOverflow="overflow" vert="horz" wrap="square" lIns="0" tIns="457200" rIns="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000" kern="0">
                <a:solidFill>
                  <a:srgbClr val="000000"/>
                </a:solidFill>
                <a:latin typeface="Segoe Sans Small" pitchFamily="2" charset="0"/>
                <a:cs typeface="Segoe Sans Small" pitchFamily="2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8E33276-5D08-D85D-B656-615C0089F5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293687" y="1345023"/>
              <a:ext cx="3300317" cy="152167"/>
              <a:chOff x="353635" y="4046193"/>
              <a:chExt cx="3300317" cy="15216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91B839CF-4C95-EAB5-7D2B-CA763278A1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53635" y="4122276"/>
                <a:ext cx="2703004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A672B4-4B84-04AC-3617-D1EB1361C7D1}"/>
                  </a:ext>
                </a:extLst>
              </p:cNvPr>
              <p:cNvGrpSpPr/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55B39D24-0E3C-B8FD-A29D-53F46298B5B8}"/>
                    </a:ext>
                  </a:extLst>
                </p:cNvPr>
                <p:cNvSpPr/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09D23AAD-188D-515A-B7B8-750FBAE0E9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16F2EE8A-B9E9-ED2C-F118-EAEF32C968F1}"/>
                    </a:ext>
                  </a:extLst>
                </p:cNvPr>
                <p:cNvSpPr/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8EC8E9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D402716-7F38-D62A-A81B-4445CE2849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>
            <a:xfrm rot="16200000">
              <a:off x="1077800" y="5191231"/>
              <a:ext cx="415932" cy="1403132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rgbClr val="FFFFFF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4" name="Graphic 16" descr="Icon of a forward pointing arrow">
              <a:hlinkClick r:id="rId2"/>
              <a:extLst>
                <a:ext uri="{FF2B5EF4-FFF2-40B4-BE49-F238E27FC236}">
                  <a16:creationId xmlns:a16="http://schemas.microsoft.com/office/drawing/2014/main" id="{24E7F838-E391-99C2-390B-D1F732B80C6D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/>
            </p:cNvSpPr>
            <p:nvPr userDrawn="1"/>
          </p:nvSpPr>
          <p:spPr>
            <a:xfrm>
              <a:off x="647320" y="5768797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AA060FE-9B36-952A-4121-A942A1CD5D43}"/>
                </a:ext>
              </a:extLst>
            </p:cNvPr>
            <p:cNvPicPr>
              <a:picLocks/>
            </p:cNvPicPr>
            <p:nvPr userDrawn="1"/>
          </p:nvPicPr>
          <p:blipFill>
            <a:blip r:embed="rId3">
              <a:alphaModFix amt="4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89263" y="6397455"/>
              <a:ext cx="7213883" cy="163983"/>
            </a:xfrm>
            <a:prstGeom prst="rect">
              <a:avLst/>
            </a:prstGeom>
          </p:spPr>
        </p:pic>
      </p:grpSp>
      <p:sp>
        <p:nvSpPr>
          <p:cNvPr id="26" name="Title 25">
            <a:extLst>
              <a:ext uri="{FF2B5EF4-FFF2-40B4-BE49-F238E27FC236}">
                <a16:creationId xmlns:a16="http://schemas.microsoft.com/office/drawing/2014/main" id="{8D242A61-7B69-4E76-E485-2576E9D1B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1" y="2616200"/>
            <a:ext cx="3198813" cy="166199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DE69DB48-AF41-DFE2-4441-A11FEB38D4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100" y="484481"/>
            <a:ext cx="2412856" cy="516759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latin typeface="+mj-lt"/>
              </a:defRPr>
            </a:lvl1pPr>
          </a:lstStyle>
          <a:p>
            <a:r>
              <a:rPr lang="en-IN"/>
              <a:t>Logo</a:t>
            </a:r>
            <a:endParaRPr lang="en-US"/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94B11F76-CB40-F446-693F-95D5DA15E4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4347" y="5802991"/>
            <a:ext cx="880049" cy="184666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 i="0" u="sng">
                <a:solidFill>
                  <a:srgbClr val="1C628B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5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/>
              <a:t>Read more</a:t>
            </a:r>
          </a:p>
        </p:txBody>
      </p:sp>
      <p:sp>
        <p:nvSpPr>
          <p:cNvPr id="15" name="Picture Placeholder 23">
            <a:extLst>
              <a:ext uri="{FF2B5EF4-FFF2-40B4-BE49-F238E27FC236}">
                <a16:creationId xmlns:a16="http://schemas.microsoft.com/office/drawing/2014/main" id="{D2CFEC5A-20EB-6417-B196-43563C0483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56100" y="3"/>
            <a:ext cx="7835900" cy="3270427"/>
          </a:xfrm>
          <a:custGeom>
            <a:avLst/>
            <a:gdLst>
              <a:gd name="connsiteX0" fmla="*/ 0 w 7835900"/>
              <a:gd name="connsiteY0" fmla="*/ 0 h 3270427"/>
              <a:gd name="connsiteX1" fmla="*/ 7835900 w 7835900"/>
              <a:gd name="connsiteY1" fmla="*/ 0 h 3270427"/>
              <a:gd name="connsiteX2" fmla="*/ 7835900 w 7835900"/>
              <a:gd name="connsiteY2" fmla="*/ 3270427 h 3270427"/>
              <a:gd name="connsiteX3" fmla="*/ 1030310 w 7835900"/>
              <a:gd name="connsiteY3" fmla="*/ 3270427 h 3270427"/>
              <a:gd name="connsiteX4" fmla="*/ 1023844 w 7835900"/>
              <a:gd name="connsiteY4" fmla="*/ 3206279 h 3270427"/>
              <a:gd name="connsiteX5" fmla="*/ 661988 w 7835900"/>
              <a:gd name="connsiteY5" fmla="*/ 2911358 h 3270427"/>
              <a:gd name="connsiteX6" fmla="*/ 300133 w 7835900"/>
              <a:gd name="connsiteY6" fmla="*/ 3206279 h 3270427"/>
              <a:gd name="connsiteX7" fmla="*/ 293667 w 7835900"/>
              <a:gd name="connsiteY7" fmla="*/ 3270427 h 3270427"/>
              <a:gd name="connsiteX8" fmla="*/ 0 w 7835900"/>
              <a:gd name="connsiteY8" fmla="*/ 3270427 h 3270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35900" h="3270427">
                <a:moveTo>
                  <a:pt x="0" y="0"/>
                </a:moveTo>
                <a:lnTo>
                  <a:pt x="7835900" y="0"/>
                </a:lnTo>
                <a:lnTo>
                  <a:pt x="7835900" y="3270427"/>
                </a:lnTo>
                <a:lnTo>
                  <a:pt x="1030310" y="3270427"/>
                </a:lnTo>
                <a:lnTo>
                  <a:pt x="1023844" y="3206279"/>
                </a:lnTo>
                <a:cubicBezTo>
                  <a:pt x="989402" y="3037968"/>
                  <a:pt x="840481" y="2911358"/>
                  <a:pt x="661988" y="2911358"/>
                </a:cubicBezTo>
                <a:cubicBezTo>
                  <a:pt x="483496" y="2911358"/>
                  <a:pt x="334575" y="3037968"/>
                  <a:pt x="300133" y="3206279"/>
                </a:cubicBezTo>
                <a:lnTo>
                  <a:pt x="293667" y="3270427"/>
                </a:lnTo>
                <a:lnTo>
                  <a:pt x="0" y="327042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7C2CC3-245B-72E5-8C33-8C99B215C9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6100" y="3280719"/>
            <a:ext cx="7835900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rgbClr val="57B9C5"/>
                </a:gs>
              </a:gsLst>
              <a:lin ang="0" scaled="1"/>
              <a:tileRect/>
            </a:gradFill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34_1">
            <a:extLst>
              <a:ext uri="{FF2B5EF4-FFF2-40B4-BE49-F238E27FC236}">
                <a16:creationId xmlns:a16="http://schemas.microsoft.com/office/drawing/2014/main" id="{E9FFC9D0-DE1E-FF9C-71B9-72E0690231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4648729" y="2911360"/>
            <a:ext cx="738718" cy="738718"/>
          </a:xfrm>
          <a:prstGeom prst="ellipse">
            <a:avLst/>
          </a:prstGeom>
          <a:solidFill>
            <a:schemeClr val="bg2"/>
          </a:solidFill>
          <a:ln w="25400" cap="flat">
            <a:noFill/>
            <a:prstDash val="solid"/>
            <a:miter/>
          </a:ln>
          <a:effectLst>
            <a:outerShdw blurRad="190500" dist="114300" dir="5400000" sx="96000" sy="96000" algn="t" rotWithShape="0">
              <a:schemeClr val="bg1">
                <a:lumMod val="65000"/>
                <a:alpha val="48000"/>
              </a:scheme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9486E329-5EE9-C422-9BDA-4BD2C7534E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8729" y="4099782"/>
            <a:ext cx="6959073" cy="1615827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 i="1">
                <a:solidFill>
                  <a:schemeClr val="tx1"/>
                </a:solidFill>
              </a:defRPr>
            </a:lvl1pPr>
            <a:lvl2pPr marL="228600" indent="0" algn="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eros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  <a:p>
            <a:pPr lvl="1"/>
            <a:r>
              <a:rPr lang="en-US"/>
              <a:t>— 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75341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28CF3EF-5177-2142-7A97-4F9D84777A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4903" y="1043224"/>
            <a:ext cx="4873751" cy="4874976"/>
          </a:xfrm>
          <a:custGeom>
            <a:avLst/>
            <a:gdLst>
              <a:gd name="connsiteX0" fmla="*/ 2436875 w 4873751"/>
              <a:gd name="connsiteY0" fmla="*/ 0 h 4874976"/>
              <a:gd name="connsiteX1" fmla="*/ 4873751 w 4873751"/>
              <a:gd name="connsiteY1" fmla="*/ 2437488 h 4874976"/>
              <a:gd name="connsiteX2" fmla="*/ 2436875 w 4873751"/>
              <a:gd name="connsiteY2" fmla="*/ 4874976 h 4874976"/>
              <a:gd name="connsiteX3" fmla="*/ 0 w 4873751"/>
              <a:gd name="connsiteY3" fmla="*/ 2437488 h 4874976"/>
              <a:gd name="connsiteX4" fmla="*/ 2436875 w 4873751"/>
              <a:gd name="connsiteY4" fmla="*/ 0 h 4874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73751" h="4874976">
                <a:moveTo>
                  <a:pt x="2436875" y="0"/>
                </a:moveTo>
                <a:cubicBezTo>
                  <a:pt x="3782724" y="0"/>
                  <a:pt x="4873751" y="1091301"/>
                  <a:pt x="4873751" y="2437488"/>
                </a:cubicBezTo>
                <a:cubicBezTo>
                  <a:pt x="4873751" y="3783675"/>
                  <a:pt x="3782724" y="4874976"/>
                  <a:pt x="2436875" y="4874976"/>
                </a:cubicBezTo>
                <a:cubicBezTo>
                  <a:pt x="1091027" y="4874976"/>
                  <a:pt x="0" y="3783675"/>
                  <a:pt x="0" y="2437488"/>
                </a:cubicBezTo>
                <a:cubicBezTo>
                  <a:pt x="0" y="1091301"/>
                  <a:pt x="1091027" y="0"/>
                  <a:pt x="2436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1A35A2B-24ED-9589-BDAF-7148A464C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880431"/>
            <a:ext cx="3987800" cy="7386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4800">
                <a:solidFill>
                  <a:srgbClr val="454142"/>
                </a:solidFill>
              </a:rPr>
              <a:t>Thank you.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D4639D9-274B-8505-7343-DEEB563B4B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477" y="5733533"/>
            <a:ext cx="4465077" cy="215444"/>
          </a:xfrm>
        </p:spPr>
        <p:txBody>
          <a:bodyPr>
            <a:spAutoFit/>
          </a:bodyPr>
          <a:lstStyle>
            <a:lvl1pPr marL="0" indent="0"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B1293B42-24AB-1410-09C9-81D97AA4B7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59546" y="5745526"/>
            <a:ext cx="2128947" cy="32316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© 2024 Microsoft. All rights reserved.</a:t>
            </a:r>
          </a:p>
          <a:p>
            <a:pPr lvl="0"/>
            <a:r>
              <a:rPr lang="en-US"/>
              <a:t>Some images contain public sector information </a:t>
            </a:r>
          </a:p>
          <a:p>
            <a:pPr lvl="0"/>
            <a:r>
              <a:rPr lang="en-US"/>
              <a:t>licensed under the Open Government License v3.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0A2B603-7DB3-20BB-AC77-667FC52AC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85788"/>
            <a:ext cx="12192000" cy="5715032"/>
            <a:chOff x="0" y="585788"/>
            <a:chExt cx="12192000" cy="5715032"/>
          </a:xfrm>
        </p:grpSpPr>
        <p:sp>
          <p:nvSpPr>
            <p:cNvPr id="11" name="Freeform: Shape 2">
              <a:extLst>
                <a:ext uri="{FF2B5EF4-FFF2-40B4-BE49-F238E27FC236}">
                  <a16:creationId xmlns:a16="http://schemas.microsoft.com/office/drawing/2014/main" id="{AF7C5C4E-0A9A-F628-12CE-46FD3B95E9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" y="5084956"/>
              <a:ext cx="7478457" cy="1119106"/>
            </a:xfrm>
            <a:custGeom>
              <a:avLst/>
              <a:gdLst>
                <a:gd name="connsiteX0" fmla="*/ 0 w 7478457"/>
                <a:gd name="connsiteY0" fmla="*/ 0 h 1119106"/>
                <a:gd name="connsiteX1" fmla="*/ 6506683 w 7478457"/>
                <a:gd name="connsiteY1" fmla="*/ 0 h 1119106"/>
                <a:gd name="connsiteX2" fmla="*/ 6578364 w 7478457"/>
                <a:gd name="connsiteY2" fmla="*/ 95986 h 1119106"/>
                <a:gd name="connsiteX3" fmla="*/ 7383338 w 7478457"/>
                <a:gd name="connsiteY3" fmla="*/ 771963 h 1119106"/>
                <a:gd name="connsiteX4" fmla="*/ 7478457 w 7478457"/>
                <a:gd name="connsiteY4" fmla="*/ 934001 h 1119106"/>
                <a:gd name="connsiteX5" fmla="*/ 7295634 w 7478457"/>
                <a:gd name="connsiteY5" fmla="*/ 1119106 h 1119106"/>
                <a:gd name="connsiteX6" fmla="*/ 0 w 7478457"/>
                <a:gd name="connsiteY6" fmla="*/ 1119106 h 1119106"/>
                <a:gd name="connsiteX7" fmla="*/ 0 w 7478457"/>
                <a:gd name="connsiteY7" fmla="*/ 0 h 11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78457" h="1119106">
                  <a:moveTo>
                    <a:pt x="0" y="0"/>
                  </a:moveTo>
                  <a:lnTo>
                    <a:pt x="6506683" y="0"/>
                  </a:lnTo>
                  <a:lnTo>
                    <a:pt x="6578364" y="95986"/>
                  </a:lnTo>
                  <a:cubicBezTo>
                    <a:pt x="6798839" y="371791"/>
                    <a:pt x="7072388" y="602408"/>
                    <a:pt x="7383338" y="771963"/>
                  </a:cubicBezTo>
                  <a:cubicBezTo>
                    <a:pt x="7441956" y="803902"/>
                    <a:pt x="7478457" y="866258"/>
                    <a:pt x="7478457" y="934001"/>
                  </a:cubicBezTo>
                  <a:cubicBezTo>
                    <a:pt x="7478457" y="1036408"/>
                    <a:pt x="7396393" y="1118916"/>
                    <a:pt x="7295634" y="1119106"/>
                  </a:cubicBezTo>
                  <a:lnTo>
                    <a:pt x="0" y="1119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6">
                <a:alpha val="32036"/>
              </a:srgbClr>
            </a:solidFill>
            <a:ln w="38100" cap="flat">
              <a:noFill/>
              <a:prstDash val="solid"/>
              <a:miter/>
            </a:ln>
            <a:effectLst>
              <a:outerShdw blurRad="495300" dist="685800" dir="16200000" sx="93000" sy="93000" algn="ctr" rotWithShape="0">
                <a:schemeClr val="accent6">
                  <a:alpha val="2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F7176A99-9F1A-A0BF-6C6E-1757EDBF65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9800540" y="5084956"/>
              <a:ext cx="2391460" cy="1119106"/>
            </a:xfrm>
            <a:custGeom>
              <a:avLst/>
              <a:gdLst>
                <a:gd name="connsiteX0" fmla="*/ 971821 w 2391460"/>
                <a:gd name="connsiteY0" fmla="*/ 0 h 1119106"/>
                <a:gd name="connsiteX1" fmla="*/ 2391460 w 2391460"/>
                <a:gd name="connsiteY1" fmla="*/ 0 h 1119106"/>
                <a:gd name="connsiteX2" fmla="*/ 2391460 w 2391460"/>
                <a:gd name="connsiteY2" fmla="*/ 1119106 h 1119106"/>
                <a:gd name="connsiteX3" fmla="*/ 182824 w 2391460"/>
                <a:gd name="connsiteY3" fmla="*/ 1119106 h 1119106"/>
                <a:gd name="connsiteX4" fmla="*/ 0 w 2391460"/>
                <a:gd name="connsiteY4" fmla="*/ 934001 h 1119106"/>
                <a:gd name="connsiteX5" fmla="*/ 95118 w 2391460"/>
                <a:gd name="connsiteY5" fmla="*/ 771963 h 1119106"/>
                <a:gd name="connsiteX6" fmla="*/ 900138 w 2391460"/>
                <a:gd name="connsiteY6" fmla="*/ 95986 h 1119106"/>
                <a:gd name="connsiteX7" fmla="*/ 971821 w 2391460"/>
                <a:gd name="connsiteY7" fmla="*/ 0 h 11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1460" h="1119106">
                  <a:moveTo>
                    <a:pt x="971821" y="0"/>
                  </a:moveTo>
                  <a:lnTo>
                    <a:pt x="2391460" y="0"/>
                  </a:lnTo>
                  <a:lnTo>
                    <a:pt x="2391460" y="1119106"/>
                  </a:lnTo>
                  <a:lnTo>
                    <a:pt x="182824" y="1119106"/>
                  </a:lnTo>
                  <a:cubicBezTo>
                    <a:pt x="82066" y="1118916"/>
                    <a:pt x="0" y="1036408"/>
                    <a:pt x="0" y="934001"/>
                  </a:cubicBezTo>
                  <a:cubicBezTo>
                    <a:pt x="0" y="866258"/>
                    <a:pt x="36500" y="803902"/>
                    <a:pt x="95118" y="771963"/>
                  </a:cubicBezTo>
                  <a:cubicBezTo>
                    <a:pt x="406093" y="602408"/>
                    <a:pt x="679657" y="371791"/>
                    <a:pt x="900138" y="95986"/>
                  </a:cubicBezTo>
                  <a:lnTo>
                    <a:pt x="971821" y="0"/>
                  </a:lnTo>
                  <a:close/>
                </a:path>
              </a:pathLst>
            </a:custGeom>
            <a:solidFill>
              <a:srgbClr val="D9D9D6">
                <a:alpha val="32036"/>
              </a:srgbClr>
            </a:solidFill>
            <a:ln w="38100" cap="flat">
              <a:noFill/>
              <a:prstDash val="solid"/>
              <a:miter/>
            </a:ln>
            <a:effectLst>
              <a:outerShdw blurRad="495300" dist="685800" dir="16200000" sx="93000" sy="93000" algn="ctr" rotWithShape="0">
                <a:schemeClr val="accent6">
                  <a:alpha val="2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13" name="Freeform: Shape 3">
              <a:extLst>
                <a:ext uri="{FF2B5EF4-FFF2-40B4-BE49-F238E27FC236}">
                  <a16:creationId xmlns:a16="http://schemas.microsoft.com/office/drawing/2014/main" id="{E896BEC7-021B-8B94-43CF-D271C8362330}"/>
                </a:ext>
              </a:extLst>
            </p:cNvPr>
            <p:cNvSpPr/>
            <p:nvPr userDrawn="1"/>
          </p:nvSpPr>
          <p:spPr>
            <a:xfrm>
              <a:off x="0" y="820934"/>
              <a:ext cx="12192000" cy="5427487"/>
            </a:xfrm>
            <a:custGeom>
              <a:avLst/>
              <a:gdLst>
                <a:gd name="connsiteX0" fmla="*/ 8639530 w 12192000"/>
                <a:gd name="connsiteY0" fmla="*/ 0 h 5427487"/>
                <a:gd name="connsiteX1" fmla="*/ 11288160 w 12192000"/>
                <a:gd name="connsiteY1" fmla="*/ 2677908 h 5427487"/>
                <a:gd name="connsiteX2" fmla="*/ 9895658 w 12192000"/>
                <a:gd name="connsiteY2" fmla="*/ 5035985 h 5427487"/>
                <a:gd name="connsiteX3" fmla="*/ 9800540 w 12192000"/>
                <a:gd name="connsiteY3" fmla="*/ 5198023 h 5427487"/>
                <a:gd name="connsiteX4" fmla="*/ 9983364 w 12192000"/>
                <a:gd name="connsiteY4" fmla="*/ 5383128 h 5427487"/>
                <a:gd name="connsiteX5" fmla="*/ 12192000 w 12192000"/>
                <a:gd name="connsiteY5" fmla="*/ 5383128 h 5427487"/>
                <a:gd name="connsiteX6" fmla="*/ 12192000 w 12192000"/>
                <a:gd name="connsiteY6" fmla="*/ 5427487 h 5427487"/>
                <a:gd name="connsiteX7" fmla="*/ 9983490 w 12192000"/>
                <a:gd name="connsiteY7" fmla="*/ 5427487 h 5427487"/>
                <a:gd name="connsiteX8" fmla="*/ 9756308 w 12192000"/>
                <a:gd name="connsiteY8" fmla="*/ 5198023 h 5427487"/>
                <a:gd name="connsiteX9" fmla="*/ 9874558 w 12192000"/>
                <a:gd name="connsiteY9" fmla="*/ 4997076 h 5427487"/>
                <a:gd name="connsiteX10" fmla="*/ 11243928 w 12192000"/>
                <a:gd name="connsiteY10" fmla="*/ 2677908 h 5427487"/>
                <a:gd name="connsiteX11" fmla="*/ 8639656 w 12192000"/>
                <a:gd name="connsiteY11" fmla="*/ 44359 h 5427487"/>
                <a:gd name="connsiteX12" fmla="*/ 6035322 w 12192000"/>
                <a:gd name="connsiteY12" fmla="*/ 2677908 h 5427487"/>
                <a:gd name="connsiteX13" fmla="*/ 7404695 w 12192000"/>
                <a:gd name="connsiteY13" fmla="*/ 4997076 h 5427487"/>
                <a:gd name="connsiteX14" fmla="*/ 7522944 w 12192000"/>
                <a:gd name="connsiteY14" fmla="*/ 5198023 h 5427487"/>
                <a:gd name="connsiteX15" fmla="*/ 7295761 w 12192000"/>
                <a:gd name="connsiteY15" fmla="*/ 5427487 h 5427487"/>
                <a:gd name="connsiteX16" fmla="*/ 2974277 w 12192000"/>
                <a:gd name="connsiteY16" fmla="*/ 5427487 h 5427487"/>
                <a:gd name="connsiteX17" fmla="*/ 427545 w 12192000"/>
                <a:gd name="connsiteY17" fmla="*/ 5427487 h 5427487"/>
                <a:gd name="connsiteX18" fmla="*/ 0 w 12192000"/>
                <a:gd name="connsiteY18" fmla="*/ 5427487 h 5427487"/>
                <a:gd name="connsiteX19" fmla="*/ 0 w 12192000"/>
                <a:gd name="connsiteY19" fmla="*/ 5383128 h 5427487"/>
                <a:gd name="connsiteX20" fmla="*/ 7295634 w 12192000"/>
                <a:gd name="connsiteY20" fmla="*/ 5383128 h 5427487"/>
                <a:gd name="connsiteX21" fmla="*/ 7478457 w 12192000"/>
                <a:gd name="connsiteY21" fmla="*/ 5198023 h 5427487"/>
                <a:gd name="connsiteX22" fmla="*/ 7383338 w 12192000"/>
                <a:gd name="connsiteY22" fmla="*/ 5035985 h 5427487"/>
                <a:gd name="connsiteX23" fmla="*/ 5990836 w 12192000"/>
                <a:gd name="connsiteY23" fmla="*/ 2677908 h 5427487"/>
                <a:gd name="connsiteX24" fmla="*/ 8639530 w 12192000"/>
                <a:gd name="connsiteY24" fmla="*/ 0 h 5427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92000" h="5427487">
                  <a:moveTo>
                    <a:pt x="8639530" y="0"/>
                  </a:moveTo>
                  <a:cubicBezTo>
                    <a:pt x="10102754" y="0"/>
                    <a:pt x="11285562" y="1199412"/>
                    <a:pt x="11288160" y="2677908"/>
                  </a:cubicBezTo>
                  <a:cubicBezTo>
                    <a:pt x="11288160" y="3697475"/>
                    <a:pt x="10724924" y="4583837"/>
                    <a:pt x="9895658" y="5035985"/>
                  </a:cubicBezTo>
                  <a:cubicBezTo>
                    <a:pt x="9837040" y="5067924"/>
                    <a:pt x="9800540" y="5130280"/>
                    <a:pt x="9800540" y="5198023"/>
                  </a:cubicBezTo>
                  <a:cubicBezTo>
                    <a:pt x="9800540" y="5300430"/>
                    <a:pt x="9882606" y="5382938"/>
                    <a:pt x="9983364" y="5383128"/>
                  </a:cubicBezTo>
                  <a:lnTo>
                    <a:pt x="12192000" y="5383128"/>
                  </a:lnTo>
                  <a:lnTo>
                    <a:pt x="12192000" y="5427487"/>
                  </a:lnTo>
                  <a:lnTo>
                    <a:pt x="9983490" y="5427487"/>
                  </a:lnTo>
                  <a:cubicBezTo>
                    <a:pt x="9857826" y="5427487"/>
                    <a:pt x="9756560" y="5324574"/>
                    <a:pt x="9756308" y="5198023"/>
                  </a:cubicBezTo>
                  <a:cubicBezTo>
                    <a:pt x="9756308" y="5114374"/>
                    <a:pt x="9801364" y="5036999"/>
                    <a:pt x="9874558" y="4997076"/>
                  </a:cubicBezTo>
                  <a:cubicBezTo>
                    <a:pt x="10689880" y="4552469"/>
                    <a:pt x="11243928" y="3680872"/>
                    <a:pt x="11243928" y="2677908"/>
                  </a:cubicBezTo>
                  <a:cubicBezTo>
                    <a:pt x="11243928" y="1223556"/>
                    <a:pt x="10077976" y="47021"/>
                    <a:pt x="8639656" y="44359"/>
                  </a:cubicBezTo>
                  <a:cubicBezTo>
                    <a:pt x="7201338" y="47021"/>
                    <a:pt x="6035386" y="1223556"/>
                    <a:pt x="6035322" y="2677908"/>
                  </a:cubicBezTo>
                  <a:cubicBezTo>
                    <a:pt x="6035322" y="3680872"/>
                    <a:pt x="6589370" y="4552405"/>
                    <a:pt x="7404695" y="4997076"/>
                  </a:cubicBezTo>
                  <a:cubicBezTo>
                    <a:pt x="7477888" y="5036999"/>
                    <a:pt x="7522944" y="5114374"/>
                    <a:pt x="7522944" y="5198023"/>
                  </a:cubicBezTo>
                  <a:cubicBezTo>
                    <a:pt x="7522690" y="5324574"/>
                    <a:pt x="7421424" y="5427424"/>
                    <a:pt x="7295761" y="5427487"/>
                  </a:cubicBezTo>
                  <a:lnTo>
                    <a:pt x="2974277" y="5427487"/>
                  </a:lnTo>
                  <a:cubicBezTo>
                    <a:pt x="2974277" y="5427487"/>
                    <a:pt x="1842396" y="5427487"/>
                    <a:pt x="427545" y="5427487"/>
                  </a:cubicBezTo>
                  <a:lnTo>
                    <a:pt x="0" y="5427487"/>
                  </a:lnTo>
                  <a:lnTo>
                    <a:pt x="0" y="5383128"/>
                  </a:lnTo>
                  <a:lnTo>
                    <a:pt x="7295634" y="5383128"/>
                  </a:lnTo>
                  <a:cubicBezTo>
                    <a:pt x="7396393" y="5382938"/>
                    <a:pt x="7478457" y="5300430"/>
                    <a:pt x="7478457" y="5198023"/>
                  </a:cubicBezTo>
                  <a:cubicBezTo>
                    <a:pt x="7478457" y="5130280"/>
                    <a:pt x="7441956" y="5067924"/>
                    <a:pt x="7383338" y="5035985"/>
                  </a:cubicBezTo>
                  <a:cubicBezTo>
                    <a:pt x="6554137" y="4583837"/>
                    <a:pt x="5990900" y="3697475"/>
                    <a:pt x="5990836" y="2677908"/>
                  </a:cubicBezTo>
                  <a:cubicBezTo>
                    <a:pt x="5993561" y="1199412"/>
                    <a:pt x="7176307" y="0"/>
                    <a:pt x="8639530" y="0"/>
                  </a:cubicBezTo>
                  <a:close/>
                </a:path>
              </a:pathLst>
            </a:custGeom>
            <a:solidFill>
              <a:schemeClr val="bg2"/>
            </a:solidFill>
            <a:ln w="6336" cap="flat">
              <a:noFill/>
              <a:prstDash val="solid"/>
              <a:miter/>
            </a:ln>
            <a:effectLst>
              <a:outerShdw blurRad="63500" dist="25400" dir="5400000" algn="t" rotWithShape="0">
                <a:schemeClr val="accent6">
                  <a:lumMod val="10000"/>
                  <a:alpha val="14000"/>
                </a:schemeClr>
              </a:outerShdw>
            </a:effectLst>
          </p:spPr>
          <p:txBody>
            <a:bodyPr rtlCol="0" anchor="ctr"/>
            <a:lstStyle/>
            <a:p>
              <a:r>
                <a:rPr lang="en-US"/>
                <a:t> 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783BA36-7630-2124-465F-E73125C1D688}"/>
                </a:ext>
              </a:extLst>
            </p:cNvPr>
            <p:cNvSpPr/>
            <p:nvPr userDrawn="1"/>
          </p:nvSpPr>
          <p:spPr bwMode="auto">
            <a:xfrm>
              <a:off x="7636807" y="903572"/>
              <a:ext cx="182623" cy="182623"/>
            </a:xfrm>
            <a:prstGeom prst="ellipse">
              <a:avLst/>
            </a:prstGeom>
            <a:solidFill>
              <a:srgbClr val="A2D2D5"/>
            </a:solidFill>
            <a:ln w="22225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5400000" algn="t" rotWithShape="0">
                <a:srgbClr val="B1B3B3">
                  <a:alpha val="56000"/>
                </a:srgb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B475FF0-0652-1267-48C1-A20925A51E19}"/>
                </a:ext>
              </a:extLst>
            </p:cNvPr>
            <p:cNvSpPr/>
            <p:nvPr userDrawn="1"/>
          </p:nvSpPr>
          <p:spPr bwMode="auto">
            <a:xfrm>
              <a:off x="4927831" y="6118197"/>
              <a:ext cx="182623" cy="18262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22225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5400000" algn="t" rotWithShape="0">
                <a:srgbClr val="B1B3B3">
                  <a:alpha val="56000"/>
                </a:srgb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B0DB237-CFF2-A5A7-A180-BE4CE8E719A5}"/>
                </a:ext>
              </a:extLst>
            </p:cNvPr>
            <p:cNvSpPr/>
            <p:nvPr userDrawn="1"/>
          </p:nvSpPr>
          <p:spPr bwMode="auto">
            <a:xfrm>
              <a:off x="10411924" y="5277441"/>
              <a:ext cx="182623" cy="18262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2225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5400000" algn="t" rotWithShape="0">
                <a:srgbClr val="B1B3B3">
                  <a:alpha val="56000"/>
                </a:srgbClr>
              </a:outerShdw>
            </a:effectLst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9" name="MS logo gray - EMF" descr="Microsoft logo, gray text version">
              <a:extLst>
                <a:ext uri="{FF2B5EF4-FFF2-40B4-BE49-F238E27FC236}">
                  <a16:creationId xmlns:a16="http://schemas.microsoft.com/office/drawing/2014/main" id="{9A5B4081-A42A-4E63-6D95-A89C408602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440" cy="292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193341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7213A9F-6D7F-76BC-94D5-31BAA0E98E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4200" y="0"/>
            <a:ext cx="11607800" cy="6858000"/>
            <a:chOff x="584200" y="0"/>
            <a:chExt cx="11607800" cy="685800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724546D-8525-4E01-B337-C160E8829F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alphaModFix amt="9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3243" b="17593"/>
            <a:stretch/>
          </p:blipFill>
          <p:spPr>
            <a:xfrm>
              <a:off x="4361842" y="0"/>
              <a:ext cx="7830158" cy="68580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1FEE1CC-CCE0-D310-2EDC-C0056DF632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47000"/>
                      </a14:imgEffect>
                    </a14:imgLayer>
                  </a14:imgProps>
                </a:ext>
              </a:extLst>
            </a:blip>
            <a:srcRect l="4792" t="16389" r="4800" b="16389"/>
            <a:stretch/>
          </p:blipFill>
          <p:spPr>
            <a:xfrm>
              <a:off x="584200" y="1123951"/>
              <a:ext cx="11022585" cy="4610101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</p:spPr>
        </p:pic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6F18D58C-D972-C8B3-1E7F-141E1ACB03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5400000">
              <a:off x="3790442" y="-2082292"/>
              <a:ext cx="4610100" cy="11022584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32000"/>
                  </a:schemeClr>
                </a:gs>
                <a:gs pos="100000">
                  <a:schemeClr val="bg1"/>
                </a:gs>
              </a:gsLst>
              <a:lin ang="8100000" scaled="1"/>
            </a:gradFill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3" name="Title 22">
            <a:extLst>
              <a:ext uri="{FF2B5EF4-FFF2-40B4-BE49-F238E27FC236}">
                <a16:creationId xmlns:a16="http://schemas.microsoft.com/office/drawing/2014/main" id="{469FC3D9-DA5E-15AE-D759-10EE33A2DC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129" y="2836708"/>
            <a:ext cx="10604726" cy="923330"/>
          </a:xfrm>
        </p:spPr>
        <p:txBody>
          <a:bodyPr/>
          <a:lstStyle>
            <a:lvl1pPr algn="ctr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D4639D9-274B-8505-7343-DEEB563B4B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3129" y="3883252"/>
            <a:ext cx="10604726" cy="27699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u="sng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35143228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71FE53F-3B7B-1EAA-BAAD-791F606E0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61D77A9-7D0D-7581-2814-997A76CB3E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DFC53BA2-2EDA-7CE7-98C2-4DFE2F3922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7B865D66-EEB3-1043-A4CB-FAFCA8373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0BF2B51-2457-348D-8A19-C7E52A2548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7375" y="1436688"/>
              <a:ext cx="11017250" cy="4698936"/>
            </a:xfrm>
            <a:prstGeom prst="roundRect">
              <a:avLst>
                <a:gd name="adj" fmla="val 3866"/>
              </a:avLst>
            </a:prstGeom>
            <a:solidFill>
              <a:schemeClr val="bg2"/>
            </a:solidFill>
            <a:ln w="19050" cap="flat">
              <a:solidFill>
                <a:schemeClr val="bg1"/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tx1"/>
                </a:solidFill>
                <a:latin typeface="+mj-lt"/>
                <a:cs typeface="Segoe Sans Display Semibold" pitchFamily="2" charset="0"/>
              </a:endParaRPr>
            </a:p>
          </p:txBody>
        </p:sp>
        <p:sp>
          <p:nvSpPr>
            <p:cNvPr id="7" name="Round Same Side Corner Rectangle 32">
              <a:extLst>
                <a:ext uri="{FF2B5EF4-FFF2-40B4-BE49-F238E27FC236}">
                  <a16:creationId xmlns:a16="http://schemas.microsoft.com/office/drawing/2014/main" id="{1731657A-028B-6CDA-E891-FF42248354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 rot="10800000">
              <a:off x="587375" y="3724274"/>
              <a:ext cx="11017251" cy="2411347"/>
            </a:xfrm>
            <a:prstGeom prst="round2SameRect">
              <a:avLst>
                <a:gd name="adj1" fmla="val 7110"/>
                <a:gd name="adj2" fmla="val 0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3500000" scaled="1"/>
              <a:tileRect/>
            </a:gradFill>
            <a:ln w="28575">
              <a:noFill/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7C7E02B-91B5-801C-389D-B1F46EA3E6F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Lorem ipsum dolor sit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69CF01DC-E362-785D-CD71-80BEBC2B30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27443" y="3965968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0FDDA3F4-55AC-6571-C087-FE266D98BCF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603645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4224447-F3E0-0934-6636-8849D1A4057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79848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1D7B2D0-DFB2-99EA-9CAC-BA82BC20579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56051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4F1DE414-2A5D-DB03-4D60-2694E44F3A8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32254" y="3965967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1ED89A5-E840-7E54-979F-4C3EB5CECA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08457" y="3967726"/>
            <a:ext cx="1652917" cy="1927963"/>
          </a:xfrm>
          <a:custGeom>
            <a:avLst/>
            <a:gdLst>
              <a:gd name="connsiteX0" fmla="*/ 77687 w 1652917"/>
              <a:gd name="connsiteY0" fmla="*/ 0 h 1927963"/>
              <a:gd name="connsiteX1" fmla="*/ 1575230 w 1652917"/>
              <a:gd name="connsiteY1" fmla="*/ 0 h 1927963"/>
              <a:gd name="connsiteX2" fmla="*/ 1652917 w 1652917"/>
              <a:gd name="connsiteY2" fmla="*/ 77687 h 1927963"/>
              <a:gd name="connsiteX3" fmla="*/ 1652917 w 1652917"/>
              <a:gd name="connsiteY3" fmla="*/ 1850276 h 1927963"/>
              <a:gd name="connsiteX4" fmla="*/ 1575230 w 1652917"/>
              <a:gd name="connsiteY4" fmla="*/ 1927963 h 1927963"/>
              <a:gd name="connsiteX5" fmla="*/ 77687 w 1652917"/>
              <a:gd name="connsiteY5" fmla="*/ 1927963 h 1927963"/>
              <a:gd name="connsiteX6" fmla="*/ 0 w 1652917"/>
              <a:gd name="connsiteY6" fmla="*/ 1850276 h 1927963"/>
              <a:gd name="connsiteX7" fmla="*/ 0 w 1652917"/>
              <a:gd name="connsiteY7" fmla="*/ 77687 h 1927963"/>
              <a:gd name="connsiteX8" fmla="*/ 77687 w 1652917"/>
              <a:gd name="connsiteY8" fmla="*/ 0 h 192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917" h="1927963">
                <a:moveTo>
                  <a:pt x="77687" y="0"/>
                </a:moveTo>
                <a:lnTo>
                  <a:pt x="1575230" y="0"/>
                </a:lnTo>
                <a:cubicBezTo>
                  <a:pt x="1618135" y="0"/>
                  <a:pt x="1652917" y="34782"/>
                  <a:pt x="1652917" y="77687"/>
                </a:cubicBezTo>
                <a:lnTo>
                  <a:pt x="1652917" y="1850276"/>
                </a:lnTo>
                <a:cubicBezTo>
                  <a:pt x="1652917" y="1893181"/>
                  <a:pt x="1618135" y="1927963"/>
                  <a:pt x="1575230" y="1927963"/>
                </a:cubicBezTo>
                <a:lnTo>
                  <a:pt x="77687" y="1927963"/>
                </a:lnTo>
                <a:cubicBezTo>
                  <a:pt x="34782" y="1927963"/>
                  <a:pt x="0" y="1893181"/>
                  <a:pt x="0" y="1850276"/>
                </a:cubicBezTo>
                <a:lnTo>
                  <a:pt x="0" y="77687"/>
                </a:lnTo>
                <a:cubicBezTo>
                  <a:pt x="0" y="34782"/>
                  <a:pt x="34782" y="0"/>
                  <a:pt x="77687" y="0"/>
                </a:cubicBezTo>
                <a:close/>
              </a:path>
            </a:pathLst>
          </a:custGeom>
          <a:solidFill>
            <a:schemeClr val="bg2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138470" sx="102000" sy="102000" algn="ctr" rotWithShape="0">
              <a:prstClr val="black">
                <a:alpha val="17236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999385498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Titl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>
            <a:extLst>
              <a:ext uri="{FF2B5EF4-FFF2-40B4-BE49-F238E27FC236}">
                <a16:creationId xmlns:a16="http://schemas.microsoft.com/office/drawing/2014/main" id="{E67FA29C-2B87-F0BD-BDBC-E952DC250DFD}"/>
              </a:ext>
            </a:extLst>
          </p:cNvPr>
          <p:cNvGrpSpPr/>
          <p:nvPr userDrawn="1"/>
        </p:nvGrpSpPr>
        <p:grpSpPr>
          <a:xfrm>
            <a:off x="1230775" y="1"/>
            <a:ext cx="10961225" cy="6858000"/>
            <a:chOff x="1230775" y="1"/>
            <a:chExt cx="10961225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877DF6D-3889-DE36-4112-1974712F4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28045"/>
            <a:stretch/>
          </p:blipFill>
          <p:spPr>
            <a:xfrm rot="10800000" flipH="1">
              <a:off x="1486970" y="202563"/>
              <a:ext cx="10705030" cy="665543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E5CD9E6-6754-0B8D-A4BB-B883BCE52C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1230775" y="1"/>
              <a:ext cx="10961225" cy="6858000"/>
            </a:xfrm>
            <a:prstGeom prst="rect">
              <a:avLst/>
            </a:prstGeom>
            <a:gradFill flip="none" rotWithShape="1">
              <a:gsLst>
                <a:gs pos="0">
                  <a:srgbClr val="F7F7F8"/>
                </a:gs>
                <a:gs pos="100000">
                  <a:srgbClr val="F7F7F8">
                    <a:alpha val="0"/>
                  </a:srgbClr>
                </a:gs>
              </a:gsLst>
              <a:lin ang="2700000" scaled="1"/>
              <a:tileRect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" name="Rounded Rectangle 64">
            <a:extLst>
              <a:ext uri="{FF2B5EF4-FFF2-40B4-BE49-F238E27FC236}">
                <a16:creationId xmlns:a16="http://schemas.microsoft.com/office/drawing/2014/main" id="{01D6C565-7317-AFAD-851C-C9EEE8C7C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5314950" y="1127760"/>
            <a:ext cx="6316277" cy="4602480"/>
          </a:xfrm>
          <a:prstGeom prst="roundRect">
            <a:avLst>
              <a:gd name="adj" fmla="val 2222"/>
            </a:avLst>
          </a:prstGeom>
          <a:gradFill flip="none" rotWithShape="1">
            <a:gsLst>
              <a:gs pos="0">
                <a:srgbClr val="8DC8E8">
                  <a:alpha val="60000"/>
                </a:srgbClr>
              </a:gs>
              <a:gs pos="22465">
                <a:srgbClr val="8DC8E8">
                  <a:alpha val="37112"/>
                </a:srgbClr>
              </a:gs>
              <a:gs pos="41583">
                <a:srgbClr val="D4EC8E">
                  <a:alpha val="0"/>
                </a:srgbClr>
              </a:gs>
              <a:gs pos="48805">
                <a:srgbClr val="D4EC8E">
                  <a:alpha val="0"/>
                </a:srgbClr>
              </a:gs>
              <a:gs pos="55970">
                <a:srgbClr val="D4EC8E">
                  <a:alpha val="0"/>
                </a:srgbClr>
              </a:gs>
              <a:gs pos="100000">
                <a:srgbClr val="D4EC8E">
                  <a:alpha val="32000"/>
                </a:srgbClr>
              </a:gs>
            </a:gsLst>
            <a:lin ang="2700000" scaled="1"/>
            <a:tileRect/>
          </a:gradFill>
          <a:ln w="28575">
            <a:solidFill>
              <a:schemeClr val="bg2"/>
            </a:solidFill>
            <a:miter lim="400000"/>
          </a:ln>
          <a:effectLst>
            <a:outerShdw blurRad="377557" sx="102000" sy="102000" algn="ctr" rotWithShape="0">
              <a:schemeClr val="bg1">
                <a:lumMod val="85000"/>
                <a:alpha val="40000"/>
              </a:schemeClr>
            </a:outerShdw>
          </a:effectLst>
        </p:spPr>
        <p:txBody>
          <a:bodyPr lIns="146304" tIns="146304" rIns="146304" bIns="146304"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5855214-42FC-9C83-F5BE-416BE11ABD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8264" y="3152001"/>
            <a:ext cx="4302479" cy="553998"/>
          </a:xfrm>
        </p:spPr>
        <p:txBody>
          <a:bodyPr anchor="ctr"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4891770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1.04167E-6 0 L 1.041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6BECD2E-18ED-9413-D174-3A2829AB4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1F53F01-2D08-B795-8385-E6CCF646C4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86A2AF43-8BC9-0B60-FC15-371991A6A0D2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7C165707-9A10-1629-1689-2838EEF0D660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ounded Rectangle 64">
              <a:extLst>
                <a:ext uri="{FF2B5EF4-FFF2-40B4-BE49-F238E27FC236}">
                  <a16:creationId xmlns:a16="http://schemas.microsoft.com/office/drawing/2014/main" id="{33CED9F0-8E79-CCCD-AD06-87DE5B3658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4200" y="1773950"/>
              <a:ext cx="11018520" cy="4790308"/>
            </a:xfrm>
            <a:prstGeom prst="roundRect">
              <a:avLst>
                <a:gd name="adj" fmla="val 2222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2700000" scaled="1"/>
              <a:tileRect/>
            </a:gradFill>
            <a:ln w="28575">
              <a:solidFill>
                <a:schemeClr val="bg2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pPr lvl="0"/>
              <a:endParaRPr lang="en-US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06632EA-1E3E-35E2-8869-D5598A8423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646679" y="1835876"/>
              <a:ext cx="10894669" cy="4666458"/>
            </a:xfrm>
            <a:prstGeom prst="roundRect">
              <a:avLst>
                <a:gd name="adj" fmla="val 1973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accent6">
                    <a:lumMod val="10000"/>
                  </a:schemeClr>
                </a:solidFill>
                <a:latin typeface="+mj-lt"/>
                <a:cs typeface="Segoe Sans Display Semibold" pitchFamily="2" charset="0"/>
              </a:endParaRPr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DE9B605C-A680-0781-9696-E4D53FFF864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4200" y="1020708"/>
            <a:ext cx="11018520" cy="553998"/>
          </a:xfrm>
        </p:spPr>
        <p:txBody>
          <a:bodyPr lIns="0" tIns="0" rIns="0" bIns="0"/>
          <a:lstStyle/>
          <a:p>
            <a:r>
              <a:rPr lang="en-US"/>
              <a:t>Lorem Ipsu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4ADCE1-33E2-6223-AB12-5A28979891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457200"/>
            <a:ext cx="11018520" cy="430887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2800" kern="1200" dirty="0" smtClean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2800" kern="1200" dirty="0">
                <a:solidFill>
                  <a:schemeClr val="accent4"/>
                </a:solidFill>
                <a:latin typeface="Segoe UI Variable Small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Lorem ipsum:</a:t>
            </a:r>
          </a:p>
        </p:txBody>
      </p:sp>
    </p:spTree>
    <p:extLst>
      <p:ext uri="{BB962C8B-B14F-4D97-AF65-F5344CB8AC3E}">
        <p14:creationId xmlns:p14="http://schemas.microsoft.com/office/powerpoint/2010/main" val="203911270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F8D5A82-3B93-4121-DF93-4058878D6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868101"/>
            <a:ext cx="12192000" cy="5989899"/>
            <a:chOff x="0" y="868101"/>
            <a:chExt cx="12192000" cy="59898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F71CE6A-B47C-AC82-5A64-E3F1BCF2AB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868101"/>
              <a:ext cx="12192000" cy="5989899"/>
              <a:chOff x="584200" y="0"/>
              <a:chExt cx="12192000" cy="6858000"/>
            </a:xfrm>
          </p:grpSpPr>
          <p:pic>
            <p:nvPicPr>
              <p:cNvPr id="4" name="Picture 3" descr="A close-up of a spiral&#10;&#10;Description automatically generated">
                <a:extLst>
                  <a:ext uri="{FF2B5EF4-FFF2-40B4-BE49-F238E27FC236}">
                    <a16:creationId xmlns:a16="http://schemas.microsoft.com/office/drawing/2014/main" id="{38D137C9-B027-5F2D-1296-AD2CEED1A2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1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097" t="-471" b="16643"/>
              <a:stretch/>
            </p:blipFill>
            <p:spPr>
              <a:xfrm>
                <a:off x="58420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3421CD9-F831-FF87-5FE0-8834B9C75E78}"/>
                  </a:ext>
                </a:extLst>
              </p:cNvPr>
              <p:cNvSpPr/>
              <p:nvPr/>
            </p:nvSpPr>
            <p:spPr bwMode="auto">
              <a:xfrm rot="10800000">
                <a:off x="58420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ectangle: Top Corners Rounded 125">
              <a:extLst>
                <a:ext uri="{FF2B5EF4-FFF2-40B4-BE49-F238E27FC236}">
                  <a16:creationId xmlns:a16="http://schemas.microsoft.com/office/drawing/2014/main" id="{B72EC590-4273-F6F7-6762-9C4CCEAFFA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588263" y="1236459"/>
              <a:ext cx="11018520" cy="5327854"/>
            </a:xfrm>
            <a:prstGeom prst="roundRect">
              <a:avLst>
                <a:gd name="adj" fmla="val 1812"/>
              </a:avLst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8100000" scaled="1"/>
            </a:gradFill>
            <a:ln w="1270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3405014-95B6-B6F8-3EB4-F6FA0D690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65846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 With Graphic">
    <p:bg>
      <p:bgPr>
        <a:solidFill>
          <a:srgbClr val="F6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CAD27F9-AA52-0ED7-2954-86FF003DD3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56F5E8C-FBBF-F670-D420-F6E8B65511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8A5465-4B37-01D6-4D65-7F2E2A4E005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DA8EF61-21E6-26C4-3B76-2BFC27121AF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9" name="Rectangle: Top Corners Rounded 32">
            <a:extLst>
              <a:ext uri="{FF2B5EF4-FFF2-40B4-BE49-F238E27FC236}">
                <a16:creationId xmlns:a16="http://schemas.microsoft.com/office/drawing/2014/main" id="{EA13B5A3-ED23-5ACB-0E05-F77F207CC3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261619" y="445706"/>
            <a:ext cx="407205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0D4C7572-BD60-BDB6-3A1A-0EAE35644BF7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527175" y="2539683"/>
            <a:ext cx="6145834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88F296-C8BB-42B9-CBF3-7369A8B664A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1522088" y="3802402"/>
            <a:ext cx="6145834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5326A88-2097-5094-2227-E3774B7D9F1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522088" y="5065122"/>
            <a:ext cx="6145834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C403393-B966-EB59-4601-78887B05709C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22" name="Picture Placeholder 3">
              <a:extLst>
                <a:ext uri="{FF2B5EF4-FFF2-40B4-BE49-F238E27FC236}">
                  <a16:creationId xmlns:a16="http://schemas.microsoft.com/office/drawing/2014/main" id="{5DE72A72-B05F-BE2F-6724-26D6DE02E2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23" name="Rectangle: Rounded Corners 36">
              <a:extLst>
                <a:ext uri="{FF2B5EF4-FFF2-40B4-BE49-F238E27FC236}">
                  <a16:creationId xmlns:a16="http://schemas.microsoft.com/office/drawing/2014/main" id="{DC650EED-7241-DEE5-43EE-C2EDC6A010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24" name="Rectangle: Top Corners Rounded 6">
              <a:extLst>
                <a:ext uri="{FF2B5EF4-FFF2-40B4-BE49-F238E27FC236}">
                  <a16:creationId xmlns:a16="http://schemas.microsoft.com/office/drawing/2014/main" id="{9C5838B8-BEF5-9782-FAE6-2EB7239DDE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004BF560-0A91-2559-E643-3A6341705CC7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7EC74E4-C1EF-8304-595B-7E2596BBEB7F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8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9ECF2BE3-7A62-6F20-922D-240417E328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9" name="Graphic 16">
              <a:hlinkClick r:id="rId6"/>
              <a:extLst>
                <a:ext uri="{FF2B5EF4-FFF2-40B4-BE49-F238E27FC236}">
                  <a16:creationId xmlns:a16="http://schemas.microsoft.com/office/drawing/2014/main" id="{E9A88192-2983-BD9C-1E52-B0EA0F4560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48BF2612-793F-E943-EEE9-492074328D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38558FD7-AFA4-C271-FBC2-9ED426AE91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A681479-7ECE-D562-180D-4E9C9DEBFF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6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246504052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6E849EEE-D5A0-FA48-F6A1-73A692B67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8F8E3F5-AEA8-6C67-8864-8AF5B5B728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4" name="Picture 3" descr="A blue and white wavy design&#10;&#10;Description automatically generated">
                <a:extLst>
                  <a:ext uri="{FF2B5EF4-FFF2-40B4-BE49-F238E27FC236}">
                    <a16:creationId xmlns:a16="http://schemas.microsoft.com/office/drawing/2014/main" id="{94F908EE-C7F3-C52A-6F0C-CA037210DB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6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66" t="61909" b="1"/>
              <a:stretch/>
            </p:blipFill>
            <p:spPr>
              <a:xfrm>
                <a:off x="0" y="3239821"/>
                <a:ext cx="12192000" cy="3618179"/>
              </a:xfrm>
              <a:prstGeom prst="rect">
                <a:avLst/>
              </a:prstGeom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63245B3-9632-EA6E-9085-BFDA0F1A9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2000" cy="6858000"/>
              </a:xfrm>
              <a:prstGeom prst="rect">
                <a:avLst/>
              </a:prstGeom>
              <a:gradFill flip="none" rotWithShape="1">
                <a:gsLst>
                  <a:gs pos="0">
                    <a:srgbClr val="F7F7F8"/>
                  </a:gs>
                  <a:gs pos="100000">
                    <a:srgbClr val="F7F7F8">
                      <a:alpha val="0"/>
                    </a:srgbClr>
                  </a:gs>
                </a:gsLst>
                <a:lin ang="2700000" scaled="1"/>
                <a:tileRect/>
              </a:gra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solidFill>
                    <a:schemeClr val="bg1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" name="Rounded Rectangle 64">
              <a:extLst>
                <a:ext uri="{FF2B5EF4-FFF2-40B4-BE49-F238E27FC236}">
                  <a16:creationId xmlns:a16="http://schemas.microsoft.com/office/drawing/2014/main" id="{B85062FC-9327-5EF3-FCCC-A9D2066B77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 bwMode="auto">
            <a:xfrm>
              <a:off x="2470150" y="1735580"/>
              <a:ext cx="9136633" cy="4186988"/>
            </a:xfrm>
            <a:prstGeom prst="roundRect">
              <a:avLst>
                <a:gd name="adj" fmla="val 2649"/>
              </a:avLst>
            </a:prstGeom>
            <a:solidFill>
              <a:schemeClr val="bg2"/>
            </a:solidFill>
            <a:ln w="31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  <a:effectLst>
              <a:outerShdw blurRad="50800" dist="38100" dir="8100000" algn="tr" rotWithShape="0">
                <a:prstClr val="black">
                  <a:alpha val="5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solidFill>
                  <a:schemeClr val="accent6">
                    <a:lumMod val="10000"/>
                  </a:schemeClr>
                </a:solidFill>
                <a:latin typeface="+mj-lt"/>
                <a:cs typeface="Segoe Sans Display Semibold" pitchFamily="2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1FC40CE0-E13E-8700-3D2D-31637E5567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111223" y="3131243"/>
              <a:ext cx="8128278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8F8B965-D9FE-24E2-C061-DC49767FD0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3111223" y="4526906"/>
              <a:ext cx="8128278" cy="0"/>
            </a:xfrm>
            <a:prstGeom prst="line">
              <a:avLst/>
            </a:prstGeom>
            <a:ln w="6350" cap="rnd">
              <a:solidFill>
                <a:schemeClr val="bg2">
                  <a:lumMod val="8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54142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34B052-AE25-43B3-B43B-7907751F19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4760" y="1735580"/>
            <a:ext cx="2205900" cy="4186988"/>
          </a:xfrm>
          <a:prstGeom prst="roundRect">
            <a:avLst>
              <a:gd name="adj" fmla="val 4472"/>
            </a:avLst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t="-30000"/>
            </a:stretch>
          </a:blipFill>
          <a:ln w="31750">
            <a:solidFill>
              <a:schemeClr val="bg2"/>
            </a:solidFill>
          </a:ln>
          <a:effectLst>
            <a:outerShdw blurRad="114300" dist="38100" dir="10800000" algn="ctr" rotWithShape="0">
              <a:schemeClr val="bg1">
                <a:lumMod val="75000"/>
                <a:alpha val="40000"/>
              </a:schemeClr>
            </a:outerShdw>
          </a:effectLst>
        </p:spPr>
        <p:txBody>
          <a:bodyPr lIns="182880" tIns="146304" rIns="182880" bIns="146304" anchor="ctr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tabLst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DEB2ACF-E279-AD68-1868-E2F6F5A497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11223" y="2052707"/>
            <a:ext cx="8128278" cy="73866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6DFC4C0C-9D69-B586-F0BC-3B16C9F699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11223" y="3459741"/>
            <a:ext cx="8128278" cy="73866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11D98D9-27C2-B3B1-E690-A56F870B7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1223" y="4855405"/>
            <a:ext cx="8128278" cy="73866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Lorem Ipsum</a:t>
            </a:r>
          </a:p>
          <a:p>
            <a:pPr lvl="1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79263743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92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44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accent6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763864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314189C-1ED7-96D2-53F3-009E06644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9D0836D-D666-1A60-B299-66691DD71B2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FC67BECE-2038-6E2D-1947-8048AB7EAF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8E987406-DE0E-47B1-67E5-E3EE60356A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Rectangle: Top Corners Rounded 32">
            <a:extLst>
              <a:ext uri="{FF2B5EF4-FFF2-40B4-BE49-F238E27FC236}">
                <a16:creationId xmlns:a16="http://schemas.microsoft.com/office/drawing/2014/main" id="{EB8D7223-DA03-D0E8-CCF9-DE074D438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261619" y="445706"/>
            <a:ext cx="407205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386A23D-6ABB-76C4-FBFB-90E7ABF66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52537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BAE18A-AFE4-3CF4-24FC-9E1FD69313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3471902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7AAF762-2D62-A6BA-BF09-C020CD22E5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7174" y="253968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E53545FB-6BED-49C3-9A8D-1A39FDE9E0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380240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A3ABBABB-A2F4-49D0-6704-F70C87819B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06512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D67A59-FB1C-F67C-EF01-487C1F675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712839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ACD6B564-8611-D9B1-22D4-2E27C05661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802889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C1F63D9-AFF9-7B0E-DC97-1DB2CD3EB5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05081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8BB52D7-D21F-75F1-1A3F-B2AB197CE56C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16" name="Picture Placeholder 3">
              <a:extLst>
                <a:ext uri="{FF2B5EF4-FFF2-40B4-BE49-F238E27FC236}">
                  <a16:creationId xmlns:a16="http://schemas.microsoft.com/office/drawing/2014/main" id="{0449F706-6E85-C9E9-C561-00C8245A3C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17" name="Rectangle: Rounded Corners 36">
              <a:extLst>
                <a:ext uri="{FF2B5EF4-FFF2-40B4-BE49-F238E27FC236}">
                  <a16:creationId xmlns:a16="http://schemas.microsoft.com/office/drawing/2014/main" id="{72CBBDBB-9E8C-DD91-B595-81EAC07C4F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18" name="Rectangle: Top Corners Rounded 6">
              <a:extLst>
                <a:ext uri="{FF2B5EF4-FFF2-40B4-BE49-F238E27FC236}">
                  <a16:creationId xmlns:a16="http://schemas.microsoft.com/office/drawing/2014/main" id="{01591739-5EBB-D11E-A247-65D88604B9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69F0EEB-FB38-AD06-F3F3-AD8A9AF0D8E5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C4DE41-B4B4-A59C-F01F-23490C406DAC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1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A837DF51-FEC7-3B85-1468-6239BF4C76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2" name="Graphic 16">
              <a:hlinkClick r:id="rId6"/>
              <a:extLst>
                <a:ext uri="{FF2B5EF4-FFF2-40B4-BE49-F238E27FC236}">
                  <a16:creationId xmlns:a16="http://schemas.microsoft.com/office/drawing/2014/main" id="{B403D72C-B634-6860-E897-9ECFBF5311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DE7BB84-CA90-0812-66A0-2D1860FAFF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4A687005-386D-484E-2C98-477FD3A424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CA28FADC-4FC5-ADE6-3306-F2B583B247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4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068513150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459250-4824-872A-ECF7-84EDBCBDAC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56C54-3611-54A8-5EF6-FF4FA8DF5DB8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480D405D-CA1F-7AC8-5C1F-AFFE3BDD8C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7486F846-9E5D-4E3D-6562-4966E75AA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" name="Rectangle: Top Corners Rounded 32">
            <a:extLst>
              <a:ext uri="{FF2B5EF4-FFF2-40B4-BE49-F238E27FC236}">
                <a16:creationId xmlns:a16="http://schemas.microsoft.com/office/drawing/2014/main" id="{0A0289BD-0BAA-A5E5-6E47-0D53C6E97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154580" y="402231"/>
            <a:ext cx="428613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8E1299C-88F5-FEC8-4D79-244AD65A88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240546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502843F-91A4-D868-C1E5-009310D5B8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3058208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C3B34D76-9FEF-63A5-A08D-CCEA66AA04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2087" y="2254855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FD97B290-9474-B3F3-029A-E26BF9655B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436027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297246C0-E46B-F1EB-CC57-F5320B40F2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41298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F9513-A35A-F17E-907C-9433CA67B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5163626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E9989D58-594E-897C-5DDD-6078827CE4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434596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5E890BB-6F66-D359-6E9B-8AE07E3CD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39867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75F99B-2B37-F3DF-CCAD-86E137100F75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16" name="Picture Placeholder 3">
              <a:extLst>
                <a:ext uri="{FF2B5EF4-FFF2-40B4-BE49-F238E27FC236}">
                  <a16:creationId xmlns:a16="http://schemas.microsoft.com/office/drawing/2014/main" id="{759C07A3-A3FC-4AFC-5E29-6A72DCED5E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17" name="Rectangle: Rounded Corners 36">
              <a:extLst>
                <a:ext uri="{FF2B5EF4-FFF2-40B4-BE49-F238E27FC236}">
                  <a16:creationId xmlns:a16="http://schemas.microsoft.com/office/drawing/2014/main" id="{C4AEF803-9F70-320A-EA65-79F5C677B3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18" name="Rectangle: Top Corners Rounded 6">
              <a:extLst>
                <a:ext uri="{FF2B5EF4-FFF2-40B4-BE49-F238E27FC236}">
                  <a16:creationId xmlns:a16="http://schemas.microsoft.com/office/drawing/2014/main" id="{AE84CC87-BEF1-10D6-F100-4C32A124DE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05F00A52-60B9-9C65-B50A-547EDAB406CE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B2BA963-980C-85FD-E115-DE19A743D046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21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27712D29-410C-DB14-8939-4F0D330702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22" name="Graphic 16">
              <a:hlinkClick r:id="rId6"/>
              <a:extLst>
                <a:ext uri="{FF2B5EF4-FFF2-40B4-BE49-F238E27FC236}">
                  <a16:creationId xmlns:a16="http://schemas.microsoft.com/office/drawing/2014/main" id="{88FD28A2-006E-ABE6-501E-B17B1CA7D5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6F2CF5C-6744-942F-8F59-78AD542226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0B4898FB-9205-D82D-5CD6-10D7C5EF50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C79C630F-C550-ED4E-AE59-35E7863A1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4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BF75870C-3E15-B5F4-E4BE-9196447AD9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2087" y="3307564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AA82774-EDEB-43A7-C080-A6FAD60A9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293255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7BAD022-EA39-1D6E-BB4D-E5F276293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110917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2622206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2756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B34B8478-5EBD-6055-97DB-6DF250A9D6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561169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1989535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tori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77BF71-C71E-B6F4-51F2-4D01EAD413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4062413" cy="6858000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6A1CBB3-9527-6DB1-5C30-A7FBDD640D37}"/>
              </a:ext>
            </a:extLst>
          </p:cNvPr>
          <p:cNvCxnSpPr>
            <a:cxnSpLocks/>
          </p:cNvCxnSpPr>
          <p:nvPr userDrawn="1"/>
        </p:nvCxnSpPr>
        <p:spPr>
          <a:xfrm>
            <a:off x="4614866" y="2433776"/>
            <a:ext cx="6994522" cy="0"/>
          </a:xfrm>
          <a:prstGeom prst="line">
            <a:avLst/>
          </a:prstGeom>
          <a:solidFill>
            <a:schemeClr val="tx1"/>
          </a:solidFill>
          <a:ln w="19050" cap="rnd">
            <a:gradFill flip="none" rotWithShape="1">
              <a:gsLst>
                <a:gs pos="0">
                  <a:schemeClr val="accent1"/>
                </a:gs>
                <a:gs pos="100000">
                  <a:schemeClr val="accent6">
                    <a:lumMod val="5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>
            <a:outerShdw blurRad="177800" dist="12700" dir="13500000" algn="br" rotWithShape="0">
              <a:schemeClr val="tx1">
                <a:lumMod val="85000"/>
                <a:alpha val="30000"/>
              </a:schemeClr>
            </a:outerShdw>
          </a:effectLst>
        </p:spPr>
      </p:cxn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DEDF152-6EF9-9228-7F55-98F3A60AB72D}"/>
              </a:ext>
            </a:extLst>
          </p:cNvPr>
          <p:cNvSpPr/>
          <p:nvPr userDrawn="1"/>
        </p:nvSpPr>
        <p:spPr bwMode="auto">
          <a:xfrm>
            <a:off x="4653851" y="972649"/>
            <a:ext cx="391609" cy="339228"/>
          </a:xfrm>
          <a:custGeom>
            <a:avLst/>
            <a:gdLst/>
            <a:ahLst/>
            <a:cxnLst/>
            <a:rect l="l" t="t" r="r" b="b"/>
            <a:pathLst>
              <a:path w="1677972" h="1453530">
                <a:moveTo>
                  <a:pt x="1510531" y="0"/>
                </a:moveTo>
                <a:lnTo>
                  <a:pt x="1677972" y="317069"/>
                </a:lnTo>
                <a:cubicBezTo>
                  <a:pt x="1541407" y="381195"/>
                  <a:pt x="1446998" y="445025"/>
                  <a:pt x="1394747" y="508557"/>
                </a:cubicBezTo>
                <a:cubicBezTo>
                  <a:pt x="1342496" y="572090"/>
                  <a:pt x="1313402" y="647201"/>
                  <a:pt x="1307464" y="733890"/>
                </a:cubicBezTo>
                <a:lnTo>
                  <a:pt x="1677972" y="733890"/>
                </a:lnTo>
                <a:lnTo>
                  <a:pt x="1677972" y="1453530"/>
                </a:lnTo>
                <a:lnTo>
                  <a:pt x="903112" y="1453530"/>
                </a:lnTo>
                <a:lnTo>
                  <a:pt x="903112" y="856799"/>
                </a:lnTo>
                <a:cubicBezTo>
                  <a:pt x="903112" y="637106"/>
                  <a:pt x="948832" y="463728"/>
                  <a:pt x="1040271" y="336663"/>
                </a:cubicBezTo>
                <a:cubicBezTo>
                  <a:pt x="1131711" y="209598"/>
                  <a:pt x="1288464" y="97377"/>
                  <a:pt x="1510531" y="0"/>
                </a:cubicBezTo>
                <a:close/>
                <a:moveTo>
                  <a:pt x="607419" y="0"/>
                </a:moveTo>
                <a:lnTo>
                  <a:pt x="774860" y="317069"/>
                </a:lnTo>
                <a:cubicBezTo>
                  <a:pt x="638294" y="381195"/>
                  <a:pt x="543886" y="445025"/>
                  <a:pt x="491635" y="508557"/>
                </a:cubicBezTo>
                <a:cubicBezTo>
                  <a:pt x="439384" y="572090"/>
                  <a:pt x="410290" y="647201"/>
                  <a:pt x="404352" y="733890"/>
                </a:cubicBezTo>
                <a:lnTo>
                  <a:pt x="774860" y="733890"/>
                </a:lnTo>
                <a:lnTo>
                  <a:pt x="774860" y="1453530"/>
                </a:lnTo>
                <a:lnTo>
                  <a:pt x="0" y="1453530"/>
                </a:lnTo>
                <a:lnTo>
                  <a:pt x="0" y="856799"/>
                </a:lnTo>
                <a:cubicBezTo>
                  <a:pt x="0" y="637106"/>
                  <a:pt x="45720" y="463728"/>
                  <a:pt x="137159" y="336663"/>
                </a:cubicBezTo>
                <a:cubicBezTo>
                  <a:pt x="228598" y="209598"/>
                  <a:pt x="385352" y="97377"/>
                  <a:pt x="607419" y="0"/>
                </a:cubicBez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6">
                  <a:lumMod val="50000"/>
                </a:schemeClr>
              </a:gs>
            </a:gsLst>
            <a:lin ang="36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6EB7DDE-2EE7-5321-8A74-B230052EAD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14866" y="1492461"/>
            <a:ext cx="6988871" cy="504754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96FA1CF-AD8C-F498-9DA3-E59AB746D9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14867" y="2721846"/>
            <a:ext cx="2064064" cy="246221"/>
          </a:xfrm>
        </p:spPr>
        <p:txBody>
          <a:bodyPr/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C444DC7F-A2EE-0717-D281-9DFD5EABFA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80096" y="2721846"/>
            <a:ext cx="2064064" cy="246221"/>
          </a:xfrm>
        </p:spPr>
        <p:txBody>
          <a:bodyPr/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1A2DDC52-6946-F66C-BE7B-1C94E72224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5324" y="2721846"/>
            <a:ext cx="2064064" cy="246221"/>
          </a:xfrm>
        </p:spPr>
        <p:txBody>
          <a:bodyPr/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964FDC3-77C6-BEB3-6680-BC857200B7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14867" y="3057526"/>
            <a:ext cx="2064064" cy="2308013"/>
          </a:xfrm>
        </p:spPr>
        <p:txBody>
          <a:bodyPr>
            <a:no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400"/>
              </a:spcAft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11CE9894-8775-BC50-BE06-5CE40F70FB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80096" y="3057526"/>
            <a:ext cx="2064064" cy="2308013"/>
          </a:xfrm>
        </p:spPr>
        <p:txBody>
          <a:bodyPr>
            <a:no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400"/>
              </a:spcAft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A82104D7-A817-48E7-97F6-5DBF07E082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45324" y="3057526"/>
            <a:ext cx="2064064" cy="2308013"/>
          </a:xfrm>
        </p:spPr>
        <p:txBody>
          <a:bodyPr>
            <a:no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400"/>
              </a:spcAft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44C1429-C176-2133-2618-F4C4271B50F2}"/>
              </a:ext>
            </a:extLst>
          </p:cNvPr>
          <p:cNvCxnSpPr>
            <a:cxnSpLocks/>
          </p:cNvCxnSpPr>
          <p:nvPr userDrawn="1"/>
        </p:nvCxnSpPr>
        <p:spPr>
          <a:xfrm>
            <a:off x="4614866" y="5532576"/>
            <a:ext cx="6994522" cy="0"/>
          </a:xfrm>
          <a:prstGeom prst="line">
            <a:avLst/>
          </a:prstGeom>
          <a:solidFill>
            <a:schemeClr val="tx1"/>
          </a:solidFill>
          <a:ln w="19050" cap="rnd">
            <a:gradFill flip="none" rotWithShape="1">
              <a:gsLst>
                <a:gs pos="0">
                  <a:schemeClr val="accent1"/>
                </a:gs>
                <a:gs pos="100000">
                  <a:schemeClr val="accent6">
                    <a:lumMod val="5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>
            <a:outerShdw blurRad="177800" dist="12700" dir="13500000" algn="br" rotWithShape="0">
              <a:schemeClr val="tx1">
                <a:lumMod val="85000"/>
                <a:alpha val="30000"/>
              </a:schemeClr>
            </a:outerShdw>
          </a:effectLst>
        </p:spPr>
      </p:cxn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405AE6D6-9FEE-8F72-1F01-24A5051A28E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14867" y="5693645"/>
            <a:ext cx="6988870" cy="606733"/>
          </a:xfrm>
        </p:spPr>
        <p:txBody>
          <a:bodyPr>
            <a:no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2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0" algn="r">
              <a:buNone/>
              <a:defRPr sz="140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0923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AB207AD-DEAE-154A-A901-6FD356CDE8A4}"/>
              </a:ext>
            </a:extLst>
          </p:cNvPr>
          <p:cNvSpPr/>
          <p:nvPr userDrawn="1"/>
        </p:nvSpPr>
        <p:spPr>
          <a:xfrm>
            <a:off x="2961411" y="3291776"/>
            <a:ext cx="9230589" cy="1414956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C7BF76F-4846-4D42-BB24-41761B401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6270" y="6299345"/>
            <a:ext cx="1554480" cy="33310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5F6FC98-BF54-8E4B-ADCE-416C088B5FD5}"/>
              </a:ext>
            </a:extLst>
          </p:cNvPr>
          <p:cNvSpPr txBox="1"/>
          <p:nvPr userDrawn="1"/>
        </p:nvSpPr>
        <p:spPr>
          <a:xfrm>
            <a:off x="3268758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uation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CEABE899-10A3-484A-9A5F-6B1D4CB09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68758" y="3460224"/>
            <a:ext cx="8643841" cy="83026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1800" b="0" i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28">
            <a:extLst>
              <a:ext uri="{FF2B5EF4-FFF2-40B4-BE49-F238E27FC236}">
                <a16:creationId xmlns:a16="http://schemas.microsoft.com/office/drawing/2014/main" id="{E03D0DEC-BC71-A445-A3E5-9B83B80381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68758" y="5162439"/>
            <a:ext cx="256032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F5AC1971-A820-D44B-949E-127EE43819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8757" y="4423180"/>
            <a:ext cx="8643841" cy="15897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>
                <a:solidFill>
                  <a:schemeClr val="bg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9E8476-D4FE-3D4F-9EC9-5DA909E29651}"/>
              </a:ext>
            </a:extLst>
          </p:cNvPr>
          <p:cNvSpPr txBox="1"/>
          <p:nvPr userDrawn="1"/>
        </p:nvSpPr>
        <p:spPr>
          <a:xfrm>
            <a:off x="6066854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lution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847B54F4-C98A-7F4F-8633-A67212D37E3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35863" y="5162439"/>
            <a:ext cx="228600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1EBCCF4-5394-C04F-AA62-05007544FC0C}"/>
              </a:ext>
            </a:extLst>
          </p:cNvPr>
          <p:cNvSpPr txBox="1"/>
          <p:nvPr userDrawn="1"/>
        </p:nvSpPr>
        <p:spPr>
          <a:xfrm>
            <a:off x="8728648" y="4875180"/>
            <a:ext cx="19053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mpact:</a:t>
            </a:r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817B977B-57E9-154C-AA12-E0B3A70688D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728648" y="5162439"/>
            <a:ext cx="3017520" cy="14700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3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70BBFF-3B0B-644F-878A-E178AF5B45E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01737" y="436245"/>
            <a:ext cx="2103120" cy="21031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C57D4FA-1216-4944-BBF6-C83155F9ED20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960688" y="0"/>
            <a:ext cx="9235440" cy="3292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Horizontal banner image</a:t>
            </a:r>
          </a:p>
        </p:txBody>
      </p:sp>
      <p:sp>
        <p:nvSpPr>
          <p:cNvPr id="17" name="Text Placeholder 44">
            <a:extLst>
              <a:ext uri="{FF2B5EF4-FFF2-40B4-BE49-F238E27FC236}">
                <a16:creationId xmlns:a16="http://schemas.microsoft.com/office/drawing/2014/main" id="{7EE6957E-64E7-4044-BFE8-2BF3980E5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0297" y="3596575"/>
            <a:ext cx="2286000" cy="239782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1000" b="1" i="0">
                <a:solidFill>
                  <a:schemeClr val="bg1">
                    <a:lumMod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6210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r Sto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806525-DE5C-2A73-FC52-B45FE5ED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168099" y="3649663"/>
            <a:ext cx="8023901" cy="0"/>
          </a:xfrm>
          <a:prstGeom prst="line">
            <a:avLst/>
          </a:prstGeom>
          <a:ln w="107950">
            <a:gradFill flip="none" rotWithShape="1">
              <a:gsLst>
                <a:gs pos="0">
                  <a:schemeClr val="tx1">
                    <a:lumMod val="10000"/>
                    <a:lumOff val="90000"/>
                  </a:schemeClr>
                </a:gs>
                <a:gs pos="100000">
                  <a:schemeClr val="tx1">
                    <a:lumMod val="25000"/>
                    <a:lumOff val="75000"/>
                  </a:schemeClr>
                </a:gs>
              </a:gsLst>
              <a:lin ang="3000000" scaled="0"/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B0DF3B8-CE76-F9D2-1168-C3F04360B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4559017" y="3224475"/>
            <a:ext cx="850376" cy="850376"/>
            <a:chOff x="5047758" y="912128"/>
            <a:chExt cx="763571" cy="771525"/>
          </a:xfrm>
          <a:effectLst>
            <a:outerShdw blurRad="63500" sx="102000" sy="102000" algn="ctr" rotWithShape="0">
              <a:schemeClr val="bg1">
                <a:lumMod val="75000"/>
                <a:alpha val="40000"/>
              </a:schemeClr>
            </a:outerShdw>
          </a:effectLst>
        </p:grpSpPr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9CBDCD4F-C35A-0D20-90B0-D7BCF550C5C9}"/>
                </a:ext>
              </a:extLst>
            </p:cNvPr>
            <p:cNvSpPr/>
            <p:nvPr/>
          </p:nvSpPr>
          <p:spPr>
            <a:xfrm>
              <a:off x="5047758" y="912128"/>
              <a:ext cx="763571" cy="771525"/>
            </a:xfrm>
            <a:custGeom>
              <a:avLst/>
              <a:gdLst>
                <a:gd name="connsiteX0" fmla="*/ -664 w 763571"/>
                <a:gd name="connsiteY0" fmla="*/ 385541 h 771525"/>
                <a:gd name="connsiteX1" fmla="*/ 381122 w 763571"/>
                <a:gd name="connsiteY1" fmla="*/ -222 h 771525"/>
                <a:gd name="connsiteX2" fmla="*/ 762907 w 763571"/>
                <a:gd name="connsiteY2" fmla="*/ 385541 h 771525"/>
                <a:gd name="connsiteX3" fmla="*/ 381122 w 763571"/>
                <a:gd name="connsiteY3" fmla="*/ 771303 h 771525"/>
                <a:gd name="connsiteX4" fmla="*/ -664 w 763571"/>
                <a:gd name="connsiteY4" fmla="*/ 385541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571" h="771525">
                  <a:moveTo>
                    <a:pt x="-664" y="385541"/>
                  </a:moveTo>
                  <a:cubicBezTo>
                    <a:pt x="-664" y="172485"/>
                    <a:pt x="170263" y="-222"/>
                    <a:pt x="381122" y="-222"/>
                  </a:cubicBezTo>
                  <a:cubicBezTo>
                    <a:pt x="591980" y="-222"/>
                    <a:pt x="762907" y="172485"/>
                    <a:pt x="762907" y="385541"/>
                  </a:cubicBezTo>
                  <a:cubicBezTo>
                    <a:pt x="762907" y="598596"/>
                    <a:pt x="591980" y="771303"/>
                    <a:pt x="381122" y="771303"/>
                  </a:cubicBezTo>
                  <a:cubicBezTo>
                    <a:pt x="170263" y="771303"/>
                    <a:pt x="-664" y="598596"/>
                    <a:pt x="-664" y="385541"/>
                  </a:cubicBezTo>
                  <a:close/>
                </a:path>
              </a:pathLst>
            </a:custGeom>
            <a:solidFill>
              <a:srgbClr val="FFFFFF"/>
            </a:solidFill>
            <a:ln w="942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AFD0939E-DD77-591D-EA85-50536385172A}"/>
                </a:ext>
              </a:extLst>
            </p:cNvPr>
            <p:cNvSpPr/>
            <p:nvPr/>
          </p:nvSpPr>
          <p:spPr>
            <a:xfrm>
              <a:off x="5118460" y="983566"/>
              <a:ext cx="622169" cy="628650"/>
            </a:xfrm>
            <a:custGeom>
              <a:avLst/>
              <a:gdLst>
                <a:gd name="connsiteX0" fmla="*/ -664 w 622169"/>
                <a:gd name="connsiteY0" fmla="*/ 314103 h 628650"/>
                <a:gd name="connsiteX1" fmla="*/ 310421 w 622169"/>
                <a:gd name="connsiteY1" fmla="*/ -222 h 628650"/>
                <a:gd name="connsiteX2" fmla="*/ 621505 w 622169"/>
                <a:gd name="connsiteY2" fmla="*/ 314103 h 628650"/>
                <a:gd name="connsiteX3" fmla="*/ 310421 w 622169"/>
                <a:gd name="connsiteY3" fmla="*/ 628428 h 628650"/>
                <a:gd name="connsiteX4" fmla="*/ -664 w 622169"/>
                <a:gd name="connsiteY4" fmla="*/ 314103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628650">
                  <a:moveTo>
                    <a:pt x="-664" y="314103"/>
                  </a:moveTo>
                  <a:cubicBezTo>
                    <a:pt x="-664" y="140510"/>
                    <a:pt x="138617" y="-222"/>
                    <a:pt x="310421" y="-222"/>
                  </a:cubicBezTo>
                  <a:cubicBezTo>
                    <a:pt x="482224" y="-222"/>
                    <a:pt x="621505" y="140510"/>
                    <a:pt x="621505" y="314103"/>
                  </a:cubicBezTo>
                  <a:cubicBezTo>
                    <a:pt x="621505" y="487696"/>
                    <a:pt x="482224" y="628428"/>
                    <a:pt x="310421" y="628428"/>
                  </a:cubicBezTo>
                  <a:cubicBezTo>
                    <a:pt x="138617" y="628428"/>
                    <a:pt x="-664" y="487696"/>
                    <a:pt x="-664" y="314103"/>
                  </a:cubicBezTo>
                  <a:close/>
                </a:path>
              </a:pathLst>
            </a:custGeom>
            <a:noFill/>
            <a:ln w="15875" cap="flat">
              <a:gradFill flip="none" rotWithShape="1">
                <a:gsLst>
                  <a:gs pos="0">
                    <a:srgbClr val="49C5B1"/>
                  </a:gs>
                  <a:gs pos="100000">
                    <a:schemeClr val="tx2"/>
                  </a:gs>
                </a:gsLst>
                <a:path path="circle">
                  <a:fillToRect l="100000" t="100000"/>
                </a:path>
                <a:tileRect r="-100000" b="-100000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2C85C5B-AB16-B643-4172-7EC4E8603604}"/>
              </a:ext>
            </a:extLst>
          </p:cNvPr>
          <p:cNvSpPr/>
          <p:nvPr userDrawn="1"/>
        </p:nvSpPr>
        <p:spPr>
          <a:xfrm>
            <a:off x="0" y="0"/>
            <a:ext cx="4168099" cy="6858000"/>
          </a:xfrm>
          <a:custGeom>
            <a:avLst/>
            <a:gdLst>
              <a:gd name="connsiteX0" fmla="*/ 0 w 1641815"/>
              <a:gd name="connsiteY0" fmla="*/ 0 h 1641815"/>
              <a:gd name="connsiteX1" fmla="*/ 1641816 w 1641815"/>
              <a:gd name="connsiteY1" fmla="*/ 0 h 1641815"/>
              <a:gd name="connsiteX2" fmla="*/ 1641816 w 1641815"/>
              <a:gd name="connsiteY2" fmla="*/ 1641816 h 1641815"/>
              <a:gd name="connsiteX3" fmla="*/ 0 w 1641815"/>
              <a:gd name="connsiteY3" fmla="*/ 1641816 h 1641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1815" h="1641815">
                <a:moveTo>
                  <a:pt x="0" y="0"/>
                </a:moveTo>
                <a:lnTo>
                  <a:pt x="1641816" y="0"/>
                </a:lnTo>
                <a:lnTo>
                  <a:pt x="1641816" y="1641816"/>
                </a:lnTo>
                <a:lnTo>
                  <a:pt x="0" y="1641816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5000"/>
                  <a:lumOff val="95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  <a:tileRect/>
          </a:gradFill>
          <a:ln w="3416" cap="flat">
            <a:noFill/>
            <a:prstDash val="solid"/>
            <a:miter/>
          </a:ln>
          <a:effectLst>
            <a:outerShdw blurRad="152400" dist="38100" algn="l" rotWithShape="0">
              <a:schemeClr val="bg1">
                <a:lumMod val="75000"/>
                <a:alpha val="62000"/>
              </a:schemeClr>
            </a:outerShdw>
          </a:effectLst>
        </p:spPr>
        <p:txBody>
          <a:bodyPr rtlCol="0" anchor="ctr"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C2B701-E635-EC9B-8CEA-C3400000BA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4311" b="59368"/>
          <a:stretch/>
        </p:blipFill>
        <p:spPr>
          <a:xfrm>
            <a:off x="4411980" y="6010508"/>
            <a:ext cx="7213883" cy="322688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82670F0-0464-EE0B-C775-4FBF45B2C44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7675" y="2197101"/>
            <a:ext cx="3329508" cy="886397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FC94FA6-63EB-11E4-37AD-82E3649A944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4168100" y="-4"/>
            <a:ext cx="8023901" cy="2925072"/>
          </a:xfrm>
        </p:spPr>
        <p:txBody>
          <a:bodyPr>
            <a:noAutofit/>
          </a:bodyPr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F0CA992-FB73-6E07-B004-739348FE828A}"/>
              </a:ext>
            </a:extLst>
          </p:cNvPr>
          <p:cNvGrpSpPr/>
          <p:nvPr userDrawn="1"/>
        </p:nvGrpSpPr>
        <p:grpSpPr>
          <a:xfrm>
            <a:off x="0" y="1285959"/>
            <a:ext cx="3300317" cy="152167"/>
            <a:chOff x="0" y="1285959"/>
            <a:chExt cx="3300317" cy="152167"/>
          </a:xfrm>
          <a:effectLst>
            <a:outerShdw blurRad="50800" dist="254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4D68D92-5763-52FB-A3A7-5270C27AB546}"/>
                </a:ext>
              </a:extLst>
            </p:cNvPr>
            <p:cNvGrpSpPr/>
            <p:nvPr userDrawn="1"/>
          </p:nvGrpSpPr>
          <p:grpSpPr>
            <a:xfrm>
              <a:off x="2696191" y="1285959"/>
              <a:ext cx="604126" cy="152167"/>
              <a:chOff x="3049826" y="4046193"/>
              <a:chExt cx="604126" cy="152167"/>
            </a:xfrm>
            <a:effectLst>
              <a:outerShdw blurRad="25400" dist="25400" dir="5400000" algn="t" rotWithShape="0">
                <a:schemeClr val="bg1">
                  <a:lumMod val="50000"/>
                  <a:alpha val="30000"/>
                </a:schemeClr>
              </a:outerShdw>
            </a:effectLst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09E4DF60-CD3E-F5C7-2843-D8963FD99175}"/>
                  </a:ext>
                </a:extLst>
              </p:cNvPr>
              <p:cNvSpPr/>
              <p:nvPr/>
            </p:nvSpPr>
            <p:spPr bwMode="auto">
              <a:xfrm>
                <a:off x="3049826" y="4046193"/>
                <a:ext cx="152167" cy="152167"/>
              </a:xfrm>
              <a:prstGeom prst="ellipse">
                <a:avLst/>
              </a:prstGeom>
              <a:solidFill>
                <a:schemeClr val="tx2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A010AE7-E660-7D90-7181-8E4E5E5C3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805" y="4046193"/>
                <a:ext cx="152167" cy="152167"/>
              </a:xfrm>
              <a:prstGeom prst="ellipse">
                <a:avLst/>
              </a:prstGeom>
              <a:solidFill>
                <a:srgbClr val="49C5B1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9C1F5B9B-FABF-8C65-F276-6E4F3B4AFD8F}"/>
                  </a:ext>
                </a:extLst>
              </p:cNvPr>
              <p:cNvSpPr/>
              <p:nvPr/>
            </p:nvSpPr>
            <p:spPr bwMode="auto">
              <a:xfrm>
                <a:off x="3501785" y="4046193"/>
                <a:ext cx="152167" cy="152167"/>
              </a:xfrm>
              <a:prstGeom prst="ellipse">
                <a:avLst/>
              </a:prstGeom>
              <a:solidFill>
                <a:srgbClr val="8DC8E8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A26C962-2C8D-97B9-DB60-C84F0E37AEF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2566"/>
              <a:ext cx="2703004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  <a:headEnd type="none" w="lg" len="med"/>
              <a:tailEnd type="none" w="lg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56766444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Sto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hlinkClick r:id="rId2"/>
            <a:extLst>
              <a:ext uri="{FF2B5EF4-FFF2-40B4-BE49-F238E27FC236}">
                <a16:creationId xmlns:a16="http://schemas.microsoft.com/office/drawing/2014/main" id="{500FAD07-86F3-4E70-06CB-30C65B1236A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/>
          </p:cNvSpPr>
          <p:nvPr userDrawn="1"/>
        </p:nvSpPr>
        <p:spPr bwMode="auto">
          <a:xfrm>
            <a:off x="4356100" y="3740"/>
            <a:ext cx="7835900" cy="2643381"/>
          </a:xfrm>
          <a:prstGeom prst="rect">
            <a:avLst/>
          </a:prstGeom>
          <a:gradFill flip="none" rotWithShape="1">
            <a:gsLst>
              <a:gs pos="54000">
                <a:srgbClr val="EDF0F6">
                  <a:alpha val="28000"/>
                </a:srgbClr>
              </a:gs>
              <a:gs pos="100000">
                <a:schemeClr val="bg1"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22225">
            <a:gradFill flip="none" rotWithShape="1">
              <a:gsLst>
                <a:gs pos="0">
                  <a:schemeClr val="bg1">
                    <a:alpha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3800000" scaled="0"/>
              <a:tileRect/>
            </a:gradFill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31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tx1"/>
              </a:solidFill>
              <a:latin typeface="Segoe Sans Text Semibold" pitchFamily="2" charset="0"/>
              <a:cs typeface="Segoe Sans Text Semibold" pitchFamily="2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D52FB54-DF86-26DE-3395-4FA0923C97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56100" y="3280719"/>
            <a:ext cx="7835900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rgbClr val="57B9C5"/>
                </a:gs>
              </a:gsLst>
              <a:lin ang="0" scaled="1"/>
              <a:tileRect/>
            </a:gradFill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4_1">
            <a:extLst>
              <a:ext uri="{FF2B5EF4-FFF2-40B4-BE49-F238E27FC236}">
                <a16:creationId xmlns:a16="http://schemas.microsoft.com/office/drawing/2014/main" id="{3C3D9862-8FFF-CA67-363C-CF5AA9142B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4648729" y="2911360"/>
            <a:ext cx="738718" cy="738718"/>
          </a:xfrm>
          <a:prstGeom prst="ellipse">
            <a:avLst/>
          </a:prstGeom>
          <a:solidFill>
            <a:schemeClr val="bg1"/>
          </a:solidFill>
          <a:ln w="25400" cap="flat">
            <a:noFill/>
            <a:prstDash val="solid"/>
            <a:miter/>
          </a:ln>
          <a:effectLst>
            <a:outerShdw blurRad="190500" dist="114300" dir="5400000" sx="96000" sy="96000" algn="t" rotWithShape="0">
              <a:schemeClr val="bg1">
                <a:lumMod val="65000"/>
                <a:alpha val="48000"/>
              </a:scheme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7485420-5CAD-13F1-47B2-0C994487C6C4}"/>
              </a:ext>
            </a:extLst>
          </p:cNvPr>
          <p:cNvSpPr/>
          <p:nvPr userDrawn="1"/>
        </p:nvSpPr>
        <p:spPr>
          <a:xfrm>
            <a:off x="293687" y="0"/>
            <a:ext cx="4062413" cy="6561438"/>
          </a:xfrm>
          <a:prstGeom prst="round2SameRect">
            <a:avLst>
              <a:gd name="adj1" fmla="val 0"/>
              <a:gd name="adj2" fmla="val 4714"/>
            </a:avLst>
          </a:pr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49000"/>
              </a:srgbClr>
            </a:outerShdw>
          </a:effectLst>
        </p:spPr>
        <p:txBody>
          <a:bodyPr rot="0" spcFirstLastPara="0" vertOverflow="overflow" horzOverflow="overflow" vert="horz" wrap="square" lIns="0" tIns="4572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kern="0">
              <a:solidFill>
                <a:srgbClr val="000000"/>
              </a:solidFill>
              <a:latin typeface="Segoe Sans Small" pitchFamily="2" charset="0"/>
              <a:cs typeface="Segoe Sans Small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1BD506-6345-AEE6-1FBD-AA769E3A2B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4311" b="59368"/>
          <a:stretch/>
        </p:blipFill>
        <p:spPr>
          <a:xfrm>
            <a:off x="4411980" y="6053393"/>
            <a:ext cx="7213883" cy="322688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7C0AA97-E3A4-47CA-D834-12FF6EB578B0}"/>
              </a:ext>
            </a:extLst>
          </p:cNvPr>
          <p:cNvGrpSpPr/>
          <p:nvPr userDrawn="1"/>
        </p:nvGrpSpPr>
        <p:grpSpPr>
          <a:xfrm>
            <a:off x="293687" y="1345023"/>
            <a:ext cx="3300317" cy="152167"/>
            <a:chOff x="353635" y="4046193"/>
            <a:chExt cx="3300317" cy="152167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C77A246-9A05-B2BB-A944-D8C96D62162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3635" y="4122276"/>
              <a:ext cx="2703004" cy="0"/>
            </a:xfrm>
            <a:prstGeom prst="line">
              <a:avLst/>
            </a:prstGeom>
            <a:noFill/>
            <a:ln w="22225" cap="flat" cmpd="sng" algn="ctr">
              <a:solidFill>
                <a:schemeClr val="bg1"/>
              </a:solidFill>
              <a:prstDash val="solid"/>
              <a:headEnd type="none" w="lg" len="med"/>
              <a:tailEnd type="none" w="lg" len="med"/>
            </a:ln>
            <a:effectLst>
              <a:outerShdw blurRad="25400" dist="25400" dir="5400000" algn="t" rotWithShape="0">
                <a:schemeClr val="bg1">
                  <a:lumMod val="50000"/>
                  <a:alpha val="30000"/>
                </a:schemeClr>
              </a:outerShdw>
            </a:effectLst>
          </p:spPr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999A071-8C7B-8C4B-453C-F5BE4623B880}"/>
                </a:ext>
              </a:extLst>
            </p:cNvPr>
            <p:cNvGrpSpPr/>
            <p:nvPr userDrawn="1"/>
          </p:nvGrpSpPr>
          <p:grpSpPr>
            <a:xfrm>
              <a:off x="3049826" y="4046193"/>
              <a:ext cx="604126" cy="152167"/>
              <a:chOff x="3049826" y="4046193"/>
              <a:chExt cx="604126" cy="152167"/>
            </a:xfrm>
            <a:effectLst>
              <a:outerShdw blurRad="25400" dist="25400" dir="5400000" algn="t" rotWithShape="0">
                <a:schemeClr val="bg1">
                  <a:lumMod val="50000"/>
                  <a:alpha val="30000"/>
                </a:schemeClr>
              </a:outerShdw>
            </a:effectLst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03020CCD-4FC2-30FE-85FC-13E1B0B8FD0D}"/>
                  </a:ext>
                </a:extLst>
              </p:cNvPr>
              <p:cNvSpPr/>
              <p:nvPr/>
            </p:nvSpPr>
            <p:spPr bwMode="auto">
              <a:xfrm>
                <a:off x="3049826" y="4046193"/>
                <a:ext cx="152167" cy="152167"/>
              </a:xfrm>
              <a:prstGeom prst="ellipse">
                <a:avLst/>
              </a:prstGeom>
              <a:solidFill>
                <a:srgbClr val="225B62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E7B6DD8-2BFB-0F07-BC30-53F635133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805" y="4046193"/>
                <a:ext cx="152167" cy="152167"/>
              </a:xfrm>
              <a:prstGeom prst="ellipse">
                <a:avLst/>
              </a:prstGeom>
              <a:solidFill>
                <a:srgbClr val="57B9C5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303A6BF6-9A9B-256B-AE98-1FC38DD4FFFD}"/>
                  </a:ext>
                </a:extLst>
              </p:cNvPr>
              <p:cNvSpPr/>
              <p:nvPr/>
            </p:nvSpPr>
            <p:spPr bwMode="auto">
              <a:xfrm>
                <a:off x="3501785" y="4046193"/>
                <a:ext cx="152167" cy="152167"/>
              </a:xfrm>
              <a:prstGeom prst="ellipse">
                <a:avLst/>
              </a:prstGeom>
              <a:solidFill>
                <a:srgbClr val="8EC8E9"/>
              </a:solidFill>
              <a:ln w="22225" cap="flat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582670F0-0464-EE0B-C775-4FBF45B2C44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197101"/>
            <a:ext cx="3329508" cy="984885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FC94FA6-63EB-11E4-37AD-82E3649A944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4356100" y="3740"/>
            <a:ext cx="7835900" cy="2643381"/>
          </a:xfrm>
        </p:spPr>
        <p:txBody>
          <a:bodyPr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63734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 With Graphic">
    <p:bg>
      <p:bgPr>
        <a:solidFill>
          <a:srgbClr val="F6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12EDCC3-5F98-023C-36D9-2493182DED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C527C0E-D239-1778-413E-0A0955425748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8000">
                <a:srgbClr val="F6F6F7"/>
              </a:gs>
              <a:gs pos="87000">
                <a:srgbClr val="F6F6F7">
                  <a:alpha val="0"/>
                </a:srgbClr>
              </a:gs>
            </a:gsLst>
            <a:lin ang="3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A2120261-0268-541D-F4FD-777366C6F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963" y="457200"/>
            <a:ext cx="11017250" cy="554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Lorem ipsum dolor sit amet</a:t>
            </a:r>
            <a:endParaRPr lang="en-US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8F4AC3C-2DFE-9D06-A6B9-BE7C234830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263" y="1083009"/>
            <a:ext cx="11018520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0" name="Rectangle: Top Corners Rounded 32">
            <a:extLst>
              <a:ext uri="{FF2B5EF4-FFF2-40B4-BE49-F238E27FC236}">
                <a16:creationId xmlns:a16="http://schemas.microsoft.com/office/drawing/2014/main" id="{A56E7627-9C90-32AC-587D-30EBCA4C72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16200000">
            <a:off x="2154580" y="402231"/>
            <a:ext cx="4286134" cy="7413545"/>
          </a:xfrm>
          <a:prstGeom prst="round2SameRect">
            <a:avLst>
              <a:gd name="adj1" fmla="val 3269"/>
              <a:gd name="adj2" fmla="val 0"/>
            </a:avLst>
          </a:prstGeom>
          <a:solidFill>
            <a:schemeClr val="bg2"/>
          </a:solidFill>
          <a:ln w="3175" cap="flat">
            <a:solidFill>
              <a:schemeClr val="bg1">
                <a:lumMod val="95000"/>
              </a:schemeClr>
            </a:solidFill>
            <a:prstDash val="solid"/>
            <a:miter/>
          </a:ln>
          <a:effectLst>
            <a:outerShdw blurRad="50800" dist="38100" dir="8100000" algn="tr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 flip="none" rotWithShape="1">
                <a:gsLst>
                  <a:gs pos="18000">
                    <a:srgbClr val="091F2C">
                      <a:lumMod val="50000"/>
                      <a:lumOff val="50000"/>
                    </a:srgbClr>
                  </a:gs>
                  <a:gs pos="67000">
                    <a:srgbClr val="091F2C">
                      <a:lumMod val="90000"/>
                      <a:lumOff val="10000"/>
                    </a:srgbClr>
                  </a:gs>
                </a:gsLst>
                <a:path path="circle">
                  <a:fillToRect r="100000" b="100000"/>
                </a:path>
                <a:tileRect l="-100000" t="-100000"/>
              </a:gradFill>
              <a:effectLst/>
              <a:uLnTx/>
              <a:uFillTx/>
              <a:latin typeface="Segoe Sans Display Semibold" pitchFamily="2" charset="0"/>
              <a:ea typeface="+mn-ea"/>
              <a:cs typeface="Segoe Sans Display Semibold" pitchFamily="2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5563F63-BBF6-BD54-45AF-61AEB4552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2240546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7AE0F95-81F5-989F-CDDF-2386E9F631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3058208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DF5C711-B06E-707B-359E-4CDF166B6D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2087" y="2254855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54D2473C-2A58-D8C9-FF52-E6BB25EC58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2087" y="4360273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0C4F5873-AA53-F70C-6AD9-4AA3BAD5B6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2087" y="5412982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55F5DBC-A40F-2514-3205-282CFDEAFC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5163626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DB0C0390-7E27-92D8-7428-B0C949373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4345964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E432945-6D84-07B9-8F35-D06F439D05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5398673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DA9ACE0-A12D-9419-6E98-BA814980A29C}"/>
              </a:ext>
            </a:extLst>
          </p:cNvPr>
          <p:cNvGrpSpPr/>
          <p:nvPr userDrawn="1"/>
        </p:nvGrpSpPr>
        <p:grpSpPr>
          <a:xfrm>
            <a:off x="7819995" y="1792878"/>
            <a:ext cx="3786790" cy="4607922"/>
            <a:chOff x="7819995" y="1792878"/>
            <a:chExt cx="3786790" cy="4607922"/>
          </a:xfrm>
        </p:grpSpPr>
        <p:pic>
          <p:nvPicPr>
            <p:cNvPr id="40" name="Picture Placeholder 3">
              <a:extLst>
                <a:ext uri="{FF2B5EF4-FFF2-40B4-BE49-F238E27FC236}">
                  <a16:creationId xmlns:a16="http://schemas.microsoft.com/office/drawing/2014/main" id="{DB02B09D-05F0-36CF-7CB5-B17A938655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100000"/>
                      </a14:imgEffect>
                      <a14:imgEffect>
                        <a14:brightnessContrast bright="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182" t="26118" r="4800" b="6760"/>
            <a:stretch/>
          </p:blipFill>
          <p:spPr>
            <a:xfrm>
              <a:off x="7825083" y="1792943"/>
              <a:ext cx="3781702" cy="4607853"/>
            </a:xfrm>
            <a:custGeom>
              <a:avLst/>
              <a:gdLst>
                <a:gd name="connsiteX0" fmla="*/ 115254 w 11022585"/>
                <a:gd name="connsiteY0" fmla="*/ 0 h 4610101"/>
                <a:gd name="connsiteX1" fmla="*/ 10907332 w 11022585"/>
                <a:gd name="connsiteY1" fmla="*/ 0 h 4610101"/>
                <a:gd name="connsiteX2" fmla="*/ 11022585 w 11022585"/>
                <a:gd name="connsiteY2" fmla="*/ 115253 h 4610101"/>
                <a:gd name="connsiteX3" fmla="*/ 11022585 w 11022585"/>
                <a:gd name="connsiteY3" fmla="*/ 4494848 h 4610101"/>
                <a:gd name="connsiteX4" fmla="*/ 10907332 w 11022585"/>
                <a:gd name="connsiteY4" fmla="*/ 4610101 h 4610101"/>
                <a:gd name="connsiteX5" fmla="*/ 115253 w 11022585"/>
                <a:gd name="connsiteY5" fmla="*/ 4610100 h 4610101"/>
                <a:gd name="connsiteX6" fmla="*/ 0 w 11022585"/>
                <a:gd name="connsiteY6" fmla="*/ 4494847 h 4610101"/>
                <a:gd name="connsiteX7" fmla="*/ 1 w 11022585"/>
                <a:gd name="connsiteY7" fmla="*/ 115253 h 4610101"/>
                <a:gd name="connsiteX8" fmla="*/ 115254 w 11022585"/>
                <a:gd name="connsiteY8" fmla="*/ 0 h 461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22585" h="4610101">
                  <a:moveTo>
                    <a:pt x="115254" y="0"/>
                  </a:moveTo>
                  <a:lnTo>
                    <a:pt x="10907332" y="0"/>
                  </a:lnTo>
                  <a:cubicBezTo>
                    <a:pt x="10970984" y="0"/>
                    <a:pt x="11022585" y="51601"/>
                    <a:pt x="11022585" y="115253"/>
                  </a:cubicBezTo>
                  <a:lnTo>
                    <a:pt x="11022585" y="4494848"/>
                  </a:lnTo>
                  <a:cubicBezTo>
                    <a:pt x="11022585" y="4558500"/>
                    <a:pt x="10970984" y="4610101"/>
                    <a:pt x="10907332" y="4610101"/>
                  </a:cubicBezTo>
                  <a:cubicBezTo>
                    <a:pt x="7309972" y="4610101"/>
                    <a:pt x="3712613" y="4610100"/>
                    <a:pt x="115253" y="4610100"/>
                  </a:cubicBezTo>
                  <a:cubicBezTo>
                    <a:pt x="51601" y="4610100"/>
                    <a:pt x="0" y="4558499"/>
                    <a:pt x="0" y="4494847"/>
                  </a:cubicBezTo>
                  <a:lnTo>
                    <a:pt x="1" y="115253"/>
                  </a:lnTo>
                  <a:cubicBezTo>
                    <a:pt x="1" y="51601"/>
                    <a:pt x="51602" y="0"/>
                    <a:pt x="115254" y="0"/>
                  </a:cubicBezTo>
                  <a:close/>
                </a:path>
              </a:pathLst>
            </a:custGeom>
            <a:effectLst>
              <a:outerShdw blurRad="136401" dist="38100" dir="5400000" algn="t" rotWithShape="0">
                <a:prstClr val="black">
                  <a:alpha val="24590"/>
                </a:prstClr>
              </a:outerShdw>
            </a:effectLst>
          </p:spPr>
        </p:pic>
        <p:sp>
          <p:nvSpPr>
            <p:cNvPr id="41" name="Rectangle: Rounded Corners 36">
              <a:extLst>
                <a:ext uri="{FF2B5EF4-FFF2-40B4-BE49-F238E27FC236}">
                  <a16:creationId xmlns:a16="http://schemas.microsoft.com/office/drawing/2014/main" id="{BA579001-9560-14C0-1C83-DC89C77683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5400000">
              <a:off x="7409429" y="2203444"/>
              <a:ext cx="4607922" cy="3786790"/>
            </a:xfrm>
            <a:prstGeom prst="roundRect">
              <a:avLst>
                <a:gd name="adj" fmla="val 2504"/>
              </a:avLst>
            </a:prstGeom>
            <a:gradFill flip="none" rotWithShape="1">
              <a:gsLst>
                <a:gs pos="0">
                  <a:srgbClr val="8DC8E8">
                    <a:alpha val="60000"/>
                  </a:srgbClr>
                </a:gs>
                <a:gs pos="22465">
                  <a:srgbClr val="8DC8E8">
                    <a:alpha val="37112"/>
                  </a:srgbClr>
                </a:gs>
                <a:gs pos="41583">
                  <a:srgbClr val="D4EC8E">
                    <a:alpha val="0"/>
                  </a:srgbClr>
                </a:gs>
                <a:gs pos="48805">
                  <a:srgbClr val="D4EC8E">
                    <a:alpha val="0"/>
                  </a:srgbClr>
                </a:gs>
                <a:gs pos="55970">
                  <a:srgbClr val="D4EC8E">
                    <a:alpha val="0"/>
                  </a:srgbClr>
                </a:gs>
                <a:gs pos="100000">
                  <a:srgbClr val="D4EC8E">
                    <a:alpha val="32000"/>
                  </a:srgbClr>
                </a:gs>
              </a:gsLst>
              <a:lin ang="18900000" scaled="1"/>
              <a:tileRect/>
            </a:gradFill>
            <a:ln w="28575">
              <a:solidFill>
                <a:schemeClr val="bg1"/>
              </a:solidFill>
              <a:miter lim="400000"/>
            </a:ln>
            <a:effectLst>
              <a:outerShdw blurRad="377557" sx="102000" sy="102000" algn="ctr" rotWithShape="0">
                <a:schemeClr val="bg1">
                  <a:lumMod val="85000"/>
                  <a:alpha val="40000"/>
                </a:schemeClr>
              </a:outerShdw>
            </a:effectLst>
          </p:spPr>
          <p:txBody>
            <a:bodyPr lIns="146304" tIns="146304" rIns="146304" bIns="146304"/>
            <a:lstStyle/>
            <a:p>
              <a:endParaRPr lang="en-GB"/>
            </a:p>
          </p:txBody>
        </p:sp>
        <p:sp>
          <p:nvSpPr>
            <p:cNvPr id="42" name="Rectangle: Top Corners Rounded 6">
              <a:extLst>
                <a:ext uri="{FF2B5EF4-FFF2-40B4-BE49-F238E27FC236}">
                  <a16:creationId xmlns:a16="http://schemas.microsoft.com/office/drawing/2014/main" id="{1360BD79-F8A0-6147-555A-4AF563C78E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 rot="5400000">
              <a:off x="7409429" y="2203444"/>
              <a:ext cx="4607922" cy="3786790"/>
            </a:xfrm>
            <a:prstGeom prst="round2SameRect">
              <a:avLst>
                <a:gd name="adj1" fmla="val 2500"/>
                <a:gd name="adj2" fmla="val 2500"/>
              </a:avLst>
            </a:prstGeom>
            <a:gradFill>
              <a:gsLst>
                <a:gs pos="0">
                  <a:schemeClr val="bg1">
                    <a:alpha val="43089"/>
                  </a:schemeClr>
                </a:gs>
                <a:gs pos="99000">
                  <a:schemeClr val="bg1"/>
                </a:gs>
              </a:gsLst>
              <a:lin ang="8100000" scaled="1"/>
            </a:gradFill>
            <a:ln w="12700" cap="flat">
              <a:solidFill>
                <a:schemeClr val="bg2"/>
              </a:solidFill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</p:grp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B8DDD0CF-5785-7003-5212-3FB4741EA9B4}"/>
              </a:ext>
            </a:extLst>
          </p:cNvPr>
          <p:cNvSpPr/>
          <p:nvPr userDrawn="1"/>
        </p:nvSpPr>
        <p:spPr bwMode="auto">
          <a:xfrm>
            <a:off x="7939814" y="4656670"/>
            <a:ext cx="3547152" cy="1650020"/>
          </a:xfrm>
          <a:prstGeom prst="roundRect">
            <a:avLst>
              <a:gd name="adj" fmla="val 9628"/>
            </a:avLst>
          </a:prstGeom>
          <a:solidFill>
            <a:schemeClr val="bg2"/>
          </a:solidFill>
          <a:ln w="9525">
            <a:noFill/>
            <a:headEnd type="none" w="med" len="med"/>
            <a:tailEnd type="none" w="med" len="med"/>
          </a:ln>
          <a:effectLst>
            <a:outerShdw blurRad="88900" algn="ctr" rotWithShape="0">
              <a:srgbClr val="B1B3B3">
                <a:alpha val="4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latin typeface="Segoe UI"/>
              <a:cs typeface="Segoe UI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ECD8292-279A-3E0C-62C1-6A50BBCBF876}"/>
              </a:ext>
            </a:extLst>
          </p:cNvPr>
          <p:cNvGrpSpPr/>
          <p:nvPr userDrawn="1"/>
        </p:nvGrpSpPr>
        <p:grpSpPr>
          <a:xfrm>
            <a:off x="8856210" y="5742592"/>
            <a:ext cx="1690076" cy="415932"/>
            <a:chOff x="8907586" y="5620152"/>
            <a:chExt cx="1690076" cy="415932"/>
          </a:xfrm>
        </p:grpSpPr>
        <p:sp>
          <p:nvSpPr>
            <p:cNvPr id="45" name="Rectangle: Rounded Corners 58">
              <a:hlinkClick r:id="rId5"/>
              <a:extLst>
                <a:ext uri="{FF2B5EF4-FFF2-40B4-BE49-F238E27FC236}">
                  <a16:creationId xmlns:a16="http://schemas.microsoft.com/office/drawing/2014/main" id="{691C4249-7407-95B6-94F2-D9037C9D1C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 rot="16200000">
              <a:off x="9544658" y="4983080"/>
              <a:ext cx="415932" cy="1690076"/>
            </a:xfrm>
            <a:prstGeom prst="roundRect">
              <a:avLst>
                <a:gd name="adj" fmla="val 49356"/>
              </a:avLst>
            </a:prstGeom>
            <a:gradFill>
              <a:gsLst>
                <a:gs pos="0">
                  <a:srgbClr val="FFFFFF">
                    <a:alpha val="16725"/>
                  </a:srgbClr>
                </a:gs>
                <a:gs pos="100000">
                  <a:schemeClr val="bg2"/>
                </a:gs>
              </a:gsLst>
              <a:lin ang="8100000" scaled="1"/>
            </a:gradFill>
            <a:ln w="28575" cap="flat">
              <a:solidFill>
                <a:srgbClr val="FFFFFF"/>
              </a:solidFill>
              <a:prstDash val="solid"/>
              <a:miter/>
            </a:ln>
            <a:effectLst>
              <a:outerShdw blurRad="127000" dist="38100" dir="5400000" algn="t" rotWithShape="0">
                <a:srgbClr val="FFFFFF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000" kern="0">
                <a:gradFill flip="none" rotWithShape="1">
                  <a:gsLst>
                    <a:gs pos="18000">
                      <a:srgbClr val="091F2C">
                        <a:lumMod val="50000"/>
                        <a:lumOff val="50000"/>
                      </a:srgbClr>
                    </a:gs>
                    <a:gs pos="67000">
                      <a:srgbClr val="091F2C">
                        <a:lumMod val="90000"/>
                        <a:lumOff val="10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Sans Display Semibold" pitchFamily="2" charset="0"/>
                <a:cs typeface="Segoe Sans Display Semibold" pitchFamily="2" charset="0"/>
              </a:endParaRPr>
            </a:p>
          </p:txBody>
        </p:sp>
        <p:sp>
          <p:nvSpPr>
            <p:cNvPr id="46" name="Graphic 16">
              <a:hlinkClick r:id="rId6"/>
              <a:extLst>
                <a:ext uri="{FF2B5EF4-FFF2-40B4-BE49-F238E27FC236}">
                  <a16:creationId xmlns:a16="http://schemas.microsoft.com/office/drawing/2014/main" id="{2DDC8BFA-FB12-2809-007D-2D81C7C21E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05875" y="5704118"/>
              <a:ext cx="246888" cy="247999"/>
            </a:xfrm>
            <a:custGeom>
              <a:avLst/>
              <a:gdLst>
                <a:gd name="connsiteX0" fmla="*/ 146972 w 293944"/>
                <a:gd name="connsiteY0" fmla="*/ 0 h 293944"/>
                <a:gd name="connsiteX1" fmla="*/ 293944 w 293944"/>
                <a:gd name="connsiteY1" fmla="*/ 146972 h 293944"/>
                <a:gd name="connsiteX2" fmla="*/ 146972 w 293944"/>
                <a:gd name="connsiteY2" fmla="*/ 293944 h 293944"/>
                <a:gd name="connsiteX3" fmla="*/ 0 w 293944"/>
                <a:gd name="connsiteY3" fmla="*/ 146972 h 293944"/>
                <a:gd name="connsiteX4" fmla="*/ 146972 w 293944"/>
                <a:gd name="connsiteY4" fmla="*/ 0 h 293944"/>
                <a:gd name="connsiteX5" fmla="*/ 158451 w 293944"/>
                <a:gd name="connsiteY5" fmla="*/ 80379 h 293944"/>
                <a:gd name="connsiteX6" fmla="*/ 157216 w 293944"/>
                <a:gd name="connsiteY6" fmla="*/ 79306 h 293944"/>
                <a:gd name="connsiteX7" fmla="*/ 144238 w 293944"/>
                <a:gd name="connsiteY7" fmla="*/ 79203 h 293944"/>
                <a:gd name="connsiteX8" fmla="*/ 142857 w 293944"/>
                <a:gd name="connsiteY8" fmla="*/ 80379 h 293944"/>
                <a:gd name="connsiteX9" fmla="*/ 141799 w 293944"/>
                <a:gd name="connsiteY9" fmla="*/ 81614 h 293944"/>
                <a:gd name="connsiteX10" fmla="*/ 141696 w 293944"/>
                <a:gd name="connsiteY10" fmla="*/ 94591 h 293944"/>
                <a:gd name="connsiteX11" fmla="*/ 142872 w 293944"/>
                <a:gd name="connsiteY11" fmla="*/ 95973 h 293944"/>
                <a:gd name="connsiteX12" fmla="*/ 182833 w 293944"/>
                <a:gd name="connsiteY12" fmla="*/ 135949 h 293944"/>
                <a:gd name="connsiteX13" fmla="*/ 84509 w 293944"/>
                <a:gd name="connsiteY13" fmla="*/ 135949 h 293944"/>
                <a:gd name="connsiteX14" fmla="*/ 83010 w 293944"/>
                <a:gd name="connsiteY14" fmla="*/ 136037 h 293944"/>
                <a:gd name="connsiteX15" fmla="*/ 73589 w 293944"/>
                <a:gd name="connsiteY15" fmla="*/ 145473 h 293944"/>
                <a:gd name="connsiteX16" fmla="*/ 73486 w 293944"/>
                <a:gd name="connsiteY16" fmla="*/ 146957 h 293944"/>
                <a:gd name="connsiteX17" fmla="*/ 73589 w 293944"/>
                <a:gd name="connsiteY17" fmla="*/ 148457 h 293944"/>
                <a:gd name="connsiteX18" fmla="*/ 83010 w 293944"/>
                <a:gd name="connsiteY18" fmla="*/ 157877 h 293944"/>
                <a:gd name="connsiteX19" fmla="*/ 84509 w 293944"/>
                <a:gd name="connsiteY19" fmla="*/ 157980 h 293944"/>
                <a:gd name="connsiteX20" fmla="*/ 182833 w 293944"/>
                <a:gd name="connsiteY20" fmla="*/ 157980 h 293944"/>
                <a:gd name="connsiteX21" fmla="*/ 142857 w 293944"/>
                <a:gd name="connsiteY21" fmla="*/ 197957 h 293944"/>
                <a:gd name="connsiteX22" fmla="*/ 141784 w 293944"/>
                <a:gd name="connsiteY22" fmla="*/ 199206 h 293944"/>
                <a:gd name="connsiteX23" fmla="*/ 143989 w 293944"/>
                <a:gd name="connsiteY23" fmla="*/ 214638 h 293944"/>
                <a:gd name="connsiteX24" fmla="*/ 157216 w 293944"/>
                <a:gd name="connsiteY24" fmla="*/ 214638 h 293944"/>
                <a:gd name="connsiteX25" fmla="*/ 158436 w 293944"/>
                <a:gd name="connsiteY25" fmla="*/ 213565 h 293944"/>
                <a:gd name="connsiteX26" fmla="*/ 217254 w 293944"/>
                <a:gd name="connsiteY26" fmla="*/ 154776 h 293944"/>
                <a:gd name="connsiteX27" fmla="*/ 218312 w 293944"/>
                <a:gd name="connsiteY27" fmla="*/ 153527 h 293944"/>
                <a:gd name="connsiteX28" fmla="*/ 218430 w 293944"/>
                <a:gd name="connsiteY28" fmla="*/ 140564 h 293944"/>
                <a:gd name="connsiteX29" fmla="*/ 217254 w 293944"/>
                <a:gd name="connsiteY29" fmla="*/ 139183 h 293944"/>
                <a:gd name="connsiteX30" fmla="*/ 158465 w 293944"/>
                <a:gd name="connsiteY30" fmla="*/ 80379 h 293944"/>
                <a:gd name="connsiteX31" fmla="*/ 157216 w 293944"/>
                <a:gd name="connsiteY31" fmla="*/ 79306 h 293944"/>
                <a:gd name="connsiteX32" fmla="*/ 158451 w 293944"/>
                <a:gd name="connsiteY32" fmla="*/ 80379 h 29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3944" h="293944">
                  <a:moveTo>
                    <a:pt x="146972" y="0"/>
                  </a:moveTo>
                  <a:cubicBezTo>
                    <a:pt x="228159" y="0"/>
                    <a:pt x="293944" y="65799"/>
                    <a:pt x="293944" y="146972"/>
                  </a:cubicBezTo>
                  <a:cubicBezTo>
                    <a:pt x="293944" y="228145"/>
                    <a:pt x="228159" y="293944"/>
                    <a:pt x="146972" y="293944"/>
                  </a:cubicBezTo>
                  <a:cubicBezTo>
                    <a:pt x="65814" y="293944"/>
                    <a:pt x="0" y="228145"/>
                    <a:pt x="0" y="146972"/>
                  </a:cubicBezTo>
                  <a:cubicBezTo>
                    <a:pt x="0" y="65799"/>
                    <a:pt x="65814" y="0"/>
                    <a:pt x="146972" y="0"/>
                  </a:cubicBezTo>
                  <a:close/>
                  <a:moveTo>
                    <a:pt x="158451" y="80379"/>
                  </a:moveTo>
                  <a:lnTo>
                    <a:pt x="157216" y="79306"/>
                  </a:lnTo>
                  <a:cubicBezTo>
                    <a:pt x="153371" y="76459"/>
                    <a:pt x="148129" y="76417"/>
                    <a:pt x="144238" y="79203"/>
                  </a:cubicBezTo>
                  <a:lnTo>
                    <a:pt x="142857" y="80379"/>
                  </a:lnTo>
                  <a:lnTo>
                    <a:pt x="141799" y="81614"/>
                  </a:lnTo>
                  <a:cubicBezTo>
                    <a:pt x="138952" y="85459"/>
                    <a:pt x="138911" y="90701"/>
                    <a:pt x="141696" y="94591"/>
                  </a:cubicBezTo>
                  <a:lnTo>
                    <a:pt x="142872" y="95973"/>
                  </a:lnTo>
                  <a:lnTo>
                    <a:pt x="182833" y="135949"/>
                  </a:lnTo>
                  <a:lnTo>
                    <a:pt x="84509" y="135949"/>
                  </a:lnTo>
                  <a:lnTo>
                    <a:pt x="83010" y="136037"/>
                  </a:lnTo>
                  <a:cubicBezTo>
                    <a:pt x="78108" y="136712"/>
                    <a:pt x="74255" y="140570"/>
                    <a:pt x="73589" y="145473"/>
                  </a:cubicBezTo>
                  <a:lnTo>
                    <a:pt x="73486" y="146957"/>
                  </a:lnTo>
                  <a:lnTo>
                    <a:pt x="73589" y="148457"/>
                  </a:lnTo>
                  <a:cubicBezTo>
                    <a:pt x="74261" y="153354"/>
                    <a:pt x="78112" y="157204"/>
                    <a:pt x="83010" y="157877"/>
                  </a:cubicBezTo>
                  <a:lnTo>
                    <a:pt x="84509" y="157980"/>
                  </a:lnTo>
                  <a:lnTo>
                    <a:pt x="182833" y="157980"/>
                  </a:lnTo>
                  <a:lnTo>
                    <a:pt x="142857" y="197957"/>
                  </a:lnTo>
                  <a:lnTo>
                    <a:pt x="141784" y="199206"/>
                  </a:lnTo>
                  <a:cubicBezTo>
                    <a:pt x="138132" y="204077"/>
                    <a:pt x="139118" y="210986"/>
                    <a:pt x="143989" y="214638"/>
                  </a:cubicBezTo>
                  <a:cubicBezTo>
                    <a:pt x="147908" y="217577"/>
                    <a:pt x="153296" y="217577"/>
                    <a:pt x="157216" y="214638"/>
                  </a:cubicBezTo>
                  <a:lnTo>
                    <a:pt x="158436" y="213565"/>
                  </a:lnTo>
                  <a:lnTo>
                    <a:pt x="217254" y="154776"/>
                  </a:lnTo>
                  <a:lnTo>
                    <a:pt x="218312" y="153527"/>
                  </a:lnTo>
                  <a:cubicBezTo>
                    <a:pt x="221156" y="149688"/>
                    <a:pt x="221205" y="144454"/>
                    <a:pt x="218430" y="140564"/>
                  </a:cubicBezTo>
                  <a:lnTo>
                    <a:pt x="217254" y="139183"/>
                  </a:lnTo>
                  <a:lnTo>
                    <a:pt x="158465" y="80379"/>
                  </a:lnTo>
                  <a:lnTo>
                    <a:pt x="157216" y="79306"/>
                  </a:lnTo>
                  <a:lnTo>
                    <a:pt x="158451" y="803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4EC8E"/>
                </a:gs>
                <a:gs pos="31000">
                  <a:srgbClr val="57B9C5"/>
                </a:gs>
                <a:gs pos="88000">
                  <a:srgbClr val="0F656B"/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48CF3782-D2A3-E60C-F477-BAA1855585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6493" y="2976452"/>
            <a:ext cx="3113795" cy="1538883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7230E63A-A658-623D-0F16-E327E28AEA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1308" y="4774478"/>
            <a:ext cx="3244164" cy="830997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800" b="0" kern="1200" cap="none" spc="-50" baseline="0" dirty="0">
                <a:ln w="3175">
                  <a:noFill/>
                </a:ln>
                <a:gradFill flip="none" rotWithShape="1">
                  <a:gsLst>
                    <a:gs pos="0">
                      <a:srgbClr val="5CB69C"/>
                    </a:gs>
                    <a:gs pos="34000">
                      <a:srgbClr val="57B9C5">
                        <a:lumMod val="82429"/>
                      </a:srgbClr>
                    </a:gs>
                    <a:gs pos="88000">
                      <a:srgbClr val="0F656B"/>
                    </a:gs>
                  </a:gsLst>
                  <a:lin ang="2400000" scaled="0"/>
                  <a:tileRect/>
                </a:gradFill>
                <a:effectLst/>
                <a:latin typeface="Segoe Sans Display Semibold"/>
                <a:ea typeface="+mn-ea"/>
                <a:cs typeface="Segoe Sans Display Semibold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803BB120-7CDC-C54F-967D-527F3B7EA0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6223" y="5830178"/>
            <a:ext cx="1159529" cy="244379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buNone/>
              <a:defRPr lang="en-US" sz="1600" b="1" u="sng" kern="1200" dirty="0">
                <a:solidFill>
                  <a:schemeClr val="accent1">
                    <a:lumMod val="75000"/>
                  </a:schemeClr>
                </a:solidFill>
                <a:latin typeface="Segoe Sans Text Semibold" pitchFamily="2" charset="0"/>
                <a:ea typeface="+mn-ea"/>
                <a:cs typeface="Segoe Sans Text Semibold" pitchFamily="2" charset="0"/>
              </a:defRPr>
            </a:lvl1pPr>
          </a:lstStyle>
          <a:p>
            <a:pPr lvl="0"/>
            <a:r>
              <a:rPr lang="en-US"/>
              <a:t>Lorem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9E9A91AA-A07D-0814-D6B7-8C4DF9A026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2087" y="3307564"/>
            <a:ext cx="6140747" cy="553998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800" b="0" i="0" u="none" strike="noStrike" kern="1200" cap="none" spc="0" normalizeH="0" baseline="0" dirty="0">
                <a:ln>
                  <a:noFill/>
                </a:ln>
                <a:solidFill>
                  <a:srgbClr val="225B6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EDB9E46-BA1C-041F-E92C-5BBDD16845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765172" y="3293255"/>
            <a:ext cx="582616" cy="582616"/>
          </a:xfrm>
          <a:prstGeom prst="ellipse">
            <a:avLst/>
          </a:prstGeom>
          <a:solidFill>
            <a:srgbClr val="F4F3F5"/>
          </a:solidFill>
          <a:ln w="9525">
            <a:noFill/>
            <a:headEnd type="none" w="med" len="med"/>
            <a:tailEnd type="none" w="med" len="med"/>
          </a:ln>
          <a:effectLst>
            <a:innerShdw blurRad="139700" dist="50800" dir="13500000">
              <a:schemeClr val="bg1">
                <a:lumMod val="65000"/>
                <a:alpha val="40000"/>
              </a:schemeClr>
            </a:inn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B8E5BBE-413E-8280-9E32-ECF514CE30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522086" y="4110917"/>
            <a:ext cx="5935157" cy="0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3055556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slide with picture">
    <p:bg>
      <p:bgPr>
        <a:solidFill>
          <a:srgbClr val="F4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C741F4E-1804-4F41-0474-970A7B079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1" y="5084956"/>
            <a:ext cx="7478457" cy="1119106"/>
          </a:xfrm>
          <a:custGeom>
            <a:avLst/>
            <a:gdLst>
              <a:gd name="connsiteX0" fmla="*/ 0 w 7478457"/>
              <a:gd name="connsiteY0" fmla="*/ 0 h 1119106"/>
              <a:gd name="connsiteX1" fmla="*/ 6506683 w 7478457"/>
              <a:gd name="connsiteY1" fmla="*/ 0 h 1119106"/>
              <a:gd name="connsiteX2" fmla="*/ 6578364 w 7478457"/>
              <a:gd name="connsiteY2" fmla="*/ 95986 h 1119106"/>
              <a:gd name="connsiteX3" fmla="*/ 7383338 w 7478457"/>
              <a:gd name="connsiteY3" fmla="*/ 771963 h 1119106"/>
              <a:gd name="connsiteX4" fmla="*/ 7478457 w 7478457"/>
              <a:gd name="connsiteY4" fmla="*/ 934001 h 1119106"/>
              <a:gd name="connsiteX5" fmla="*/ 7295634 w 7478457"/>
              <a:gd name="connsiteY5" fmla="*/ 1119106 h 1119106"/>
              <a:gd name="connsiteX6" fmla="*/ 0 w 7478457"/>
              <a:gd name="connsiteY6" fmla="*/ 1119106 h 1119106"/>
              <a:gd name="connsiteX7" fmla="*/ 0 w 7478457"/>
              <a:gd name="connsiteY7" fmla="*/ 0 h 111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78457" h="1119106">
                <a:moveTo>
                  <a:pt x="0" y="0"/>
                </a:moveTo>
                <a:lnTo>
                  <a:pt x="6506683" y="0"/>
                </a:lnTo>
                <a:lnTo>
                  <a:pt x="6578364" y="95986"/>
                </a:lnTo>
                <a:cubicBezTo>
                  <a:pt x="6798839" y="371791"/>
                  <a:pt x="7072388" y="602408"/>
                  <a:pt x="7383338" y="771963"/>
                </a:cubicBezTo>
                <a:cubicBezTo>
                  <a:pt x="7441956" y="803902"/>
                  <a:pt x="7478457" y="866258"/>
                  <a:pt x="7478457" y="934001"/>
                </a:cubicBezTo>
                <a:cubicBezTo>
                  <a:pt x="7478457" y="1036408"/>
                  <a:pt x="7396393" y="1118916"/>
                  <a:pt x="7295634" y="1119106"/>
                </a:cubicBezTo>
                <a:lnTo>
                  <a:pt x="0" y="111910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84000"/>
              </a:srgb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00" kern="0" noProof="0">
              <a:gradFill flip="none" rotWithShape="1">
                <a:gsLst>
                  <a:gs pos="18000">
                    <a:schemeClr val="tx1">
                      <a:lumMod val="50000"/>
                      <a:lumOff val="50000"/>
                    </a:schemeClr>
                  </a:gs>
                  <a:gs pos="67000">
                    <a:schemeClr val="tx1">
                      <a:lumMod val="90000"/>
                      <a:lumOff val="1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A103FBF-1DDB-A8C3-2052-B35335183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9800540" y="5084956"/>
            <a:ext cx="2391460" cy="1119106"/>
          </a:xfrm>
          <a:custGeom>
            <a:avLst/>
            <a:gdLst>
              <a:gd name="connsiteX0" fmla="*/ 971821 w 2391460"/>
              <a:gd name="connsiteY0" fmla="*/ 0 h 1119106"/>
              <a:gd name="connsiteX1" fmla="*/ 2391460 w 2391460"/>
              <a:gd name="connsiteY1" fmla="*/ 0 h 1119106"/>
              <a:gd name="connsiteX2" fmla="*/ 2391460 w 2391460"/>
              <a:gd name="connsiteY2" fmla="*/ 1119106 h 1119106"/>
              <a:gd name="connsiteX3" fmla="*/ 182824 w 2391460"/>
              <a:gd name="connsiteY3" fmla="*/ 1119106 h 1119106"/>
              <a:gd name="connsiteX4" fmla="*/ 0 w 2391460"/>
              <a:gd name="connsiteY4" fmla="*/ 934001 h 1119106"/>
              <a:gd name="connsiteX5" fmla="*/ 95118 w 2391460"/>
              <a:gd name="connsiteY5" fmla="*/ 771963 h 1119106"/>
              <a:gd name="connsiteX6" fmla="*/ 900138 w 2391460"/>
              <a:gd name="connsiteY6" fmla="*/ 95986 h 1119106"/>
              <a:gd name="connsiteX7" fmla="*/ 971821 w 2391460"/>
              <a:gd name="connsiteY7" fmla="*/ 0 h 111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1460" h="1119106">
                <a:moveTo>
                  <a:pt x="971821" y="0"/>
                </a:moveTo>
                <a:lnTo>
                  <a:pt x="2391460" y="0"/>
                </a:lnTo>
                <a:lnTo>
                  <a:pt x="2391460" y="1119106"/>
                </a:lnTo>
                <a:lnTo>
                  <a:pt x="182824" y="1119106"/>
                </a:lnTo>
                <a:cubicBezTo>
                  <a:pt x="82066" y="1118916"/>
                  <a:pt x="0" y="1036408"/>
                  <a:pt x="0" y="934001"/>
                </a:cubicBezTo>
                <a:cubicBezTo>
                  <a:pt x="0" y="866258"/>
                  <a:pt x="36500" y="803902"/>
                  <a:pt x="95118" y="771963"/>
                </a:cubicBezTo>
                <a:cubicBezTo>
                  <a:pt x="406093" y="602408"/>
                  <a:pt x="679657" y="371791"/>
                  <a:pt x="900138" y="95986"/>
                </a:cubicBezTo>
                <a:lnTo>
                  <a:pt x="971821" y="0"/>
                </a:lnTo>
                <a:close/>
              </a:path>
            </a:pathLst>
          </a:custGeom>
          <a:solidFill>
            <a:schemeClr val="bg1"/>
          </a:solidFill>
          <a:ln w="38100" cap="flat">
            <a:noFill/>
            <a:prstDash val="solid"/>
            <a:miter/>
          </a:ln>
          <a:effectLst>
            <a:outerShdw blurRad="304800" dist="50800" dir="4440000" sx="94000" sy="94000" algn="ctr" rotWithShape="0">
              <a:srgbClr val="F4F3F5">
                <a:lumMod val="75000"/>
                <a:alpha val="84000"/>
              </a:srgbClr>
            </a:outerShdw>
          </a:effectLst>
        </p:spPr>
        <p:txBody>
          <a:bodyPr rot="0" spcFirstLastPara="0" vertOverflow="overflow" horzOverflow="overflow" vert="horz" wrap="square" lIns="91440" tIns="4572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00" kern="0" noProof="0">
              <a:gradFill flip="none" rotWithShape="1">
                <a:gsLst>
                  <a:gs pos="18000">
                    <a:schemeClr val="tx1">
                      <a:lumMod val="50000"/>
                      <a:lumOff val="50000"/>
                    </a:schemeClr>
                  </a:gs>
                  <a:gs pos="67000">
                    <a:schemeClr val="tx1">
                      <a:lumMod val="90000"/>
                      <a:lumOff val="1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Segoe Sans Display Semibold" pitchFamily="2" charset="0"/>
              <a:cs typeface="Segoe Sans Display Semibold" pitchFamily="2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F7C7CF5-48FA-7FD0-84C0-BA8FF0A5CB2F}"/>
              </a:ext>
            </a:extLst>
          </p:cNvPr>
          <p:cNvSpPr/>
          <p:nvPr/>
        </p:nvSpPr>
        <p:spPr>
          <a:xfrm>
            <a:off x="0" y="820934"/>
            <a:ext cx="12192000" cy="5427487"/>
          </a:xfrm>
          <a:custGeom>
            <a:avLst/>
            <a:gdLst>
              <a:gd name="connsiteX0" fmla="*/ 8639530 w 12192000"/>
              <a:gd name="connsiteY0" fmla="*/ 0 h 5427487"/>
              <a:gd name="connsiteX1" fmla="*/ 11288160 w 12192000"/>
              <a:gd name="connsiteY1" fmla="*/ 2677908 h 5427487"/>
              <a:gd name="connsiteX2" fmla="*/ 9895658 w 12192000"/>
              <a:gd name="connsiteY2" fmla="*/ 5035985 h 5427487"/>
              <a:gd name="connsiteX3" fmla="*/ 9800540 w 12192000"/>
              <a:gd name="connsiteY3" fmla="*/ 5198023 h 5427487"/>
              <a:gd name="connsiteX4" fmla="*/ 9983364 w 12192000"/>
              <a:gd name="connsiteY4" fmla="*/ 5383128 h 5427487"/>
              <a:gd name="connsiteX5" fmla="*/ 12192000 w 12192000"/>
              <a:gd name="connsiteY5" fmla="*/ 5383128 h 5427487"/>
              <a:gd name="connsiteX6" fmla="*/ 12192000 w 12192000"/>
              <a:gd name="connsiteY6" fmla="*/ 5427487 h 5427487"/>
              <a:gd name="connsiteX7" fmla="*/ 9983490 w 12192000"/>
              <a:gd name="connsiteY7" fmla="*/ 5427487 h 5427487"/>
              <a:gd name="connsiteX8" fmla="*/ 9756308 w 12192000"/>
              <a:gd name="connsiteY8" fmla="*/ 5198023 h 5427487"/>
              <a:gd name="connsiteX9" fmla="*/ 9874558 w 12192000"/>
              <a:gd name="connsiteY9" fmla="*/ 4997076 h 5427487"/>
              <a:gd name="connsiteX10" fmla="*/ 11243928 w 12192000"/>
              <a:gd name="connsiteY10" fmla="*/ 2677908 h 5427487"/>
              <a:gd name="connsiteX11" fmla="*/ 8639656 w 12192000"/>
              <a:gd name="connsiteY11" fmla="*/ 44359 h 5427487"/>
              <a:gd name="connsiteX12" fmla="*/ 6035322 w 12192000"/>
              <a:gd name="connsiteY12" fmla="*/ 2677908 h 5427487"/>
              <a:gd name="connsiteX13" fmla="*/ 7404695 w 12192000"/>
              <a:gd name="connsiteY13" fmla="*/ 4997076 h 5427487"/>
              <a:gd name="connsiteX14" fmla="*/ 7522944 w 12192000"/>
              <a:gd name="connsiteY14" fmla="*/ 5198023 h 5427487"/>
              <a:gd name="connsiteX15" fmla="*/ 7295761 w 12192000"/>
              <a:gd name="connsiteY15" fmla="*/ 5427487 h 5427487"/>
              <a:gd name="connsiteX16" fmla="*/ 2974277 w 12192000"/>
              <a:gd name="connsiteY16" fmla="*/ 5427487 h 5427487"/>
              <a:gd name="connsiteX17" fmla="*/ 427545 w 12192000"/>
              <a:gd name="connsiteY17" fmla="*/ 5427487 h 5427487"/>
              <a:gd name="connsiteX18" fmla="*/ 0 w 12192000"/>
              <a:gd name="connsiteY18" fmla="*/ 5427487 h 5427487"/>
              <a:gd name="connsiteX19" fmla="*/ 0 w 12192000"/>
              <a:gd name="connsiteY19" fmla="*/ 5383128 h 5427487"/>
              <a:gd name="connsiteX20" fmla="*/ 7295634 w 12192000"/>
              <a:gd name="connsiteY20" fmla="*/ 5383128 h 5427487"/>
              <a:gd name="connsiteX21" fmla="*/ 7478457 w 12192000"/>
              <a:gd name="connsiteY21" fmla="*/ 5198023 h 5427487"/>
              <a:gd name="connsiteX22" fmla="*/ 7383338 w 12192000"/>
              <a:gd name="connsiteY22" fmla="*/ 5035985 h 5427487"/>
              <a:gd name="connsiteX23" fmla="*/ 5990836 w 12192000"/>
              <a:gd name="connsiteY23" fmla="*/ 2677908 h 5427487"/>
              <a:gd name="connsiteX24" fmla="*/ 8639530 w 12192000"/>
              <a:gd name="connsiteY24" fmla="*/ 0 h 5427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192000" h="5427487">
                <a:moveTo>
                  <a:pt x="8639530" y="0"/>
                </a:moveTo>
                <a:cubicBezTo>
                  <a:pt x="10102754" y="0"/>
                  <a:pt x="11285562" y="1199412"/>
                  <a:pt x="11288160" y="2677908"/>
                </a:cubicBezTo>
                <a:cubicBezTo>
                  <a:pt x="11288160" y="3697475"/>
                  <a:pt x="10724924" y="4583837"/>
                  <a:pt x="9895658" y="5035985"/>
                </a:cubicBezTo>
                <a:cubicBezTo>
                  <a:pt x="9837040" y="5067924"/>
                  <a:pt x="9800540" y="5130280"/>
                  <a:pt x="9800540" y="5198023"/>
                </a:cubicBezTo>
                <a:cubicBezTo>
                  <a:pt x="9800540" y="5300430"/>
                  <a:pt x="9882606" y="5382938"/>
                  <a:pt x="9983364" y="5383128"/>
                </a:cubicBezTo>
                <a:lnTo>
                  <a:pt x="12192000" y="5383128"/>
                </a:lnTo>
                <a:lnTo>
                  <a:pt x="12192000" y="5427487"/>
                </a:lnTo>
                <a:lnTo>
                  <a:pt x="9983490" y="5427487"/>
                </a:lnTo>
                <a:cubicBezTo>
                  <a:pt x="9857826" y="5427487"/>
                  <a:pt x="9756560" y="5324574"/>
                  <a:pt x="9756308" y="5198023"/>
                </a:cubicBezTo>
                <a:cubicBezTo>
                  <a:pt x="9756308" y="5114374"/>
                  <a:pt x="9801364" y="5036999"/>
                  <a:pt x="9874558" y="4997076"/>
                </a:cubicBezTo>
                <a:cubicBezTo>
                  <a:pt x="10689880" y="4552469"/>
                  <a:pt x="11243928" y="3680872"/>
                  <a:pt x="11243928" y="2677908"/>
                </a:cubicBezTo>
                <a:cubicBezTo>
                  <a:pt x="11243928" y="1223556"/>
                  <a:pt x="10077976" y="47021"/>
                  <a:pt x="8639656" y="44359"/>
                </a:cubicBezTo>
                <a:cubicBezTo>
                  <a:pt x="7201338" y="47021"/>
                  <a:pt x="6035386" y="1223556"/>
                  <a:pt x="6035322" y="2677908"/>
                </a:cubicBezTo>
                <a:cubicBezTo>
                  <a:pt x="6035322" y="3680872"/>
                  <a:pt x="6589370" y="4552405"/>
                  <a:pt x="7404695" y="4997076"/>
                </a:cubicBezTo>
                <a:cubicBezTo>
                  <a:pt x="7477888" y="5036999"/>
                  <a:pt x="7522944" y="5114374"/>
                  <a:pt x="7522944" y="5198023"/>
                </a:cubicBezTo>
                <a:cubicBezTo>
                  <a:pt x="7522690" y="5324574"/>
                  <a:pt x="7421424" y="5427424"/>
                  <a:pt x="7295761" y="5427487"/>
                </a:cubicBezTo>
                <a:lnTo>
                  <a:pt x="2974277" y="5427487"/>
                </a:lnTo>
                <a:cubicBezTo>
                  <a:pt x="2974277" y="5427487"/>
                  <a:pt x="1842396" y="5427487"/>
                  <a:pt x="427545" y="5427487"/>
                </a:cubicBezTo>
                <a:lnTo>
                  <a:pt x="0" y="5427487"/>
                </a:lnTo>
                <a:lnTo>
                  <a:pt x="0" y="5383128"/>
                </a:lnTo>
                <a:lnTo>
                  <a:pt x="7295634" y="5383128"/>
                </a:lnTo>
                <a:cubicBezTo>
                  <a:pt x="7396393" y="5382938"/>
                  <a:pt x="7478457" y="5300430"/>
                  <a:pt x="7478457" y="5198023"/>
                </a:cubicBezTo>
                <a:cubicBezTo>
                  <a:pt x="7478457" y="5130280"/>
                  <a:pt x="7441956" y="5067924"/>
                  <a:pt x="7383338" y="5035985"/>
                </a:cubicBezTo>
                <a:cubicBezTo>
                  <a:pt x="6554137" y="4583837"/>
                  <a:pt x="5990900" y="3697475"/>
                  <a:pt x="5990836" y="2677908"/>
                </a:cubicBezTo>
                <a:cubicBezTo>
                  <a:pt x="5993561" y="1199412"/>
                  <a:pt x="7176307" y="0"/>
                  <a:pt x="8639530" y="0"/>
                </a:cubicBezTo>
                <a:close/>
              </a:path>
            </a:pathLst>
          </a:custGeom>
          <a:gradFill>
            <a:gsLst>
              <a:gs pos="0">
                <a:srgbClr val="D4EC8E"/>
              </a:gs>
              <a:gs pos="100000">
                <a:srgbClr val="0078D4"/>
              </a:gs>
              <a:gs pos="43000">
                <a:srgbClr val="57B9C5"/>
              </a:gs>
            </a:gsLst>
            <a:lin ang="8100000" scaled="1"/>
          </a:gradFill>
          <a:ln w="57150">
            <a:noFill/>
            <a:headEnd type="none"/>
            <a:tailEnd type="none"/>
          </a:ln>
          <a:effectLst>
            <a:outerShdw blurRad="50800" dist="38100" dir="2700000" algn="tl" rotWithShape="0">
              <a:srgbClr val="CFCBBB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206A45-989B-06C6-325B-39DCF16C00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112315-6B05-4F03-9382-D36C5DB47D7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FD5648-ABB2-5316-5528-0DF78B946C7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84900" y="1043224"/>
            <a:ext cx="4873752" cy="4874975"/>
          </a:xfrm>
          <a:prstGeom prst="ellipse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24CA03A-6FE5-864F-3EDD-067CC675913B}"/>
              </a:ext>
            </a:extLst>
          </p:cNvPr>
          <p:cNvSpPr/>
          <p:nvPr userDrawn="1"/>
        </p:nvSpPr>
        <p:spPr bwMode="auto">
          <a:xfrm>
            <a:off x="7636807" y="903572"/>
            <a:ext cx="182623" cy="182623"/>
          </a:xfrm>
          <a:prstGeom prst="ellipse">
            <a:avLst/>
          </a:prstGeom>
          <a:solidFill>
            <a:srgbClr val="225B62"/>
          </a:solidFill>
          <a:ln w="2222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5400000" algn="t" rotWithShape="0">
              <a:srgbClr val="CFCBBB">
                <a:alpha val="74000"/>
              </a:srgb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AC42D23-EDA7-08F1-F97F-360F4D16DC5B}"/>
              </a:ext>
            </a:extLst>
          </p:cNvPr>
          <p:cNvSpPr/>
          <p:nvPr userDrawn="1"/>
        </p:nvSpPr>
        <p:spPr bwMode="auto">
          <a:xfrm>
            <a:off x="4927831" y="6118197"/>
            <a:ext cx="182623" cy="182623"/>
          </a:xfrm>
          <a:prstGeom prst="ellipse">
            <a:avLst/>
          </a:prstGeom>
          <a:solidFill>
            <a:srgbClr val="57B9C5"/>
          </a:solidFill>
          <a:ln w="2222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50800" dir="5400000" algn="t" rotWithShape="0">
              <a:schemeClr val="bg1">
                <a:lumMod val="65000"/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7238E09-6661-0DE9-4559-A9C3EF14E2D1}"/>
              </a:ext>
            </a:extLst>
          </p:cNvPr>
          <p:cNvSpPr/>
          <p:nvPr userDrawn="1"/>
        </p:nvSpPr>
        <p:spPr bwMode="auto">
          <a:xfrm>
            <a:off x="10411924" y="5277441"/>
            <a:ext cx="182623" cy="182623"/>
          </a:xfrm>
          <a:prstGeom prst="ellipse">
            <a:avLst/>
          </a:prstGeom>
          <a:solidFill>
            <a:srgbClr val="8EC8E9"/>
          </a:solidFill>
          <a:ln w="2222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5400000" algn="t" rotWithShape="0">
              <a:srgbClr val="CFCBBB">
                <a:alpha val="74000"/>
              </a:srgbClr>
            </a:outerShdw>
          </a:effectLst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3247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0524403-ADBF-75DD-D045-7FD9E5F42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264878"/>
            <a:ext cx="510149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4400" b="0" kern="1200" cap="none" spc="0" baseline="0" dirty="0">
                <a:ln w="3175">
                  <a:noFill/>
                </a:ln>
                <a:gradFill>
                  <a:gsLst>
                    <a:gs pos="3500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tx1">
                        <a:lumMod val="90000"/>
                        <a:lumOff val="10000"/>
                      </a:schemeClr>
                    </a:gs>
                  </a:gsLst>
                  <a:path path="circle">
                    <a:fillToRect r="100000" b="100000"/>
                  </a:path>
                </a:gradFill>
                <a:effectLst/>
                <a:latin typeface="+mj-lt"/>
                <a:ea typeface="+mj-lt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pic>
        <p:nvPicPr>
          <p:cNvPr id="11" name="Picture 10" descr="A logo on a black background&#10;&#10;Description automatically generated">
            <a:extLst>
              <a:ext uri="{FF2B5EF4-FFF2-40B4-BE49-F238E27FC236}">
                <a16:creationId xmlns:a16="http://schemas.microsoft.com/office/drawing/2014/main" id="{049C8672-92A6-A189-B5FC-4CF6572CDA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849" y="372907"/>
            <a:ext cx="1495551" cy="670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380184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ud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744B96A6-18A9-F27D-BC82-FD95B47ED5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6328" b="28068"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noFill/>
          <a:effectLst/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4500" y="2264878"/>
            <a:ext cx="550513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6D0F175-A804-44E4-9CB6-DEA9AAF61F5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4501" y="4787900"/>
            <a:ext cx="2343826" cy="430887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dirty="0" smtClean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r>
              <a:rPr lang="en-US" sz="2800">
                <a:solidFill>
                  <a:schemeClr val="bg1"/>
                </a:solidFill>
              </a:rPr>
              <a:t>Speaker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4500" y="5470723"/>
            <a:ext cx="2343826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tx1"/>
                </a:solidFill>
                <a:latin typeface="Segoe Sans Display" pitchFamily="2" charset="0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88375748-275D-5C36-977C-87AC454336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225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loud Title Blu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noFill/>
          <a:effectLst/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84200" y="2264878"/>
            <a:ext cx="550513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6D0F175-A804-44E4-9CB6-DEA9AAF61F5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4200" y="4787900"/>
            <a:ext cx="2343826" cy="430887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dirty="0" smtClean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r>
              <a:rPr lang="en-US" sz="2800">
                <a:solidFill>
                  <a:schemeClr val="bg1"/>
                </a:solidFill>
              </a:rPr>
              <a:t>Speaker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4200" y="5470723"/>
            <a:ext cx="2343826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tx1"/>
                </a:solidFill>
                <a:latin typeface="Segoe Sans Display" pitchFamily="2" charset="0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pic>
        <p:nvPicPr>
          <p:cNvPr id="2" name="MS logo gray - EMF" descr="Microsoft logo, gray text version">
            <a:extLst>
              <a:ext uri="{FF2B5EF4-FFF2-40B4-BE49-F238E27FC236}">
                <a16:creationId xmlns:a16="http://schemas.microsoft.com/office/drawing/2014/main" id="{81A21FB1-0E78-240C-76A0-81B75D73DF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168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ud Title Blue">
    <p:bg>
      <p:bgPr>
        <a:gradFill flip="none" rotWithShape="1">
          <a:gsLst>
            <a:gs pos="0">
              <a:srgbClr val="D4EC8E"/>
            </a:gs>
            <a:gs pos="45110">
              <a:srgbClr val="57B9C5"/>
            </a:gs>
            <a:gs pos="100000">
              <a:srgbClr val="00777B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431FB4-813C-0C66-C786-62B8BBACA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alphaModFix amt="5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53" r="77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06F7015-754B-A4C8-8A45-54DF43B271C5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4EC8E">
                  <a:alpha val="0"/>
                </a:srgbClr>
              </a:gs>
              <a:gs pos="53000">
                <a:srgbClr val="57B9C5">
                  <a:alpha val="15768"/>
                </a:srgbClr>
              </a:gs>
              <a:gs pos="100000">
                <a:schemeClr val="accent3">
                  <a:lumMod val="50000"/>
                  <a:alpha val="64000"/>
                </a:schemeClr>
              </a:gs>
            </a:gsLst>
            <a:path path="circle">
              <a:fillToRect l="100000" t="100000"/>
            </a:path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3B8285B8-D93F-C092-F282-82D970F600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1830" y="1341784"/>
            <a:ext cx="6700170" cy="5516216"/>
          </a:xfrm>
          <a:custGeom>
            <a:avLst/>
            <a:gdLst>
              <a:gd name="connsiteX0" fmla="*/ 3850011 w 6700170"/>
              <a:gd name="connsiteY0" fmla="*/ 0 h 5516216"/>
              <a:gd name="connsiteX1" fmla="*/ 6572380 w 6700170"/>
              <a:gd name="connsiteY1" fmla="*/ 1127642 h 5516216"/>
              <a:gd name="connsiteX2" fmla="*/ 6700170 w 6700170"/>
              <a:gd name="connsiteY2" fmla="*/ 1268247 h 5516216"/>
              <a:gd name="connsiteX3" fmla="*/ 6700170 w 6700170"/>
              <a:gd name="connsiteY3" fmla="*/ 5516216 h 5516216"/>
              <a:gd name="connsiteX4" fmla="*/ 378327 w 6700170"/>
              <a:gd name="connsiteY4" fmla="*/ 5516216 h 5516216"/>
              <a:gd name="connsiteX5" fmla="*/ 302553 w 6700170"/>
              <a:gd name="connsiteY5" fmla="*/ 5348609 h 5516216"/>
              <a:gd name="connsiteX6" fmla="*/ 0 w 6700170"/>
              <a:gd name="connsiteY6" fmla="*/ 3850011 h 5516216"/>
              <a:gd name="connsiteX7" fmla="*/ 3850011 w 6700170"/>
              <a:gd name="connsiteY7" fmla="*/ 0 h 55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0170" h="5516216">
                <a:moveTo>
                  <a:pt x="3850011" y="0"/>
                </a:moveTo>
                <a:cubicBezTo>
                  <a:pt x="4913162" y="0"/>
                  <a:pt x="5875665" y="430927"/>
                  <a:pt x="6572380" y="1127642"/>
                </a:cubicBezTo>
                <a:lnTo>
                  <a:pt x="6700170" y="1268247"/>
                </a:lnTo>
                <a:lnTo>
                  <a:pt x="6700170" y="5516216"/>
                </a:lnTo>
                <a:lnTo>
                  <a:pt x="378327" y="5516216"/>
                </a:lnTo>
                <a:lnTo>
                  <a:pt x="302553" y="5348609"/>
                </a:lnTo>
                <a:cubicBezTo>
                  <a:pt x="107732" y="4888000"/>
                  <a:pt x="0" y="4381587"/>
                  <a:pt x="0" y="3850011"/>
                </a:cubicBezTo>
                <a:cubicBezTo>
                  <a:pt x="0" y="1723709"/>
                  <a:pt x="1723709" y="0"/>
                  <a:pt x="3850011" y="0"/>
                </a:cubicBezTo>
                <a:close/>
              </a:path>
            </a:pathLst>
          </a:custGeom>
          <a:noFill/>
          <a:effectLst/>
        </p:spPr>
        <p:txBody>
          <a:bodyPr wrap="none" anchor="ctr" anchorCtr="0">
            <a:noAutofit/>
          </a:bodyPr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0803156-1DEC-4A13-B99B-3422E553A83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4500" y="2264878"/>
            <a:ext cx="550513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6D0F175-A804-44E4-9CB6-DEA9AAF61F5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4501" y="4787900"/>
            <a:ext cx="2343826" cy="430887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dirty="0" smtClean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r>
              <a:rPr lang="en-US" sz="2800">
                <a:solidFill>
                  <a:schemeClr val="bg1"/>
                </a:solidFill>
              </a:rPr>
              <a:t>Speaker 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EE714D1-7E5B-4C9D-8863-EA35690B183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4500" y="5470723"/>
            <a:ext cx="2343826" cy="30777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IN" sz="1800" kern="1200" spc="0" baseline="0" dirty="0">
                <a:solidFill>
                  <a:schemeClr val="tx1"/>
                </a:solidFill>
                <a:latin typeface="Segoe Sans Display" pitchFamily="2" charset="0"/>
                <a:ea typeface="+mn-ea"/>
                <a:cs typeface="Segoe Sans Display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Date</a:t>
            </a:r>
          </a:p>
        </p:txBody>
      </p:sp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88375748-275D-5C36-977C-87AC454336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8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3" pos="331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FF906-E946-07FC-6328-CF79A7443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444500"/>
            <a:ext cx="11295063" cy="44319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81B52C-C7D1-B14E-9787-357A8781E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2451844"/>
            <a:ext cx="12192000" cy="0"/>
          </a:xfrm>
          <a:prstGeom prst="line">
            <a:avLst/>
          </a:prstGeom>
          <a:ln w="107950">
            <a:gradFill flip="none" rotWithShape="1">
              <a:gsLst>
                <a:gs pos="0">
                  <a:srgbClr val="0078D4"/>
                </a:gs>
                <a:gs pos="54000">
                  <a:srgbClr val="49C5B1"/>
                </a:gs>
                <a:gs pos="100000">
                  <a:srgbClr val="0078D4"/>
                </a:gs>
              </a:gsLst>
              <a:lin ang="0" scaled="1"/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0082A0A-03BC-B3CE-B415-F54D035DE8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2" b="54380"/>
          <a:stretch/>
        </p:blipFill>
        <p:spPr>
          <a:xfrm>
            <a:off x="586740" y="3363076"/>
            <a:ext cx="2103120" cy="45719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762F0D-3E49-F565-8BE6-A75C61F9D4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3124200" y="3852158"/>
            <a:ext cx="0" cy="1107996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60CBCF-6455-26EE-C3C2-5E09037DB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6096000" y="3852158"/>
            <a:ext cx="0" cy="1107996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3A93A9A-CA0A-22E3-D0FB-A79C8FF4C9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9067800" y="3852158"/>
            <a:ext cx="0" cy="1107996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F0420B4-E97B-A5CF-D291-A399CEA4B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5778500"/>
            <a:ext cx="12192000" cy="0"/>
          </a:xfrm>
          <a:prstGeom prst="line">
            <a:avLst/>
          </a:prstGeom>
          <a:ln w="107950">
            <a:solidFill>
              <a:srgbClr val="EDECE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95ED87D4-9B74-50C8-8305-7D2E4546901B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447675" y="3814748"/>
            <a:ext cx="2381250" cy="276999"/>
          </a:xfrm>
        </p:spPr>
        <p:txBody>
          <a:bodyPr anchor="t"/>
          <a:lstStyle>
            <a:lvl1pPr algn="ctr">
              <a:defRPr sz="18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A8176AD9-107A-2833-0154-CAF4C77A8370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3419475" y="3814748"/>
            <a:ext cx="2381250" cy="276999"/>
          </a:xfrm>
        </p:spPr>
        <p:txBody>
          <a:bodyPr anchor="t"/>
          <a:lstStyle>
            <a:lvl1pPr algn="ctr">
              <a:defRPr sz="18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FA03111A-E024-2902-FE2D-98B5530EA2F9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6391275" y="3814748"/>
            <a:ext cx="2381250" cy="276999"/>
          </a:xfrm>
        </p:spPr>
        <p:txBody>
          <a:bodyPr anchor="t"/>
          <a:lstStyle>
            <a:lvl1pPr algn="ctr">
              <a:defRPr sz="18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41" name="Text Placeholder 37">
            <a:extLst>
              <a:ext uri="{FF2B5EF4-FFF2-40B4-BE49-F238E27FC236}">
                <a16:creationId xmlns:a16="http://schemas.microsoft.com/office/drawing/2014/main" id="{B1991F0A-046F-5CB1-08B4-888E22F90B7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9363075" y="3814748"/>
            <a:ext cx="2381250" cy="276999"/>
          </a:xfrm>
        </p:spPr>
        <p:txBody>
          <a:bodyPr anchor="t"/>
          <a:lstStyle>
            <a:lvl1pPr algn="ctr">
              <a:defRPr sz="18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BCC0CB-495A-4A19-F918-9233E7CC7160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 spc="0"/>
            </a:lvl1pPr>
          </a:lstStyle>
          <a:p>
            <a:fld id="{51112315-6B05-4F03-9382-D36C5DB47D7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8D9EFA1-E2CC-4C18-7159-A7D2D8DE8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2" b="54380"/>
          <a:stretch/>
        </p:blipFill>
        <p:spPr>
          <a:xfrm>
            <a:off x="3558540" y="3363076"/>
            <a:ext cx="2103120" cy="457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751AA8-D7C9-EAD2-2DE0-C791B8D840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2" b="54380"/>
          <a:stretch/>
        </p:blipFill>
        <p:spPr>
          <a:xfrm>
            <a:off x="6530340" y="3363076"/>
            <a:ext cx="2103120" cy="4571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0333A59-27C2-B12B-4D86-BBF6B46F5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2" b="54380"/>
          <a:stretch/>
        </p:blipFill>
        <p:spPr>
          <a:xfrm>
            <a:off x="9502140" y="3363076"/>
            <a:ext cx="2103120" cy="4571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E101922-FECD-D250-7E24-D1BE94C811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1130300" y="1943844"/>
            <a:ext cx="1016000" cy="1016000"/>
            <a:chOff x="5047758" y="912128"/>
            <a:chExt cx="763571" cy="771525"/>
          </a:xfrm>
          <a:effectLst>
            <a:outerShdw blurRad="63500" sx="102000" sy="102000" algn="ctr" rotWithShape="0">
              <a:schemeClr val="bg1">
                <a:lumMod val="75000"/>
                <a:alpha val="40000"/>
              </a:schemeClr>
            </a:outerShdw>
          </a:effectLst>
        </p:grpSpPr>
        <p:sp>
          <p:nvSpPr>
            <p:cNvPr id="6" name="Freeform: Shape 24">
              <a:extLst>
                <a:ext uri="{FF2B5EF4-FFF2-40B4-BE49-F238E27FC236}">
                  <a16:creationId xmlns:a16="http://schemas.microsoft.com/office/drawing/2014/main" id="{959C889C-5707-DF73-17B1-B884A8DA1120}"/>
                </a:ext>
              </a:extLst>
            </p:cNvPr>
            <p:cNvSpPr/>
            <p:nvPr/>
          </p:nvSpPr>
          <p:spPr>
            <a:xfrm>
              <a:off x="5047758" y="912128"/>
              <a:ext cx="763571" cy="771525"/>
            </a:xfrm>
            <a:custGeom>
              <a:avLst/>
              <a:gdLst>
                <a:gd name="connsiteX0" fmla="*/ -664 w 763571"/>
                <a:gd name="connsiteY0" fmla="*/ 385541 h 771525"/>
                <a:gd name="connsiteX1" fmla="*/ 381122 w 763571"/>
                <a:gd name="connsiteY1" fmla="*/ -222 h 771525"/>
                <a:gd name="connsiteX2" fmla="*/ 762907 w 763571"/>
                <a:gd name="connsiteY2" fmla="*/ 385541 h 771525"/>
                <a:gd name="connsiteX3" fmla="*/ 381122 w 763571"/>
                <a:gd name="connsiteY3" fmla="*/ 771303 h 771525"/>
                <a:gd name="connsiteX4" fmla="*/ -664 w 763571"/>
                <a:gd name="connsiteY4" fmla="*/ 385541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571" h="771525">
                  <a:moveTo>
                    <a:pt x="-664" y="385541"/>
                  </a:moveTo>
                  <a:cubicBezTo>
                    <a:pt x="-664" y="172485"/>
                    <a:pt x="170263" y="-222"/>
                    <a:pt x="381122" y="-222"/>
                  </a:cubicBezTo>
                  <a:cubicBezTo>
                    <a:pt x="591980" y="-222"/>
                    <a:pt x="762907" y="172485"/>
                    <a:pt x="762907" y="385541"/>
                  </a:cubicBezTo>
                  <a:cubicBezTo>
                    <a:pt x="762907" y="598596"/>
                    <a:pt x="591980" y="771303"/>
                    <a:pt x="381122" y="771303"/>
                  </a:cubicBezTo>
                  <a:cubicBezTo>
                    <a:pt x="170263" y="771303"/>
                    <a:pt x="-664" y="598596"/>
                    <a:pt x="-664" y="385541"/>
                  </a:cubicBezTo>
                  <a:close/>
                </a:path>
              </a:pathLst>
            </a:custGeom>
            <a:solidFill>
              <a:srgbClr val="FFFFFF"/>
            </a:solidFill>
            <a:ln w="942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F2EDF830-0E08-3EBA-2C85-58B161900BAE}"/>
                </a:ext>
              </a:extLst>
            </p:cNvPr>
            <p:cNvSpPr/>
            <p:nvPr/>
          </p:nvSpPr>
          <p:spPr>
            <a:xfrm>
              <a:off x="5118460" y="983566"/>
              <a:ext cx="622169" cy="628650"/>
            </a:xfrm>
            <a:custGeom>
              <a:avLst/>
              <a:gdLst>
                <a:gd name="connsiteX0" fmla="*/ -664 w 622169"/>
                <a:gd name="connsiteY0" fmla="*/ 314103 h 628650"/>
                <a:gd name="connsiteX1" fmla="*/ 310421 w 622169"/>
                <a:gd name="connsiteY1" fmla="*/ -222 h 628650"/>
                <a:gd name="connsiteX2" fmla="*/ 621505 w 622169"/>
                <a:gd name="connsiteY2" fmla="*/ 314103 h 628650"/>
                <a:gd name="connsiteX3" fmla="*/ 310421 w 622169"/>
                <a:gd name="connsiteY3" fmla="*/ 628428 h 628650"/>
                <a:gd name="connsiteX4" fmla="*/ -664 w 622169"/>
                <a:gd name="connsiteY4" fmla="*/ 314103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628650">
                  <a:moveTo>
                    <a:pt x="-664" y="314103"/>
                  </a:moveTo>
                  <a:cubicBezTo>
                    <a:pt x="-664" y="140510"/>
                    <a:pt x="138617" y="-222"/>
                    <a:pt x="310421" y="-222"/>
                  </a:cubicBezTo>
                  <a:cubicBezTo>
                    <a:pt x="482224" y="-222"/>
                    <a:pt x="621505" y="140510"/>
                    <a:pt x="621505" y="314103"/>
                  </a:cubicBezTo>
                  <a:cubicBezTo>
                    <a:pt x="621505" y="487696"/>
                    <a:pt x="482224" y="628428"/>
                    <a:pt x="310421" y="628428"/>
                  </a:cubicBezTo>
                  <a:cubicBezTo>
                    <a:pt x="138617" y="628428"/>
                    <a:pt x="-664" y="487696"/>
                    <a:pt x="-664" y="314103"/>
                  </a:cubicBezTo>
                  <a:close/>
                </a:path>
              </a:pathLst>
            </a:custGeom>
            <a:noFill/>
            <a:ln w="15875" cap="flat">
              <a:gradFill flip="none" rotWithShape="1">
                <a:gsLst>
                  <a:gs pos="0">
                    <a:srgbClr val="49C5B1"/>
                  </a:gs>
                  <a:gs pos="100000">
                    <a:schemeClr val="tx2"/>
                  </a:gs>
                </a:gsLst>
                <a:path path="circle">
                  <a:fillToRect l="100000" t="100000"/>
                </a:path>
                <a:tileRect r="-100000" b="-100000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55D8CB2-2C14-20F7-2FF3-2D7A495748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4102100" y="1943844"/>
            <a:ext cx="1016000" cy="1016000"/>
            <a:chOff x="5047758" y="912128"/>
            <a:chExt cx="763571" cy="771525"/>
          </a:xfrm>
          <a:effectLst>
            <a:outerShdw blurRad="63500" sx="102000" sy="102000" algn="ctr" rotWithShape="0">
              <a:schemeClr val="bg1">
                <a:lumMod val="75000"/>
                <a:alpha val="40000"/>
              </a:schemeClr>
            </a:outerShdw>
          </a:effectLst>
        </p:grpSpPr>
        <p:sp>
          <p:nvSpPr>
            <p:cNvPr id="11" name="Freeform: Shape 24">
              <a:extLst>
                <a:ext uri="{FF2B5EF4-FFF2-40B4-BE49-F238E27FC236}">
                  <a16:creationId xmlns:a16="http://schemas.microsoft.com/office/drawing/2014/main" id="{FA690B1A-0EDB-CC34-EAB6-701A7A3629F7}"/>
                </a:ext>
              </a:extLst>
            </p:cNvPr>
            <p:cNvSpPr/>
            <p:nvPr/>
          </p:nvSpPr>
          <p:spPr>
            <a:xfrm>
              <a:off x="5047758" y="912128"/>
              <a:ext cx="763571" cy="771525"/>
            </a:xfrm>
            <a:custGeom>
              <a:avLst/>
              <a:gdLst>
                <a:gd name="connsiteX0" fmla="*/ -664 w 763571"/>
                <a:gd name="connsiteY0" fmla="*/ 385541 h 771525"/>
                <a:gd name="connsiteX1" fmla="*/ 381122 w 763571"/>
                <a:gd name="connsiteY1" fmla="*/ -222 h 771525"/>
                <a:gd name="connsiteX2" fmla="*/ 762907 w 763571"/>
                <a:gd name="connsiteY2" fmla="*/ 385541 h 771525"/>
                <a:gd name="connsiteX3" fmla="*/ 381122 w 763571"/>
                <a:gd name="connsiteY3" fmla="*/ 771303 h 771525"/>
                <a:gd name="connsiteX4" fmla="*/ -664 w 763571"/>
                <a:gd name="connsiteY4" fmla="*/ 385541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571" h="771525">
                  <a:moveTo>
                    <a:pt x="-664" y="385541"/>
                  </a:moveTo>
                  <a:cubicBezTo>
                    <a:pt x="-664" y="172485"/>
                    <a:pt x="170263" y="-222"/>
                    <a:pt x="381122" y="-222"/>
                  </a:cubicBezTo>
                  <a:cubicBezTo>
                    <a:pt x="591980" y="-222"/>
                    <a:pt x="762907" y="172485"/>
                    <a:pt x="762907" y="385541"/>
                  </a:cubicBezTo>
                  <a:cubicBezTo>
                    <a:pt x="762907" y="598596"/>
                    <a:pt x="591980" y="771303"/>
                    <a:pt x="381122" y="771303"/>
                  </a:cubicBezTo>
                  <a:cubicBezTo>
                    <a:pt x="170263" y="771303"/>
                    <a:pt x="-664" y="598596"/>
                    <a:pt x="-664" y="385541"/>
                  </a:cubicBezTo>
                  <a:close/>
                </a:path>
              </a:pathLst>
            </a:custGeom>
            <a:solidFill>
              <a:srgbClr val="FFFFFF"/>
            </a:solidFill>
            <a:ln w="942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: Shape 25">
              <a:extLst>
                <a:ext uri="{FF2B5EF4-FFF2-40B4-BE49-F238E27FC236}">
                  <a16:creationId xmlns:a16="http://schemas.microsoft.com/office/drawing/2014/main" id="{D15F7A72-5BB1-C389-F9A7-EA2D49700217}"/>
                </a:ext>
              </a:extLst>
            </p:cNvPr>
            <p:cNvSpPr/>
            <p:nvPr/>
          </p:nvSpPr>
          <p:spPr>
            <a:xfrm>
              <a:off x="5118460" y="983566"/>
              <a:ext cx="622169" cy="628650"/>
            </a:xfrm>
            <a:custGeom>
              <a:avLst/>
              <a:gdLst>
                <a:gd name="connsiteX0" fmla="*/ -664 w 622169"/>
                <a:gd name="connsiteY0" fmla="*/ 314103 h 628650"/>
                <a:gd name="connsiteX1" fmla="*/ 310421 w 622169"/>
                <a:gd name="connsiteY1" fmla="*/ -222 h 628650"/>
                <a:gd name="connsiteX2" fmla="*/ 621505 w 622169"/>
                <a:gd name="connsiteY2" fmla="*/ 314103 h 628650"/>
                <a:gd name="connsiteX3" fmla="*/ 310421 w 622169"/>
                <a:gd name="connsiteY3" fmla="*/ 628428 h 628650"/>
                <a:gd name="connsiteX4" fmla="*/ -664 w 622169"/>
                <a:gd name="connsiteY4" fmla="*/ 314103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628650">
                  <a:moveTo>
                    <a:pt x="-664" y="314103"/>
                  </a:moveTo>
                  <a:cubicBezTo>
                    <a:pt x="-664" y="140510"/>
                    <a:pt x="138617" y="-222"/>
                    <a:pt x="310421" y="-222"/>
                  </a:cubicBezTo>
                  <a:cubicBezTo>
                    <a:pt x="482224" y="-222"/>
                    <a:pt x="621505" y="140510"/>
                    <a:pt x="621505" y="314103"/>
                  </a:cubicBezTo>
                  <a:cubicBezTo>
                    <a:pt x="621505" y="487696"/>
                    <a:pt x="482224" y="628428"/>
                    <a:pt x="310421" y="628428"/>
                  </a:cubicBezTo>
                  <a:cubicBezTo>
                    <a:pt x="138617" y="628428"/>
                    <a:pt x="-664" y="487696"/>
                    <a:pt x="-664" y="314103"/>
                  </a:cubicBezTo>
                  <a:close/>
                </a:path>
              </a:pathLst>
            </a:custGeom>
            <a:noFill/>
            <a:ln w="15875" cap="flat">
              <a:gradFill flip="none" rotWithShape="1">
                <a:gsLst>
                  <a:gs pos="0">
                    <a:srgbClr val="49C5B1"/>
                  </a:gs>
                  <a:gs pos="100000">
                    <a:schemeClr val="tx2"/>
                  </a:gs>
                </a:gsLst>
                <a:path path="circle">
                  <a:fillToRect l="100000" t="100000"/>
                </a:path>
                <a:tileRect r="-100000" b="-100000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11DDDA-6571-2204-EB8E-320B2C5173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7073900" y="1943844"/>
            <a:ext cx="1016000" cy="1016000"/>
            <a:chOff x="5047758" y="912128"/>
            <a:chExt cx="763571" cy="771525"/>
          </a:xfrm>
          <a:effectLst>
            <a:outerShdw blurRad="63500" sx="102000" sy="102000" algn="ctr" rotWithShape="0">
              <a:schemeClr val="bg1">
                <a:lumMod val="75000"/>
                <a:alpha val="40000"/>
              </a:schemeClr>
            </a:outerShdw>
          </a:effectLst>
        </p:grpSpPr>
        <p:sp>
          <p:nvSpPr>
            <p:cNvPr id="24" name="Freeform: Shape 24">
              <a:extLst>
                <a:ext uri="{FF2B5EF4-FFF2-40B4-BE49-F238E27FC236}">
                  <a16:creationId xmlns:a16="http://schemas.microsoft.com/office/drawing/2014/main" id="{5671A70E-F6E1-0A19-59AA-A242436806D1}"/>
                </a:ext>
              </a:extLst>
            </p:cNvPr>
            <p:cNvSpPr/>
            <p:nvPr/>
          </p:nvSpPr>
          <p:spPr>
            <a:xfrm>
              <a:off x="5047758" y="912128"/>
              <a:ext cx="763571" cy="771525"/>
            </a:xfrm>
            <a:custGeom>
              <a:avLst/>
              <a:gdLst>
                <a:gd name="connsiteX0" fmla="*/ -664 w 763571"/>
                <a:gd name="connsiteY0" fmla="*/ 385541 h 771525"/>
                <a:gd name="connsiteX1" fmla="*/ 381122 w 763571"/>
                <a:gd name="connsiteY1" fmla="*/ -222 h 771525"/>
                <a:gd name="connsiteX2" fmla="*/ 762907 w 763571"/>
                <a:gd name="connsiteY2" fmla="*/ 385541 h 771525"/>
                <a:gd name="connsiteX3" fmla="*/ 381122 w 763571"/>
                <a:gd name="connsiteY3" fmla="*/ 771303 h 771525"/>
                <a:gd name="connsiteX4" fmla="*/ -664 w 763571"/>
                <a:gd name="connsiteY4" fmla="*/ 385541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571" h="771525">
                  <a:moveTo>
                    <a:pt x="-664" y="385541"/>
                  </a:moveTo>
                  <a:cubicBezTo>
                    <a:pt x="-664" y="172485"/>
                    <a:pt x="170263" y="-222"/>
                    <a:pt x="381122" y="-222"/>
                  </a:cubicBezTo>
                  <a:cubicBezTo>
                    <a:pt x="591980" y="-222"/>
                    <a:pt x="762907" y="172485"/>
                    <a:pt x="762907" y="385541"/>
                  </a:cubicBezTo>
                  <a:cubicBezTo>
                    <a:pt x="762907" y="598596"/>
                    <a:pt x="591980" y="771303"/>
                    <a:pt x="381122" y="771303"/>
                  </a:cubicBezTo>
                  <a:cubicBezTo>
                    <a:pt x="170263" y="771303"/>
                    <a:pt x="-664" y="598596"/>
                    <a:pt x="-664" y="385541"/>
                  </a:cubicBezTo>
                  <a:close/>
                </a:path>
              </a:pathLst>
            </a:custGeom>
            <a:solidFill>
              <a:srgbClr val="FFFFFF"/>
            </a:solidFill>
            <a:ln w="942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: Shape 25">
              <a:extLst>
                <a:ext uri="{FF2B5EF4-FFF2-40B4-BE49-F238E27FC236}">
                  <a16:creationId xmlns:a16="http://schemas.microsoft.com/office/drawing/2014/main" id="{FF573CD4-8B0B-F59F-C86D-BEBAC92F1E98}"/>
                </a:ext>
              </a:extLst>
            </p:cNvPr>
            <p:cNvSpPr/>
            <p:nvPr/>
          </p:nvSpPr>
          <p:spPr>
            <a:xfrm>
              <a:off x="5118460" y="983566"/>
              <a:ext cx="622169" cy="628650"/>
            </a:xfrm>
            <a:custGeom>
              <a:avLst/>
              <a:gdLst>
                <a:gd name="connsiteX0" fmla="*/ -664 w 622169"/>
                <a:gd name="connsiteY0" fmla="*/ 314103 h 628650"/>
                <a:gd name="connsiteX1" fmla="*/ 310421 w 622169"/>
                <a:gd name="connsiteY1" fmla="*/ -222 h 628650"/>
                <a:gd name="connsiteX2" fmla="*/ 621505 w 622169"/>
                <a:gd name="connsiteY2" fmla="*/ 314103 h 628650"/>
                <a:gd name="connsiteX3" fmla="*/ 310421 w 622169"/>
                <a:gd name="connsiteY3" fmla="*/ 628428 h 628650"/>
                <a:gd name="connsiteX4" fmla="*/ -664 w 622169"/>
                <a:gd name="connsiteY4" fmla="*/ 314103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628650">
                  <a:moveTo>
                    <a:pt x="-664" y="314103"/>
                  </a:moveTo>
                  <a:cubicBezTo>
                    <a:pt x="-664" y="140510"/>
                    <a:pt x="138617" y="-222"/>
                    <a:pt x="310421" y="-222"/>
                  </a:cubicBezTo>
                  <a:cubicBezTo>
                    <a:pt x="482224" y="-222"/>
                    <a:pt x="621505" y="140510"/>
                    <a:pt x="621505" y="314103"/>
                  </a:cubicBezTo>
                  <a:cubicBezTo>
                    <a:pt x="621505" y="487696"/>
                    <a:pt x="482224" y="628428"/>
                    <a:pt x="310421" y="628428"/>
                  </a:cubicBezTo>
                  <a:cubicBezTo>
                    <a:pt x="138617" y="628428"/>
                    <a:pt x="-664" y="487696"/>
                    <a:pt x="-664" y="314103"/>
                  </a:cubicBezTo>
                  <a:close/>
                </a:path>
              </a:pathLst>
            </a:custGeom>
            <a:noFill/>
            <a:ln w="15875" cap="flat">
              <a:gradFill flip="none" rotWithShape="1">
                <a:gsLst>
                  <a:gs pos="0">
                    <a:srgbClr val="49C5B1"/>
                  </a:gs>
                  <a:gs pos="100000">
                    <a:schemeClr val="tx2"/>
                  </a:gs>
                </a:gsLst>
                <a:path path="circle">
                  <a:fillToRect l="100000" t="100000"/>
                </a:path>
                <a:tileRect r="-100000" b="-100000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C0DA3C1-A71C-1743-BA4E-F5239D9F9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10045700" y="1943844"/>
            <a:ext cx="1016000" cy="1016000"/>
            <a:chOff x="5047758" y="912128"/>
            <a:chExt cx="763571" cy="771525"/>
          </a:xfrm>
          <a:effectLst>
            <a:outerShdw blurRad="63500" sx="102000" sy="102000" algn="ctr" rotWithShape="0">
              <a:schemeClr val="bg1">
                <a:lumMod val="75000"/>
                <a:alpha val="40000"/>
              </a:schemeClr>
            </a:outerShdw>
          </a:effectLst>
        </p:grpSpPr>
        <p:sp>
          <p:nvSpPr>
            <p:cNvPr id="32" name="Freeform: Shape 24">
              <a:extLst>
                <a:ext uri="{FF2B5EF4-FFF2-40B4-BE49-F238E27FC236}">
                  <a16:creationId xmlns:a16="http://schemas.microsoft.com/office/drawing/2014/main" id="{1B54C1B9-DA99-DBA6-572A-635B7AE91780}"/>
                </a:ext>
              </a:extLst>
            </p:cNvPr>
            <p:cNvSpPr/>
            <p:nvPr/>
          </p:nvSpPr>
          <p:spPr>
            <a:xfrm>
              <a:off x="5047758" y="912128"/>
              <a:ext cx="763571" cy="771525"/>
            </a:xfrm>
            <a:custGeom>
              <a:avLst/>
              <a:gdLst>
                <a:gd name="connsiteX0" fmla="*/ -664 w 763571"/>
                <a:gd name="connsiteY0" fmla="*/ 385541 h 771525"/>
                <a:gd name="connsiteX1" fmla="*/ 381122 w 763571"/>
                <a:gd name="connsiteY1" fmla="*/ -222 h 771525"/>
                <a:gd name="connsiteX2" fmla="*/ 762907 w 763571"/>
                <a:gd name="connsiteY2" fmla="*/ 385541 h 771525"/>
                <a:gd name="connsiteX3" fmla="*/ 381122 w 763571"/>
                <a:gd name="connsiteY3" fmla="*/ 771303 h 771525"/>
                <a:gd name="connsiteX4" fmla="*/ -664 w 763571"/>
                <a:gd name="connsiteY4" fmla="*/ 385541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3571" h="771525">
                  <a:moveTo>
                    <a:pt x="-664" y="385541"/>
                  </a:moveTo>
                  <a:cubicBezTo>
                    <a:pt x="-664" y="172485"/>
                    <a:pt x="170263" y="-222"/>
                    <a:pt x="381122" y="-222"/>
                  </a:cubicBezTo>
                  <a:cubicBezTo>
                    <a:pt x="591980" y="-222"/>
                    <a:pt x="762907" y="172485"/>
                    <a:pt x="762907" y="385541"/>
                  </a:cubicBezTo>
                  <a:cubicBezTo>
                    <a:pt x="762907" y="598596"/>
                    <a:pt x="591980" y="771303"/>
                    <a:pt x="381122" y="771303"/>
                  </a:cubicBezTo>
                  <a:cubicBezTo>
                    <a:pt x="170263" y="771303"/>
                    <a:pt x="-664" y="598596"/>
                    <a:pt x="-664" y="385541"/>
                  </a:cubicBezTo>
                  <a:close/>
                </a:path>
              </a:pathLst>
            </a:custGeom>
            <a:solidFill>
              <a:srgbClr val="FFFFFF"/>
            </a:solidFill>
            <a:ln w="9427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: Shape 25">
              <a:extLst>
                <a:ext uri="{FF2B5EF4-FFF2-40B4-BE49-F238E27FC236}">
                  <a16:creationId xmlns:a16="http://schemas.microsoft.com/office/drawing/2014/main" id="{9B35BDCB-840D-0045-5D4C-C8557411080D}"/>
                </a:ext>
              </a:extLst>
            </p:cNvPr>
            <p:cNvSpPr/>
            <p:nvPr/>
          </p:nvSpPr>
          <p:spPr>
            <a:xfrm>
              <a:off x="5118460" y="983566"/>
              <a:ext cx="622169" cy="628650"/>
            </a:xfrm>
            <a:custGeom>
              <a:avLst/>
              <a:gdLst>
                <a:gd name="connsiteX0" fmla="*/ -664 w 622169"/>
                <a:gd name="connsiteY0" fmla="*/ 314103 h 628650"/>
                <a:gd name="connsiteX1" fmla="*/ 310421 w 622169"/>
                <a:gd name="connsiteY1" fmla="*/ -222 h 628650"/>
                <a:gd name="connsiteX2" fmla="*/ 621505 w 622169"/>
                <a:gd name="connsiteY2" fmla="*/ 314103 h 628650"/>
                <a:gd name="connsiteX3" fmla="*/ 310421 w 622169"/>
                <a:gd name="connsiteY3" fmla="*/ 628428 h 628650"/>
                <a:gd name="connsiteX4" fmla="*/ -664 w 622169"/>
                <a:gd name="connsiteY4" fmla="*/ 314103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628650">
                  <a:moveTo>
                    <a:pt x="-664" y="314103"/>
                  </a:moveTo>
                  <a:cubicBezTo>
                    <a:pt x="-664" y="140510"/>
                    <a:pt x="138617" y="-222"/>
                    <a:pt x="310421" y="-222"/>
                  </a:cubicBezTo>
                  <a:cubicBezTo>
                    <a:pt x="482224" y="-222"/>
                    <a:pt x="621505" y="140510"/>
                    <a:pt x="621505" y="314103"/>
                  </a:cubicBezTo>
                  <a:cubicBezTo>
                    <a:pt x="621505" y="487696"/>
                    <a:pt x="482224" y="628428"/>
                    <a:pt x="310421" y="628428"/>
                  </a:cubicBezTo>
                  <a:cubicBezTo>
                    <a:pt x="138617" y="628428"/>
                    <a:pt x="-664" y="487696"/>
                    <a:pt x="-664" y="314103"/>
                  </a:cubicBezTo>
                  <a:close/>
                </a:path>
              </a:pathLst>
            </a:custGeom>
            <a:noFill/>
            <a:ln w="15875" cap="flat">
              <a:gradFill flip="none" rotWithShape="1">
                <a:gsLst>
                  <a:gs pos="0">
                    <a:srgbClr val="49C5B1"/>
                  </a:gs>
                  <a:gs pos="100000">
                    <a:schemeClr val="tx2"/>
                  </a:gs>
                </a:gsLst>
                <a:path path="circle">
                  <a:fillToRect l="100000" t="100000"/>
                </a:path>
                <a:tileRect r="-100000" b="-100000"/>
              </a:gra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651255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sing slide with picture">
    <p:bg>
      <p:bgPr>
        <a:solidFill>
          <a:srgbClr val="F4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206A45-989B-06C6-325B-39DCF16C00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112315-6B05-4F03-9382-D36C5DB47D7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0524403-ADBF-75DD-D045-7FD9E5F42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2264878"/>
            <a:ext cx="5505132" cy="135421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4400" spc="0">
                <a:solidFill>
                  <a:schemeClr val="tx1"/>
                </a:solidFill>
                <a:latin typeface="Segoe Sans Display Semibold" pitchFamily="2" charset="0"/>
                <a:cs typeface="Segoe Sans Display Semibold" pitchFamily="2" charset="0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tabLst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6088699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rgbClr val="FFF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Segoe Sans Text" pitchFamily="2" charset="0"/>
                <a:cs typeface="Segoe Sans Text" pitchFamily="2" charset="0"/>
              </a:defRPr>
            </a:lvl1pPr>
            <a:lvl2pPr>
              <a:defRPr sz="1600" b="0" i="0">
                <a:solidFill>
                  <a:schemeClr val="bg1"/>
                </a:solidFill>
                <a:latin typeface="Segoe Sans Text" pitchFamily="2" charset="0"/>
                <a:cs typeface="Segoe Sans Text" pitchFamily="2" charset="0"/>
              </a:defRPr>
            </a:lvl2pPr>
            <a:lvl3pPr>
              <a:defRPr sz="1600" b="0" i="0">
                <a:solidFill>
                  <a:schemeClr val="bg1"/>
                </a:solidFill>
                <a:latin typeface="Segoe Sans Text" pitchFamily="2" charset="0"/>
                <a:cs typeface="Segoe Sans Text" pitchFamily="2" charset="0"/>
              </a:defRPr>
            </a:lvl3pPr>
            <a:lvl4pPr>
              <a:defRPr sz="1600" b="0" i="0">
                <a:solidFill>
                  <a:schemeClr val="bg1"/>
                </a:solidFill>
                <a:latin typeface="Segoe Sans Text" pitchFamily="2" charset="0"/>
                <a:cs typeface="Segoe Sans Text" pitchFamily="2" charset="0"/>
              </a:defRPr>
            </a:lvl4pPr>
            <a:lvl5pPr>
              <a:defRPr sz="1600" b="0" i="0">
                <a:solidFill>
                  <a:schemeClr val="bg1"/>
                </a:solidFill>
                <a:latin typeface="Segoe Sans Text" pitchFamily="2" charset="0"/>
                <a:cs typeface="Segoe Sans Tex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184481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white, design, black and white, art&#10;&#10;Description automatically generated">
            <a:extLst>
              <a:ext uri="{FF2B5EF4-FFF2-40B4-BE49-F238E27FC236}">
                <a16:creationId xmlns:a16="http://schemas.microsoft.com/office/drawing/2014/main" id="{E70DB4C7-2DB7-C67B-FDF9-661CD85D6E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4827672F-3FB7-5D77-675C-A6029172DB9D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79E1F6B-2F36-9D1E-0514-5DEEC4312059}"/>
                </a:ext>
              </a:extLst>
            </p:cNvPr>
            <p:cNvGrpSpPr/>
            <p:nvPr/>
          </p:nvGrpSpPr>
          <p:grpSpPr>
            <a:xfrm>
              <a:off x="0" y="5699775"/>
              <a:ext cx="12192001" cy="1158225"/>
              <a:chOff x="0" y="5699775"/>
              <a:chExt cx="12192001" cy="1158225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F315CBB3-3737-576D-6792-526068DBD4C2}"/>
                  </a:ext>
                </a:extLst>
              </p:cNvPr>
              <p:cNvGrpSpPr/>
              <p:nvPr/>
            </p:nvGrpSpPr>
            <p:grpSpPr>
              <a:xfrm>
                <a:off x="0" y="5699775"/>
                <a:ext cx="2603500" cy="1158225"/>
                <a:chOff x="0" y="5475269"/>
                <a:chExt cx="3108154" cy="1382731"/>
              </a:xfrm>
            </p:grpSpPr>
            <p:sp>
              <p:nvSpPr>
                <p:cNvPr id="12" name="Freeform: Shape 11">
                  <a:extLst>
                    <a:ext uri="{FF2B5EF4-FFF2-40B4-BE49-F238E27FC236}">
                      <a16:creationId xmlns:a16="http://schemas.microsoft.com/office/drawing/2014/main" id="{2A5FB1BC-3BC5-3264-773A-8813F0A6F0E8}"/>
                    </a:ext>
                  </a:extLst>
                </p:cNvPr>
                <p:cNvSpPr/>
                <p:nvPr/>
              </p:nvSpPr>
              <p:spPr>
                <a:xfrm>
                  <a:off x="1" y="5475269"/>
                  <a:ext cx="3108153" cy="1382731"/>
                </a:xfrm>
                <a:custGeom>
                  <a:avLst/>
                  <a:gdLst>
                    <a:gd name="connsiteX0" fmla="*/ 0 w 3108153"/>
                    <a:gd name="connsiteY0" fmla="*/ 0 h 1382731"/>
                    <a:gd name="connsiteX1" fmla="*/ 49187 w 3108153"/>
                    <a:gd name="connsiteY1" fmla="*/ 26851 h 1382731"/>
                    <a:gd name="connsiteX2" fmla="*/ 2953266 w 3108153"/>
                    <a:gd name="connsiteY2" fmla="*/ 1337112 h 1382731"/>
                    <a:gd name="connsiteX3" fmla="*/ 3108153 w 3108153"/>
                    <a:gd name="connsiteY3" fmla="*/ 1382731 h 1382731"/>
                    <a:gd name="connsiteX4" fmla="*/ 0 w 3108153"/>
                    <a:gd name="connsiteY4" fmla="*/ 1382731 h 1382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08153" h="1382731">
                      <a:moveTo>
                        <a:pt x="0" y="0"/>
                      </a:moveTo>
                      <a:lnTo>
                        <a:pt x="49187" y="26851"/>
                      </a:lnTo>
                      <a:cubicBezTo>
                        <a:pt x="696787" y="387015"/>
                        <a:pt x="1749136" y="957758"/>
                        <a:pt x="2953266" y="1337112"/>
                      </a:cubicBezTo>
                      <a:lnTo>
                        <a:pt x="3108153" y="1382731"/>
                      </a:lnTo>
                      <a:lnTo>
                        <a:pt x="0" y="138273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8467" cap="flat">
                  <a:noFill/>
                  <a:prstDash val="solid"/>
                  <a:miter/>
                </a:ln>
                <a:effectLst>
                  <a:outerShdw blurRad="317500" dist="254000" dir="18900000" sx="95000" sy="95000" algn="b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" name="Freeform: Shape 12">
                  <a:extLst>
                    <a:ext uri="{FF2B5EF4-FFF2-40B4-BE49-F238E27FC236}">
                      <a16:creationId xmlns:a16="http://schemas.microsoft.com/office/drawing/2014/main" id="{B4D90BAC-7F95-B999-5060-3DCB45F3DE70}"/>
                    </a:ext>
                  </a:extLst>
                </p:cNvPr>
                <p:cNvSpPr/>
                <p:nvPr/>
              </p:nvSpPr>
              <p:spPr>
                <a:xfrm>
                  <a:off x="0" y="6299084"/>
                  <a:ext cx="1844515" cy="558916"/>
                </a:xfrm>
                <a:custGeom>
                  <a:avLst/>
                  <a:gdLst>
                    <a:gd name="connsiteX0" fmla="*/ 0 w 1844515"/>
                    <a:gd name="connsiteY0" fmla="*/ 0 h 558916"/>
                    <a:gd name="connsiteX1" fmla="*/ 682372 w 1844515"/>
                    <a:gd name="connsiteY1" fmla="*/ 218742 h 558916"/>
                    <a:gd name="connsiteX2" fmla="*/ 1701934 w 1844515"/>
                    <a:gd name="connsiteY2" fmla="*/ 523820 h 558916"/>
                    <a:gd name="connsiteX3" fmla="*/ 1844515 w 1844515"/>
                    <a:gd name="connsiteY3" fmla="*/ 558916 h 558916"/>
                    <a:gd name="connsiteX4" fmla="*/ 0 w 1844515"/>
                    <a:gd name="connsiteY4" fmla="*/ 558916 h 558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4515" h="558916">
                      <a:moveTo>
                        <a:pt x="0" y="0"/>
                      </a:moveTo>
                      <a:lnTo>
                        <a:pt x="682372" y="218742"/>
                      </a:lnTo>
                      <a:cubicBezTo>
                        <a:pt x="938262" y="302311"/>
                        <a:pt x="1290111" y="415196"/>
                        <a:pt x="1701934" y="523820"/>
                      </a:cubicBezTo>
                      <a:lnTo>
                        <a:pt x="1844515" y="558916"/>
                      </a:lnTo>
                      <a:lnTo>
                        <a:pt x="0" y="55891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8467" cap="flat">
                  <a:noFill/>
                  <a:prstDash val="solid"/>
                  <a:miter/>
                </a:ln>
                <a:effectLst>
                  <a:outerShdw blurRad="317500" dist="254000" dir="18900000" sx="95000" sy="95000" algn="b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49D753A6-D833-CF7D-73B9-0108634CFBC6}"/>
                  </a:ext>
                </a:extLst>
              </p:cNvPr>
              <p:cNvSpPr/>
              <p:nvPr/>
            </p:nvSpPr>
            <p:spPr>
              <a:xfrm>
                <a:off x="7988300" y="6359756"/>
                <a:ext cx="4203701" cy="498243"/>
              </a:xfrm>
              <a:custGeom>
                <a:avLst/>
                <a:gdLst>
                  <a:gd name="connsiteX0" fmla="*/ 3112003 w 4634189"/>
                  <a:gd name="connsiteY0" fmla="*/ 828 h 549266"/>
                  <a:gd name="connsiteX1" fmla="*/ 3889121 w 4634189"/>
                  <a:gd name="connsiteY1" fmla="*/ 43171 h 549266"/>
                  <a:gd name="connsiteX2" fmla="*/ 4471106 w 4634189"/>
                  <a:gd name="connsiteY2" fmla="*/ 158542 h 549266"/>
                  <a:gd name="connsiteX3" fmla="*/ 4634189 w 4634189"/>
                  <a:gd name="connsiteY3" fmla="*/ 204851 h 549266"/>
                  <a:gd name="connsiteX4" fmla="*/ 4634189 w 4634189"/>
                  <a:gd name="connsiteY4" fmla="*/ 549266 h 549266"/>
                  <a:gd name="connsiteX5" fmla="*/ 0 w 4634189"/>
                  <a:gd name="connsiteY5" fmla="*/ 549266 h 549266"/>
                  <a:gd name="connsiteX6" fmla="*/ 3528 w 4634189"/>
                  <a:gd name="connsiteY6" fmla="*/ 548460 h 549266"/>
                  <a:gd name="connsiteX7" fmla="*/ 3112003 w 4634189"/>
                  <a:gd name="connsiteY7" fmla="*/ 828 h 549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34189" h="549266">
                    <a:moveTo>
                      <a:pt x="3112003" y="828"/>
                    </a:moveTo>
                    <a:cubicBezTo>
                      <a:pt x="3371042" y="-3508"/>
                      <a:pt x="3630082" y="8981"/>
                      <a:pt x="3889121" y="43171"/>
                    </a:cubicBezTo>
                    <a:cubicBezTo>
                      <a:pt x="4083401" y="69810"/>
                      <a:pt x="4277681" y="108889"/>
                      <a:pt x="4471106" y="158542"/>
                    </a:cubicBezTo>
                    <a:lnTo>
                      <a:pt x="4634189" y="204851"/>
                    </a:lnTo>
                    <a:lnTo>
                      <a:pt x="4634189" y="549266"/>
                    </a:lnTo>
                    <a:lnTo>
                      <a:pt x="0" y="549266"/>
                    </a:lnTo>
                    <a:lnTo>
                      <a:pt x="3528" y="548460"/>
                    </a:lnTo>
                    <a:cubicBezTo>
                      <a:pt x="1039687" y="304727"/>
                      <a:pt x="2075845" y="18173"/>
                      <a:pt x="3112003" y="828"/>
                    </a:cubicBezTo>
                    <a:close/>
                  </a:path>
                </a:pathLst>
              </a:custGeom>
              <a:solidFill>
                <a:schemeClr val="bg1"/>
              </a:solidFill>
              <a:ln w="8467" cap="flat">
                <a:noFill/>
                <a:prstDash val="solid"/>
                <a:miter/>
              </a:ln>
              <a:effectLst>
                <a:outerShdw blurRad="317500" dist="254000" dir="18900000" sx="95000" sy="95000" algn="bl" rotWithShape="0">
                  <a:prstClr val="black">
                    <a:alpha val="5000"/>
                  </a:prst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AC99710-537F-B32C-9E04-92320A3AC440}"/>
                </a:ext>
              </a:extLst>
            </p:cNvPr>
            <p:cNvGrpSpPr/>
            <p:nvPr/>
          </p:nvGrpSpPr>
          <p:grpSpPr>
            <a:xfrm>
              <a:off x="9486900" y="0"/>
              <a:ext cx="2705100" cy="694583"/>
              <a:chOff x="9486900" y="0"/>
              <a:chExt cx="2705100" cy="694583"/>
            </a:xfrm>
          </p:grpSpPr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01AC48FB-34DC-ABC5-F07D-E354203ECA90}"/>
                  </a:ext>
                </a:extLst>
              </p:cNvPr>
              <p:cNvSpPr/>
              <p:nvPr/>
            </p:nvSpPr>
            <p:spPr>
              <a:xfrm>
                <a:off x="9486900" y="0"/>
                <a:ext cx="2705100" cy="694583"/>
              </a:xfrm>
              <a:custGeom>
                <a:avLst/>
                <a:gdLst>
                  <a:gd name="connsiteX0" fmla="*/ 0 w 6378217"/>
                  <a:gd name="connsiteY0" fmla="*/ 0 h 1637721"/>
                  <a:gd name="connsiteX1" fmla="*/ 4167423 w 6378217"/>
                  <a:gd name="connsiteY1" fmla="*/ 1631982 h 1637721"/>
                  <a:gd name="connsiteX2" fmla="*/ 6378218 w 6378217"/>
                  <a:gd name="connsiteY2" fmla="*/ 1175323 h 1637721"/>
                  <a:gd name="connsiteX3" fmla="*/ 6378218 w 6378217"/>
                  <a:gd name="connsiteY3" fmla="*/ 0 h 1637721"/>
                  <a:gd name="connsiteX4" fmla="*/ 0 w 6378217"/>
                  <a:gd name="connsiteY4" fmla="*/ 0 h 1637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8217" h="1637721">
                    <a:moveTo>
                      <a:pt x="0" y="0"/>
                    </a:moveTo>
                    <a:cubicBezTo>
                      <a:pt x="1476490" y="225815"/>
                      <a:pt x="2722373" y="1559284"/>
                      <a:pt x="4167423" y="1631982"/>
                    </a:cubicBezTo>
                    <a:cubicBezTo>
                      <a:pt x="5475750" y="1697830"/>
                      <a:pt x="6378218" y="1175323"/>
                      <a:pt x="6378218" y="1175323"/>
                    </a:cubicBezTo>
                    <a:lnTo>
                      <a:pt x="637821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8467" cap="flat">
                <a:noFill/>
                <a:prstDash val="solid"/>
                <a:miter/>
              </a:ln>
              <a:effectLst>
                <a:outerShdw blurRad="1270000" dir="18900000" sx="90000" sy="90000" algn="bl" rotWithShape="0">
                  <a:prstClr val="black">
                    <a:alpha val="5000"/>
                  </a:prst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DB07945E-DD00-F74A-1A78-8A0DCE72C127}"/>
                  </a:ext>
                </a:extLst>
              </p:cNvPr>
              <p:cNvSpPr/>
              <p:nvPr/>
            </p:nvSpPr>
            <p:spPr>
              <a:xfrm>
                <a:off x="9486900" y="0"/>
                <a:ext cx="2705100" cy="431371"/>
              </a:xfrm>
              <a:custGeom>
                <a:avLst/>
                <a:gdLst>
                  <a:gd name="connsiteX0" fmla="*/ 0 w 6378217"/>
                  <a:gd name="connsiteY0" fmla="*/ 0 h 1017107"/>
                  <a:gd name="connsiteX1" fmla="*/ 4094765 w 6378217"/>
                  <a:gd name="connsiteY1" fmla="*/ 1012782 h 1017107"/>
                  <a:gd name="connsiteX2" fmla="*/ 6378218 w 6378217"/>
                  <a:gd name="connsiteY2" fmla="*/ 697085 h 1017107"/>
                  <a:gd name="connsiteX3" fmla="*/ 6378218 w 6378217"/>
                  <a:gd name="connsiteY3" fmla="*/ 0 h 1017107"/>
                  <a:gd name="connsiteX4" fmla="*/ 0 w 6378217"/>
                  <a:gd name="connsiteY4" fmla="*/ 0 h 1017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8217" h="1017107">
                    <a:moveTo>
                      <a:pt x="0" y="0"/>
                    </a:moveTo>
                    <a:cubicBezTo>
                      <a:pt x="1666233" y="157275"/>
                      <a:pt x="2855732" y="967604"/>
                      <a:pt x="4094765" y="1012782"/>
                    </a:cubicBezTo>
                    <a:cubicBezTo>
                      <a:pt x="5403922" y="1060535"/>
                      <a:pt x="6378218" y="697085"/>
                      <a:pt x="6378218" y="697085"/>
                    </a:cubicBezTo>
                    <a:lnTo>
                      <a:pt x="637821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8467" cap="flat">
                <a:noFill/>
                <a:prstDash val="solid"/>
                <a:miter/>
              </a:ln>
              <a:effectLst>
                <a:outerShdw blurRad="1270000" dir="18900000" sx="90000" sy="90000" algn="bl" rotWithShape="0">
                  <a:prstClr val="black">
                    <a:alpha val="22000"/>
                  </a:prst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92443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3200" dirty="0">
                <a:gradFill>
                  <a:gsLst>
                    <a:gs pos="0">
                      <a:schemeClr val="tx2"/>
                    </a:gs>
                    <a:gs pos="100000">
                      <a:schemeClr val="tx2">
                        <a:lumMod val="60000"/>
                        <a:lumOff val="40000"/>
                      </a:schemeClr>
                    </a:gs>
                  </a:gsLst>
                  <a:lin ang="2700000" scaled="1"/>
                </a:gra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35631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0493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FFC356BA-0CCE-C269-87CB-643D0FB972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585788"/>
            <a:ext cx="12192000" cy="6272212"/>
            <a:chOff x="-1" y="585788"/>
            <a:chExt cx="12192000" cy="627221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0CF277B-B5B6-8E6F-3163-7C8F3553943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V="1">
              <a:off x="-1" y="1341124"/>
              <a:ext cx="12192000" cy="5516876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76F14A2-FE1E-3588-9A9F-3B19F44E5D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0" y="3939242"/>
              <a:ext cx="3653952" cy="152167"/>
              <a:chOff x="0" y="4046193"/>
              <a:chExt cx="3653952" cy="152167"/>
            </a:xfrm>
          </p:grpSpPr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7F979E22-4CA9-7684-AFC0-034B59D3C6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4122276"/>
                <a:ext cx="3056639" cy="0"/>
              </a:xfrm>
              <a:prstGeom prst="line">
                <a:avLst/>
              </a:prstGeom>
              <a:noFill/>
              <a:ln w="22225" cap="flat" cmpd="sng" algn="ctr">
                <a:solidFill>
                  <a:schemeClr val="bg2"/>
                </a:solidFill>
                <a:prstDash val="solid"/>
                <a:headEnd type="none" w="lg" len="med"/>
                <a:tailEnd type="none" w="lg" len="med"/>
              </a:ln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spPr>
          </p:cxn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B14E44D8-D5D1-677F-8DA1-198167CAD387}"/>
                  </a:ext>
                </a:extLst>
              </p:cNvPr>
              <p:cNvGrpSpPr>
                <a:grpSpLocks/>
              </p:cNvGrpSpPr>
              <p:nvPr userDrawn="1"/>
            </p:nvGrpSpPr>
            <p:grpSpPr>
              <a:xfrm>
                <a:off x="3049826" y="4046193"/>
                <a:ext cx="604126" cy="152167"/>
                <a:chOff x="3049826" y="4046193"/>
                <a:chExt cx="604126" cy="152167"/>
              </a:xfrm>
              <a:effectLst>
                <a:outerShdw blurRad="25400" dist="25400" dir="5400000" algn="t" rotWithShape="0">
                  <a:schemeClr val="bg1">
                    <a:lumMod val="50000"/>
                    <a:alpha val="30000"/>
                  </a:schemeClr>
                </a:outerShdw>
              </a:effectLst>
            </p:grpSpPr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24B8CEAB-B51C-C918-BCE0-E6D9A1DF58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9826" y="4046193"/>
                  <a:ext cx="152167" cy="152167"/>
                </a:xfrm>
                <a:prstGeom prst="ellipse">
                  <a:avLst/>
                </a:prstGeom>
                <a:solidFill>
                  <a:srgbClr val="225B62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8398FF52-C1C3-52FC-E2CB-D231EC089B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805" y="4046193"/>
                  <a:ext cx="152167" cy="152167"/>
                </a:xfrm>
                <a:prstGeom prst="ellipse">
                  <a:avLst/>
                </a:prstGeom>
                <a:solidFill>
                  <a:srgbClr val="57B9C5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58A8B91C-1161-5703-7D51-25068A415B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1785" y="4046193"/>
                  <a:ext cx="152167" cy="152167"/>
                </a:xfrm>
                <a:prstGeom prst="ellipse">
                  <a:avLst/>
                </a:prstGeom>
                <a:solidFill>
                  <a:srgbClr val="D4EC8E"/>
                </a:solidFill>
                <a:ln w="22225" cap="flat" cmpd="sng" algn="ctr">
                  <a:solidFill>
                    <a:schemeClr val="bg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32472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  <p:pic>
          <p:nvPicPr>
            <p:cNvPr id="25" name="MS logo gray - EMF" descr="Microsoft logo, gray text version">
              <a:extLst>
                <a:ext uri="{FF2B5EF4-FFF2-40B4-BE49-F238E27FC236}">
                  <a16:creationId xmlns:a16="http://schemas.microsoft.com/office/drawing/2014/main" id="{5382AD6B-F5C6-7808-5134-AA5824FF8C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584200" y="585788"/>
              <a:ext cx="1366440" cy="29260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7A3C527-E1FE-904C-794B-694057D0A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3018912"/>
            <a:ext cx="7297928" cy="55399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Lorem ipsum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413A5332-3A94-78D6-7B67-ECD35EDDAC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0" y="4321655"/>
            <a:ext cx="3069752" cy="369332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9D9E23FF-FE03-96F4-0E16-6FC85D2CE6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4809145"/>
            <a:ext cx="3069752" cy="276999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418014583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image" Target="../media/image1.emf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image" Target="../media/image2.png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61" Type="http://schemas.openxmlformats.org/officeDocument/2006/relationships/slideLayout" Target="../slideLayouts/slideLayout161.xml"/><Relationship Id="rId166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51" Type="http://schemas.openxmlformats.org/officeDocument/2006/relationships/slideLayout" Target="../slideLayouts/slideLayout151.xml"/><Relationship Id="rId156" Type="http://schemas.openxmlformats.org/officeDocument/2006/relationships/slideLayout" Target="../slideLayouts/slideLayout156.xml"/><Relationship Id="rId172" Type="http://schemas.openxmlformats.org/officeDocument/2006/relationships/image" Target="../media/image3.svg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26" Type="http://schemas.openxmlformats.org/officeDocument/2006/relationships/slideLayout" Target="../slideLayouts/slideLayout192.xml"/><Relationship Id="rId39" Type="http://schemas.openxmlformats.org/officeDocument/2006/relationships/slideLayout" Target="../slideLayouts/slideLayout205.xml"/><Relationship Id="rId21" Type="http://schemas.openxmlformats.org/officeDocument/2006/relationships/slideLayout" Target="../slideLayouts/slideLayout187.xml"/><Relationship Id="rId34" Type="http://schemas.openxmlformats.org/officeDocument/2006/relationships/slideLayout" Target="../slideLayouts/slideLayout200.xml"/><Relationship Id="rId42" Type="http://schemas.openxmlformats.org/officeDocument/2006/relationships/slideLayout" Target="../slideLayouts/slideLayout208.xml"/><Relationship Id="rId47" Type="http://schemas.openxmlformats.org/officeDocument/2006/relationships/slideLayout" Target="../slideLayouts/slideLayout213.xml"/><Relationship Id="rId50" Type="http://schemas.openxmlformats.org/officeDocument/2006/relationships/slideLayout" Target="../slideLayouts/slideLayout216.xml"/><Relationship Id="rId55" Type="http://schemas.openxmlformats.org/officeDocument/2006/relationships/image" Target="../media/image2.png"/><Relationship Id="rId7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9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177.xml"/><Relationship Id="rId24" Type="http://schemas.openxmlformats.org/officeDocument/2006/relationships/slideLayout" Target="../slideLayouts/slideLayout190.xml"/><Relationship Id="rId32" Type="http://schemas.openxmlformats.org/officeDocument/2006/relationships/slideLayout" Target="../slideLayouts/slideLayout198.xml"/><Relationship Id="rId37" Type="http://schemas.openxmlformats.org/officeDocument/2006/relationships/slideLayout" Target="../slideLayouts/slideLayout203.xml"/><Relationship Id="rId40" Type="http://schemas.openxmlformats.org/officeDocument/2006/relationships/slideLayout" Target="../slideLayouts/slideLayout206.xml"/><Relationship Id="rId45" Type="http://schemas.openxmlformats.org/officeDocument/2006/relationships/slideLayout" Target="../slideLayouts/slideLayout211.xml"/><Relationship Id="rId53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31" Type="http://schemas.openxmlformats.org/officeDocument/2006/relationships/slideLayout" Target="../slideLayouts/slideLayout197.xml"/><Relationship Id="rId44" Type="http://schemas.openxmlformats.org/officeDocument/2006/relationships/slideLayout" Target="../slideLayouts/slideLayout210.xml"/><Relationship Id="rId52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Relationship Id="rId27" Type="http://schemas.openxmlformats.org/officeDocument/2006/relationships/slideLayout" Target="../slideLayouts/slideLayout193.xml"/><Relationship Id="rId30" Type="http://schemas.openxmlformats.org/officeDocument/2006/relationships/slideLayout" Target="../slideLayouts/slideLayout196.xml"/><Relationship Id="rId35" Type="http://schemas.openxmlformats.org/officeDocument/2006/relationships/slideLayout" Target="../slideLayouts/slideLayout201.xml"/><Relationship Id="rId43" Type="http://schemas.openxmlformats.org/officeDocument/2006/relationships/slideLayout" Target="../slideLayouts/slideLayout209.xml"/><Relationship Id="rId48" Type="http://schemas.openxmlformats.org/officeDocument/2006/relationships/slideLayout" Target="../slideLayouts/slideLayout214.xml"/><Relationship Id="rId56" Type="http://schemas.openxmlformats.org/officeDocument/2006/relationships/image" Target="../media/image3.svg"/><Relationship Id="rId8" Type="http://schemas.openxmlformats.org/officeDocument/2006/relationships/slideLayout" Target="../slideLayouts/slideLayout174.xml"/><Relationship Id="rId51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slideLayout" Target="../slideLayouts/slideLayout191.xml"/><Relationship Id="rId33" Type="http://schemas.openxmlformats.org/officeDocument/2006/relationships/slideLayout" Target="../slideLayouts/slideLayout199.xml"/><Relationship Id="rId38" Type="http://schemas.openxmlformats.org/officeDocument/2006/relationships/slideLayout" Target="../slideLayouts/slideLayout204.xml"/><Relationship Id="rId46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186.xml"/><Relationship Id="rId41" Type="http://schemas.openxmlformats.org/officeDocument/2006/relationships/slideLayout" Target="../slideLayouts/slideLayout207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1.xml"/><Relationship Id="rId23" Type="http://schemas.openxmlformats.org/officeDocument/2006/relationships/slideLayout" Target="../slideLayouts/slideLayout189.xml"/><Relationship Id="rId28" Type="http://schemas.openxmlformats.org/officeDocument/2006/relationships/slideLayout" Target="../slideLayouts/slideLayout194.xml"/><Relationship Id="rId36" Type="http://schemas.openxmlformats.org/officeDocument/2006/relationships/slideLayout" Target="../slideLayouts/slideLayout202.xml"/><Relationship Id="rId49" Type="http://schemas.openxmlformats.org/officeDocument/2006/relationships/slideLayout" Target="../slideLayouts/slideLayout2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7F7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5" name="Object 144" hidden="1">
            <a:extLst>
              <a:ext uri="{FF2B5EF4-FFF2-40B4-BE49-F238E27FC236}">
                <a16:creationId xmlns:a16="http://schemas.microsoft.com/office/drawing/2014/main" id="{FFB19668-BACF-0E5E-CEA5-D6D7D007E2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8"/>
            </p:custDataLst>
            <p:extLst>
              <p:ext uri="{D42A27DB-BD31-4B8C-83A1-F6EECF244321}">
                <p14:modId xmlns:p14="http://schemas.microsoft.com/office/powerpoint/2010/main" val="1539800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9" imgW="425" imgH="424" progId="TCLayout.ActiveDocument.1">
                  <p:embed/>
                </p:oleObj>
              </mc:Choice>
              <mc:Fallback>
                <p:oleObj name="think-cell Slide" r:id="rId169" imgW="425" imgH="424" progId="TCLayout.ActiveDocument.1">
                  <p:embed/>
                  <p:pic>
                    <p:nvPicPr>
                      <p:cNvPr id="145" name="Object 144" hidden="1">
                        <a:extLst>
                          <a:ext uri="{FF2B5EF4-FFF2-40B4-BE49-F238E27FC236}">
                            <a16:creationId xmlns:a16="http://schemas.microsoft.com/office/drawing/2014/main" id="{FFB19668-BACF-0E5E-CEA5-D6D7D007E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171">
            <a:extLst>
              <a:ext uri="{96DAC541-7B7A-43D3-8B79-37D633B846F1}">
                <asvg:svgBlip xmlns:asvg="http://schemas.microsoft.com/office/drawing/2016/SVG/main" r:embed="rId172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  <p:grpSp>
        <p:nvGrpSpPr>
          <p:cNvPr id="5" name="GRID" hidden="1">
            <a:extLst>
              <a:ext uri="{FF2B5EF4-FFF2-40B4-BE49-F238E27FC236}">
                <a16:creationId xmlns:a16="http://schemas.microsoft.com/office/drawing/2014/main" id="{50B40653-3095-5409-AF88-3DE01C56C0BD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6935197-7475-253E-35F9-725C66B342D8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EC3EF2E-A5B2-D2A9-F740-03AAA27E6A19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7F0A76F-B355-867B-FF6D-F22822CEFE79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E17F9FA-4296-F115-3C5A-E4E06672BDDC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96D4F38-E0A7-05C7-1A8B-6447E304B31C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D13B5F2-C404-D013-5BA1-42FF3AE7E41C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74F5559-8FA3-6EA3-DAB5-891CE057A2D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B6D1909D-8405-DD51-025D-A9985950CDDD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2D05B44-146F-0D71-6B17-0631ABDE9EC9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4B24C807-9FA6-E204-20B6-2473904A789E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B31505BA-A410-E722-7AAD-2DF4CC8A1323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72B61F5-642E-081E-0DED-2F31A3C43F6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C903E72D-E58A-556B-A8EF-71C8664C7A32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3FB7E760-EF13-BCFD-2E36-CFEB29A66399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9307D1ED-8B6D-1A94-1791-BBB67BECEFA4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C29C4DC-DA7B-3D8B-E607-D26C42FE54AD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0DAA56E-BF97-068A-BC5C-1623B8A2D544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F7786B85-1650-9240-DE22-45A294AEF682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75B1B47-5558-8B9E-7DC9-6CE9A06CF1E1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6BA73727-B7C9-2771-4609-439446DD52AC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A4A69FD-FC28-F694-746F-F05209933D0C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89F58F0-B683-0A02-E5E9-56C0E3B5D9A7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865526F5-745E-3DED-5921-83448B292C71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6CE0CA17-DE49-59C6-DE10-28CB5C6104E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B7F53F9D-E601-E9D7-CCC9-9C6D4D308975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7ACEC8BB-71E0-463D-75AD-DD05EA03B2BD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80BB4EC2-E7F2-9FE8-6DD2-6021493CAE00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363A409F-1FD3-E286-3FD8-3B8A67AE54FF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C5A7289-3785-0F08-62F9-0A77D2E437B7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B65EC46A-D6D0-A02A-4596-D76BE2FE7F23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DB85506E-90D6-DB35-FB26-A2A1BC9076A7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BE71234-F491-CCF9-EA34-E63F2A8A3155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B826998-D865-2012-0554-C384C0A0E618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376F161-F07A-C2ED-641A-0B3DDBAA7778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0" name=".64 square" hidden="1">
            <a:extLst>
              <a:ext uri="{FF2B5EF4-FFF2-40B4-BE49-F238E27FC236}">
                <a16:creationId xmlns:a16="http://schemas.microsoft.com/office/drawing/2014/main" id="{F9A34688-B9A6-4073-6571-F94C9F19515D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1" name=".32 square" hidden="1">
            <a:extLst>
              <a:ext uri="{FF2B5EF4-FFF2-40B4-BE49-F238E27FC236}">
                <a16:creationId xmlns:a16="http://schemas.microsoft.com/office/drawing/2014/main" id="{C60A21A1-50D4-CBD3-DE73-998BE4B74555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2" name="Graphic 141">
            <a:extLst>
              <a:ext uri="{FF2B5EF4-FFF2-40B4-BE49-F238E27FC236}">
                <a16:creationId xmlns:a16="http://schemas.microsoft.com/office/drawing/2014/main" id="{1B722638-341D-272E-4E6E-9FB1F29ACB70}"/>
              </a:ext>
            </a:extLst>
          </p:cNvPr>
          <p:cNvPicPr>
            <a:picLocks noChangeAspect="1"/>
          </p:cNvPicPr>
          <p:nvPr userDrawn="1"/>
        </p:nvPicPr>
        <p:blipFill>
          <a:blip r:embed="rId171">
            <a:extLst>
              <a:ext uri="{96DAC541-7B7A-43D3-8B79-37D633B846F1}">
                <asvg:svgBlip xmlns:asvg="http://schemas.microsoft.com/office/drawing/2016/SVG/main" r:embed="rId172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93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  <p:sldLayoutId id="2147483883" r:id="rId23"/>
    <p:sldLayoutId id="2147483884" r:id="rId24"/>
    <p:sldLayoutId id="2147483885" r:id="rId25"/>
    <p:sldLayoutId id="2147483886" r:id="rId26"/>
    <p:sldLayoutId id="2147483887" r:id="rId27"/>
    <p:sldLayoutId id="2147483888" r:id="rId28"/>
    <p:sldLayoutId id="2147483889" r:id="rId29"/>
    <p:sldLayoutId id="2147483890" r:id="rId30"/>
    <p:sldLayoutId id="2147483891" r:id="rId31"/>
    <p:sldLayoutId id="2147483892" r:id="rId32"/>
    <p:sldLayoutId id="2147483893" r:id="rId33"/>
    <p:sldLayoutId id="2147483894" r:id="rId34"/>
    <p:sldLayoutId id="2147483895" r:id="rId35"/>
    <p:sldLayoutId id="2147483896" r:id="rId36"/>
    <p:sldLayoutId id="2147483897" r:id="rId37"/>
    <p:sldLayoutId id="2147483898" r:id="rId38"/>
    <p:sldLayoutId id="2147483899" r:id="rId39"/>
    <p:sldLayoutId id="2147483900" r:id="rId40"/>
    <p:sldLayoutId id="2147483901" r:id="rId41"/>
    <p:sldLayoutId id="2147483902" r:id="rId42"/>
    <p:sldLayoutId id="2147483903" r:id="rId43"/>
    <p:sldLayoutId id="2147483904" r:id="rId44"/>
    <p:sldLayoutId id="2147483905" r:id="rId45"/>
    <p:sldLayoutId id="2147483906" r:id="rId46"/>
    <p:sldLayoutId id="2147483907" r:id="rId47"/>
    <p:sldLayoutId id="2147483908" r:id="rId48"/>
    <p:sldLayoutId id="2147483909" r:id="rId49"/>
    <p:sldLayoutId id="2147483910" r:id="rId50"/>
    <p:sldLayoutId id="2147483911" r:id="rId51"/>
    <p:sldLayoutId id="2147483912" r:id="rId52"/>
    <p:sldLayoutId id="2147483913" r:id="rId53"/>
    <p:sldLayoutId id="2147483914" r:id="rId54"/>
    <p:sldLayoutId id="2147483915" r:id="rId55"/>
    <p:sldLayoutId id="2147483916" r:id="rId56"/>
    <p:sldLayoutId id="2147483917" r:id="rId57"/>
    <p:sldLayoutId id="2147483918" r:id="rId58"/>
    <p:sldLayoutId id="2147483919" r:id="rId59"/>
    <p:sldLayoutId id="2147483920" r:id="rId60"/>
    <p:sldLayoutId id="2147483921" r:id="rId61"/>
    <p:sldLayoutId id="2147483922" r:id="rId62"/>
    <p:sldLayoutId id="2147483923" r:id="rId63"/>
    <p:sldLayoutId id="2147483924" r:id="rId64"/>
    <p:sldLayoutId id="2147483925" r:id="rId65"/>
    <p:sldLayoutId id="2147483926" r:id="rId66"/>
    <p:sldLayoutId id="2147483927" r:id="rId67"/>
    <p:sldLayoutId id="2147483928" r:id="rId68"/>
    <p:sldLayoutId id="2147483929" r:id="rId69"/>
    <p:sldLayoutId id="2147483930" r:id="rId70"/>
    <p:sldLayoutId id="2147483931" r:id="rId71"/>
    <p:sldLayoutId id="2147483932" r:id="rId72"/>
    <p:sldLayoutId id="2147483933" r:id="rId73"/>
    <p:sldLayoutId id="2147483934" r:id="rId74"/>
    <p:sldLayoutId id="2147483935" r:id="rId75"/>
    <p:sldLayoutId id="2147483936" r:id="rId76"/>
    <p:sldLayoutId id="2147483937" r:id="rId77"/>
    <p:sldLayoutId id="2147483938" r:id="rId78"/>
    <p:sldLayoutId id="2147483939" r:id="rId79"/>
    <p:sldLayoutId id="2147483940" r:id="rId80"/>
    <p:sldLayoutId id="2147483941" r:id="rId81"/>
    <p:sldLayoutId id="2147483942" r:id="rId82"/>
    <p:sldLayoutId id="2147483943" r:id="rId83"/>
    <p:sldLayoutId id="2147483944" r:id="rId84"/>
    <p:sldLayoutId id="2147483945" r:id="rId85"/>
    <p:sldLayoutId id="2147483946" r:id="rId86"/>
    <p:sldLayoutId id="2147483947" r:id="rId87"/>
    <p:sldLayoutId id="2147483948" r:id="rId88"/>
    <p:sldLayoutId id="2147483949" r:id="rId89"/>
    <p:sldLayoutId id="2147483950" r:id="rId90"/>
    <p:sldLayoutId id="2147483951" r:id="rId91"/>
    <p:sldLayoutId id="2147483952" r:id="rId92"/>
    <p:sldLayoutId id="2147483953" r:id="rId93"/>
    <p:sldLayoutId id="2147483954" r:id="rId94"/>
    <p:sldLayoutId id="2147483955" r:id="rId95"/>
    <p:sldLayoutId id="2147483956" r:id="rId96"/>
    <p:sldLayoutId id="2147483957" r:id="rId97"/>
    <p:sldLayoutId id="2147483958" r:id="rId98"/>
    <p:sldLayoutId id="2147483959" r:id="rId99"/>
    <p:sldLayoutId id="2147483960" r:id="rId100"/>
    <p:sldLayoutId id="2147483961" r:id="rId101"/>
    <p:sldLayoutId id="2147483962" r:id="rId102"/>
    <p:sldLayoutId id="2147483963" r:id="rId103"/>
    <p:sldLayoutId id="2147483964" r:id="rId104"/>
    <p:sldLayoutId id="2147483965" r:id="rId105"/>
    <p:sldLayoutId id="2147483966" r:id="rId106"/>
    <p:sldLayoutId id="2147483967" r:id="rId107"/>
    <p:sldLayoutId id="2147483968" r:id="rId108"/>
    <p:sldLayoutId id="2147483969" r:id="rId109"/>
    <p:sldLayoutId id="2147483970" r:id="rId110"/>
    <p:sldLayoutId id="2147483971" r:id="rId111"/>
    <p:sldLayoutId id="2147483972" r:id="rId112"/>
    <p:sldLayoutId id="2147483973" r:id="rId113"/>
    <p:sldLayoutId id="2147483974" r:id="rId114"/>
    <p:sldLayoutId id="2147483975" r:id="rId115"/>
    <p:sldLayoutId id="2147483976" r:id="rId116"/>
    <p:sldLayoutId id="2147483977" r:id="rId117"/>
    <p:sldLayoutId id="2147483978" r:id="rId118"/>
    <p:sldLayoutId id="2147483979" r:id="rId119"/>
    <p:sldLayoutId id="2147483980" r:id="rId120"/>
    <p:sldLayoutId id="2147483981" r:id="rId121"/>
    <p:sldLayoutId id="2147483982" r:id="rId122"/>
    <p:sldLayoutId id="2147483983" r:id="rId123"/>
    <p:sldLayoutId id="2147483984" r:id="rId124"/>
    <p:sldLayoutId id="2147483985" r:id="rId125"/>
    <p:sldLayoutId id="2147483986" r:id="rId126"/>
    <p:sldLayoutId id="2147483987" r:id="rId127"/>
    <p:sldLayoutId id="2147483988" r:id="rId128"/>
    <p:sldLayoutId id="2147483989" r:id="rId129"/>
    <p:sldLayoutId id="2147483990" r:id="rId130"/>
    <p:sldLayoutId id="2147483991" r:id="rId131"/>
    <p:sldLayoutId id="2147483992" r:id="rId132"/>
    <p:sldLayoutId id="2147483993" r:id="rId133"/>
    <p:sldLayoutId id="2147483994" r:id="rId134"/>
    <p:sldLayoutId id="2147483995" r:id="rId135"/>
    <p:sldLayoutId id="2147483996" r:id="rId136"/>
    <p:sldLayoutId id="2147483997" r:id="rId137"/>
    <p:sldLayoutId id="2147483998" r:id="rId138"/>
    <p:sldLayoutId id="2147483999" r:id="rId139"/>
    <p:sldLayoutId id="2147484000" r:id="rId140"/>
    <p:sldLayoutId id="2147484001" r:id="rId141"/>
    <p:sldLayoutId id="2147484002" r:id="rId142"/>
    <p:sldLayoutId id="2147484003" r:id="rId143"/>
    <p:sldLayoutId id="2147484004" r:id="rId144"/>
    <p:sldLayoutId id="2147484005" r:id="rId145"/>
    <p:sldLayoutId id="2147484006" r:id="rId146"/>
    <p:sldLayoutId id="2147484007" r:id="rId147"/>
    <p:sldLayoutId id="2147484008" r:id="rId148"/>
    <p:sldLayoutId id="2147484009" r:id="rId149"/>
    <p:sldLayoutId id="2147484010" r:id="rId150"/>
    <p:sldLayoutId id="2147484011" r:id="rId151"/>
    <p:sldLayoutId id="2147484012" r:id="rId152"/>
    <p:sldLayoutId id="2147484013" r:id="rId153"/>
    <p:sldLayoutId id="2147484014" r:id="rId154"/>
    <p:sldLayoutId id="2147484015" r:id="rId155"/>
    <p:sldLayoutId id="2147484016" r:id="rId156"/>
    <p:sldLayoutId id="2147484017" r:id="rId157"/>
    <p:sldLayoutId id="2147484018" r:id="rId158"/>
    <p:sldLayoutId id="2147484019" r:id="rId159"/>
    <p:sldLayoutId id="2147484020" r:id="rId160"/>
    <p:sldLayoutId id="2147484021" r:id="rId161"/>
    <p:sldLayoutId id="2147484022" r:id="rId162"/>
    <p:sldLayoutId id="2147484023" r:id="rId163"/>
    <p:sldLayoutId id="2147484024" r:id="rId164"/>
    <p:sldLayoutId id="2147484025" r:id="rId165"/>
    <p:sldLayoutId id="2147484026" r:id="rId16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Sans Display Semibold" pitchFamily="2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Sans Text" pitchFamily="2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Segoe Sans Text" pitchFamily="2" charset="0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Segoe Sans Text" pitchFamily="2" charset="0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Segoe Sans Text" pitchFamily="2" charset="0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Segoe Sans Text" pitchFamily="2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68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199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4046" r:id="rId19"/>
    <p:sldLayoutId id="2147484047" r:id="rId20"/>
    <p:sldLayoutId id="2147484048" r:id="rId21"/>
    <p:sldLayoutId id="2147484049" r:id="rId22"/>
    <p:sldLayoutId id="2147484050" r:id="rId23"/>
    <p:sldLayoutId id="2147484051" r:id="rId24"/>
    <p:sldLayoutId id="2147484052" r:id="rId25"/>
    <p:sldLayoutId id="2147484053" r:id="rId26"/>
    <p:sldLayoutId id="2147484054" r:id="rId27"/>
    <p:sldLayoutId id="2147484055" r:id="rId28"/>
    <p:sldLayoutId id="2147484056" r:id="rId29"/>
    <p:sldLayoutId id="2147484057" r:id="rId30"/>
    <p:sldLayoutId id="2147484058" r:id="rId31"/>
    <p:sldLayoutId id="2147484059" r:id="rId32"/>
    <p:sldLayoutId id="2147484060" r:id="rId33"/>
    <p:sldLayoutId id="2147484061" r:id="rId34"/>
    <p:sldLayoutId id="2147484062" r:id="rId35"/>
    <p:sldLayoutId id="2147484063" r:id="rId36"/>
    <p:sldLayoutId id="2147484064" r:id="rId37"/>
    <p:sldLayoutId id="2147484065" r:id="rId38"/>
    <p:sldLayoutId id="2147484066" r:id="rId39"/>
    <p:sldLayoutId id="2147484067" r:id="rId40"/>
    <p:sldLayoutId id="2147484068" r:id="rId41"/>
    <p:sldLayoutId id="2147484069" r:id="rId42"/>
    <p:sldLayoutId id="2147484070" r:id="rId43"/>
    <p:sldLayoutId id="2147484071" r:id="rId44"/>
    <p:sldLayoutId id="2147484072" r:id="rId45"/>
    <p:sldLayoutId id="2147484073" r:id="rId46"/>
    <p:sldLayoutId id="2147484074" r:id="rId47"/>
    <p:sldLayoutId id="2147484075" r:id="rId48"/>
    <p:sldLayoutId id="2147484076" r:id="rId49"/>
    <p:sldLayoutId id="2147484077" r:id="rId50"/>
    <p:sldLayoutId id="2147484078" r:id="rId51"/>
    <p:sldLayoutId id="2147484079" r:id="rId52"/>
    <p:sldLayoutId id="2147484080" r:id="rId53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1.xml"/><Relationship Id="rId4" Type="http://schemas.microsoft.com/office/2007/relationships/hdphoto" Target="../media/hdphoto48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sv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1.xml"/><Relationship Id="rId6" Type="http://schemas.openxmlformats.org/officeDocument/2006/relationships/image" Target="../media/image89.svg"/><Relationship Id="rId5" Type="http://schemas.openxmlformats.org/officeDocument/2006/relationships/image" Target="../media/image88.png"/><Relationship Id="rId4" Type="http://schemas.openxmlformats.org/officeDocument/2006/relationships/image" Target="../media/image87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810319-A1AA-7C11-749F-08396D27FD8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74750" y="457200"/>
            <a:ext cx="11017250" cy="554038"/>
          </a:xfrm>
          <a:noFill/>
        </p:spPr>
        <p:txBody>
          <a:bodyPr/>
          <a:lstStyle/>
          <a:p>
            <a:r>
              <a:rPr lang="en-US">
                <a:noFill/>
              </a:rPr>
              <a:t>Microsoft AI Tour</a:t>
            </a:r>
          </a:p>
        </p:txBody>
      </p:sp>
    </p:spTree>
    <p:extLst>
      <p:ext uri="{BB962C8B-B14F-4D97-AF65-F5344CB8AC3E}">
        <p14:creationId xmlns:p14="http://schemas.microsoft.com/office/powerpoint/2010/main" val="115024067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8AB06-D5AA-A0FB-5F87-89A0EB3CB8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0F18CFD-1FA6-4DF5-57E8-560113CF7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575566" cy="1107996"/>
          </a:xfrm>
        </p:spPr>
        <p:txBody>
          <a:bodyPr/>
          <a:lstStyle/>
          <a:p>
            <a:r>
              <a:rPr lang="en-US"/>
              <a:t>Most financial services leaders see agents as the way to scale</a:t>
            </a: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C88F3377-B69F-9675-DBEC-288D7FE430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945369" y="2593653"/>
            <a:ext cx="2346862" cy="2707695"/>
          </a:xfrm>
          <a:prstGeom prst="roundRect">
            <a:avLst>
              <a:gd name="adj" fmla="val 1534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/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</a:pPr>
            <a:endParaRPr lang="en-US" sz="2400" b="1" err="1">
              <a:ln w="3175">
                <a:noFill/>
              </a:ln>
              <a:gradFill>
                <a:gsLst>
                  <a:gs pos="92661">
                    <a:srgbClr val="FFFFFF"/>
                  </a:gs>
                  <a:gs pos="78000">
                    <a:srgbClr val="FFFFFF"/>
                  </a:gs>
                </a:gsLst>
                <a:path path="circle">
                  <a:fillToRect l="100000" b="100000"/>
                </a:path>
              </a:gradFill>
              <a:latin typeface="+mj-lt"/>
              <a:cs typeface="Segoe UI" pitchFamily="34" charset="0"/>
            </a:endParaRP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64523E34-1291-434A-75EF-7FB6166821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945369" y="1999281"/>
            <a:ext cx="2346862" cy="3302067"/>
          </a:xfrm>
          <a:prstGeom prst="roundRect">
            <a:avLst>
              <a:gd name="adj" fmla="val 15346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 err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79" name="Title 2">
            <a:extLst>
              <a:ext uri="{FF2B5EF4-FFF2-40B4-BE49-F238E27FC236}">
                <a16:creationId xmlns:a16="http://schemas.microsoft.com/office/drawing/2014/main" id="{3200C969-4083-849F-54C2-64C6D5CCB0A3}"/>
              </a:ext>
            </a:extLst>
          </p:cNvPr>
          <p:cNvSpPr txBox="1">
            <a:spLocks/>
          </p:cNvSpPr>
          <p:nvPr/>
        </p:nvSpPr>
        <p:spPr>
          <a:xfrm>
            <a:off x="6116488" y="2807536"/>
            <a:ext cx="2004624" cy="101566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6000"/>
              <a:t>82%</a:t>
            </a:r>
            <a:endParaRPr lang="en-CA" sz="6000" b="1">
              <a:gradFill flip="none" rotWithShape="1">
                <a:gsLst>
                  <a:gs pos="98000">
                    <a:srgbClr val="41AFA1"/>
                  </a:gs>
                  <a:gs pos="0">
                    <a:srgbClr val="46A0DE"/>
                  </a:gs>
                </a:gsLst>
                <a:path path="circle">
                  <a:fillToRect l="100000" t="100000"/>
                </a:path>
                <a:tileRect r="-100000" b="-100000"/>
              </a:gra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DACB1158-6C98-36D6-BFC1-BA072DFF2D5B}"/>
              </a:ext>
            </a:extLst>
          </p:cNvPr>
          <p:cNvSpPr txBox="1"/>
          <p:nvPr/>
        </p:nvSpPr>
        <p:spPr>
          <a:xfrm>
            <a:off x="6116488" y="3823199"/>
            <a:ext cx="200462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f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eader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are confident they’ll use AI agents to expand workforce capacity</a:t>
            </a:r>
          </a:p>
        </p:txBody>
      </p:sp>
      <p:grpSp>
        <p:nvGrpSpPr>
          <p:cNvPr id="2" name="Group 1" descr="Timeline with the period between 12 and 18 months emphasized.">
            <a:extLst>
              <a:ext uri="{FF2B5EF4-FFF2-40B4-BE49-F238E27FC236}">
                <a16:creationId xmlns:a16="http://schemas.microsoft.com/office/drawing/2014/main" id="{4171629C-3045-2712-65C2-AA74C2BD6102}"/>
              </a:ext>
            </a:extLst>
          </p:cNvPr>
          <p:cNvGrpSpPr/>
          <p:nvPr/>
        </p:nvGrpSpPr>
        <p:grpSpPr>
          <a:xfrm>
            <a:off x="583468" y="5178239"/>
            <a:ext cx="10457330" cy="1053342"/>
            <a:chOff x="583468" y="5178239"/>
            <a:chExt cx="10457330" cy="1053342"/>
          </a:xfrm>
        </p:grpSpPr>
        <p:sp>
          <p:nvSpPr>
            <p:cNvPr id="12" name="Freeform: Shape 27">
              <a:extLst>
                <a:ext uri="{FF2B5EF4-FFF2-40B4-BE49-F238E27FC236}">
                  <a16:creationId xmlns:a16="http://schemas.microsoft.com/office/drawing/2014/main" id="{CEC00B41-13F1-02C7-3F14-F38715EC9E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56108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ln w="19050" cap="rnd">
              <a:solidFill>
                <a:schemeClr val="tx1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13" name="Freeform: Shape 38">
              <a:extLst>
                <a:ext uri="{FF2B5EF4-FFF2-40B4-BE49-F238E27FC236}">
                  <a16:creationId xmlns:a16="http://schemas.microsoft.com/office/drawing/2014/main" id="{BCFE794D-F0FB-DE4C-06FD-0290082167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1037994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67"/>
              <a:endParaRPr lang="en-US" sz="1765">
                <a:solidFill>
                  <a:srgbClr val="FFFFFF"/>
                </a:solidFill>
                <a:latin typeface="Segoe Pro Light"/>
              </a:endParaRPr>
            </a:p>
          </p:txBody>
        </p:sp>
        <p:sp>
          <p:nvSpPr>
            <p:cNvPr id="14" name="Freeform: Shape 39">
              <a:extLst>
                <a:ext uri="{FF2B5EF4-FFF2-40B4-BE49-F238E27FC236}">
                  <a16:creationId xmlns:a16="http://schemas.microsoft.com/office/drawing/2014/main" id="{82E4A96C-D98D-F89B-3B11-175FC4948A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247719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15" name="Freeform: Shape 41">
              <a:extLst>
                <a:ext uri="{FF2B5EF4-FFF2-40B4-BE49-F238E27FC236}">
                  <a16:creationId xmlns:a16="http://schemas.microsoft.com/office/drawing/2014/main" id="{D56B4FAA-57AE-757B-98F6-BE4B8CF259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639330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16" name="Freeform: Shape 42">
              <a:extLst>
                <a:ext uri="{FF2B5EF4-FFF2-40B4-BE49-F238E27FC236}">
                  <a16:creationId xmlns:a16="http://schemas.microsoft.com/office/drawing/2014/main" id="{EEB217B2-035A-28F6-8780-1BDDC9D17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2030941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17" name="Freeform: Shape 45">
              <a:extLst>
                <a:ext uri="{FF2B5EF4-FFF2-40B4-BE49-F238E27FC236}">
                  <a16:creationId xmlns:a16="http://schemas.microsoft.com/office/drawing/2014/main" id="{2D9539A5-DAD5-7910-30BC-AD0DAA89BF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2422552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18" name="Freeform: Shape 47">
              <a:extLst>
                <a:ext uri="{FF2B5EF4-FFF2-40B4-BE49-F238E27FC236}">
                  <a16:creationId xmlns:a16="http://schemas.microsoft.com/office/drawing/2014/main" id="{E7B6BB87-934F-7E8A-2854-BE59C66537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2814163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19" name="Freeform: Shape 48">
              <a:extLst>
                <a:ext uri="{FF2B5EF4-FFF2-40B4-BE49-F238E27FC236}">
                  <a16:creationId xmlns:a16="http://schemas.microsoft.com/office/drawing/2014/main" id="{9689DD24-8786-A26C-4953-4FEA5B2B91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3205774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0" name="Freeform: Shape 49">
              <a:extLst>
                <a:ext uri="{FF2B5EF4-FFF2-40B4-BE49-F238E27FC236}">
                  <a16:creationId xmlns:a16="http://schemas.microsoft.com/office/drawing/2014/main" id="{322E5E2B-69A7-6473-BADE-A11AF93F97B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3597385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1" name="Freeform: Shape 50">
              <a:extLst>
                <a:ext uri="{FF2B5EF4-FFF2-40B4-BE49-F238E27FC236}">
                  <a16:creationId xmlns:a16="http://schemas.microsoft.com/office/drawing/2014/main" id="{6ACA7438-E1F1-707A-E324-92268F4B51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3988996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2" name="Freeform: Shape 51">
              <a:extLst>
                <a:ext uri="{FF2B5EF4-FFF2-40B4-BE49-F238E27FC236}">
                  <a16:creationId xmlns:a16="http://schemas.microsoft.com/office/drawing/2014/main" id="{68720399-1877-F265-9B72-9D14AEE064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4380607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4" name="Freeform: Shape 52">
              <a:extLst>
                <a:ext uri="{FF2B5EF4-FFF2-40B4-BE49-F238E27FC236}">
                  <a16:creationId xmlns:a16="http://schemas.microsoft.com/office/drawing/2014/main" id="{3B93D6D2-5B7F-CAC4-B5CE-067CAB8FEB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4772218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5" name="Freeform: Shape 55">
              <a:extLst>
                <a:ext uri="{FF2B5EF4-FFF2-40B4-BE49-F238E27FC236}">
                  <a16:creationId xmlns:a16="http://schemas.microsoft.com/office/drawing/2014/main" id="{2D95B0A9-29CF-6141-8D6F-C42F1740FA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5163829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6" name="Freeform: Shape 56">
              <a:extLst>
                <a:ext uri="{FF2B5EF4-FFF2-40B4-BE49-F238E27FC236}">
                  <a16:creationId xmlns:a16="http://schemas.microsoft.com/office/drawing/2014/main" id="{2DC35D96-2A9D-12AE-D2AA-4EDBE0D1F8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5555440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7" name="Freeform: Shape 57">
              <a:extLst>
                <a:ext uri="{FF2B5EF4-FFF2-40B4-BE49-F238E27FC236}">
                  <a16:creationId xmlns:a16="http://schemas.microsoft.com/office/drawing/2014/main" id="{0E95CDDA-DE56-8273-491E-141784AD17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6338662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29" name="Freeform: Shape 58">
              <a:extLst>
                <a:ext uri="{FF2B5EF4-FFF2-40B4-BE49-F238E27FC236}">
                  <a16:creationId xmlns:a16="http://schemas.microsoft.com/office/drawing/2014/main" id="{372AF1B8-7B81-79EC-D44E-227C970C5B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6730273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0" name="Freeform: Shape 59">
              <a:extLst>
                <a:ext uri="{FF2B5EF4-FFF2-40B4-BE49-F238E27FC236}">
                  <a16:creationId xmlns:a16="http://schemas.microsoft.com/office/drawing/2014/main" id="{A941D3DE-E116-FBB4-C27D-DFA1052020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7121884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1" name="Freeform: Shape 60">
              <a:extLst>
                <a:ext uri="{FF2B5EF4-FFF2-40B4-BE49-F238E27FC236}">
                  <a16:creationId xmlns:a16="http://schemas.microsoft.com/office/drawing/2014/main" id="{F2464634-B712-6EC1-CB7D-1C7159F807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7513495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2" name="Freeform: Shape 61">
              <a:extLst>
                <a:ext uri="{FF2B5EF4-FFF2-40B4-BE49-F238E27FC236}">
                  <a16:creationId xmlns:a16="http://schemas.microsoft.com/office/drawing/2014/main" id="{6B8387EC-0D61-7DCD-F0ED-80719D29F2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688328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3" name="Freeform: Shape 62">
              <a:extLst>
                <a:ext uri="{FF2B5EF4-FFF2-40B4-BE49-F238E27FC236}">
                  <a16:creationId xmlns:a16="http://schemas.microsoft.com/office/drawing/2014/main" id="{656FBBD5-14EA-7F92-5459-A62C62D88C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079939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4" name="Freeform: Shape 63">
              <a:extLst>
                <a:ext uri="{FF2B5EF4-FFF2-40B4-BE49-F238E27FC236}">
                  <a16:creationId xmlns:a16="http://schemas.microsoft.com/office/drawing/2014/main" id="{8D2ED3EE-BC63-031A-7942-11550B160C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471550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5" name="Freeform: Shape 64">
              <a:extLst>
                <a:ext uri="{FF2B5EF4-FFF2-40B4-BE49-F238E27FC236}">
                  <a16:creationId xmlns:a16="http://schemas.microsoft.com/office/drawing/2014/main" id="{81121B81-1365-7A0A-1BEA-FB39A17DA1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9863161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6" name="Freeform: Shape 65">
              <a:extLst>
                <a:ext uri="{FF2B5EF4-FFF2-40B4-BE49-F238E27FC236}">
                  <a16:creationId xmlns:a16="http://schemas.microsoft.com/office/drawing/2014/main" id="{9E887181-8B5E-1211-9E56-5EFC93A406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254772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37" name="Freeform: Shape 66">
              <a:extLst>
                <a:ext uri="{FF2B5EF4-FFF2-40B4-BE49-F238E27FC236}">
                  <a16:creationId xmlns:a16="http://schemas.microsoft.com/office/drawing/2014/main" id="{DD83EFE4-7E24-C18C-4BEC-E6133617BAF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0646383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137FEDC-7EB2-2371-FEC2-A717EBDA3A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583468" y="5178239"/>
              <a:ext cx="55072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/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  <a:sym typeface="Segoe Pro Semibold"/>
                  <a:rtl val="0"/>
                </a:rPr>
                <a:t>Today</a:t>
              </a:r>
            </a:p>
          </p:txBody>
        </p:sp>
        <p:sp>
          <p:nvSpPr>
            <p:cNvPr id="41" name="Freeform: Shape 68">
              <a:extLst>
                <a:ext uri="{FF2B5EF4-FFF2-40B4-BE49-F238E27FC236}">
                  <a16:creationId xmlns:a16="http://schemas.microsoft.com/office/drawing/2014/main" id="{46667792-8A2C-CD27-F6DA-9322AAAB1A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8296717" y="5544736"/>
              <a:ext cx="2804" cy="363619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ln w="19050" cap="rnd">
              <a:solidFill>
                <a:schemeClr val="tx1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44" name="Freeform: Shape 69">
              <a:extLst>
                <a:ext uri="{FF2B5EF4-FFF2-40B4-BE49-F238E27FC236}">
                  <a16:creationId xmlns:a16="http://schemas.microsoft.com/office/drawing/2014/main" id="{D807657F-69B6-34EF-5B38-CAF2D0BE9A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5947051" y="5544737"/>
              <a:ext cx="2804" cy="363619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ln w="19050" cap="rnd">
              <a:solidFill>
                <a:schemeClr val="tx1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  <p:sp>
          <p:nvSpPr>
            <p:cNvPr id="45" name="Label">
              <a:extLst>
                <a:ext uri="{FF2B5EF4-FFF2-40B4-BE49-F238E27FC236}">
                  <a16:creationId xmlns:a16="http://schemas.microsoft.com/office/drawing/2014/main" id="{656DA318-E8DA-28AF-C913-F4623BA35D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5451907" y="5985360"/>
              <a:ext cx="99028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indent="0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None/>
                <a:tabLst/>
                <a:defRPr sz="2000" spc="0" baseline="0">
                  <a:latin typeface="Segoe Pro Light" panose="020B0302040504020203" pitchFamily="34" charset="0"/>
                  <a:cs typeface="Segoe UI Semilight" panose="020B0402040204020203" pitchFamily="34" charset="0"/>
                </a:defRPr>
              </a:lvl1pPr>
              <a:lvl2pPr marL="265176" marR="0" indent="-128016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Char char="•"/>
                <a:tabLst/>
                <a:defRPr sz="1400" spc="0" baseline="0"/>
              </a:lvl2pPr>
              <a:lvl3pPr marL="384048" marR="0" indent="-118872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Char char="•"/>
                <a:tabLst/>
                <a:defRPr sz="1200" spc="0" baseline="0"/>
              </a:lvl3pPr>
              <a:lvl4pPr marL="842963" marR="0" indent="-180975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0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defRPr>
              </a:lvl4pPr>
              <a:lvl5pPr marL="1023938" marR="0" indent="-168275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8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defRPr>
              </a:lvl5pPr>
              <a:lvl6pPr marL="2565040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3031412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97783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964155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Segoe UI Semilight" panose="020B0402040204020203" pitchFamily="34" charset="0"/>
                </a:rPr>
                <a:t>12 months</a:t>
              </a:r>
            </a:p>
          </p:txBody>
        </p:sp>
        <p:sp>
          <p:nvSpPr>
            <p:cNvPr id="47" name="Label">
              <a:extLst>
                <a:ext uri="{FF2B5EF4-FFF2-40B4-BE49-F238E27FC236}">
                  <a16:creationId xmlns:a16="http://schemas.microsoft.com/office/drawing/2014/main" id="{EF1E159F-5C96-E2AF-15F3-3F26FB3B6E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7802975" y="5985360"/>
              <a:ext cx="987483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indent="0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None/>
                <a:tabLst/>
                <a:defRPr sz="2000" spc="0" baseline="0">
                  <a:latin typeface="Segoe Pro Light" panose="020B0302040504020203" pitchFamily="34" charset="0"/>
                  <a:cs typeface="Segoe UI Semilight" panose="020B0402040204020203" pitchFamily="34" charset="0"/>
                </a:defRPr>
              </a:lvl1pPr>
              <a:lvl2pPr marL="265176" marR="0" indent="-128016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Char char="•"/>
                <a:tabLst/>
                <a:defRPr sz="1400" spc="0" baseline="0"/>
              </a:lvl2pPr>
              <a:lvl3pPr marL="384048" marR="0" indent="-118872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Char char="•"/>
                <a:tabLst/>
                <a:defRPr sz="1200" spc="0" baseline="0"/>
              </a:lvl3pPr>
              <a:lvl4pPr marL="842963" marR="0" indent="-180975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0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defRPr>
              </a:lvl4pPr>
              <a:lvl5pPr marL="1023938" marR="0" indent="-168275" defTabSz="932742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8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defRPr>
              </a:lvl5pPr>
              <a:lvl6pPr marL="2565040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3031412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97783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964155" indent="-233186" defTabSz="932742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Segoe UI Semilight" panose="020B0402040204020203" pitchFamily="34" charset="0"/>
                </a:rPr>
                <a:t>18 months</a:t>
              </a:r>
            </a:p>
          </p:txBody>
        </p:sp>
        <p:sp>
          <p:nvSpPr>
            <p:cNvPr id="54" name="Freeform: Shape 60">
              <a:extLst>
                <a:ext uri="{FF2B5EF4-FFF2-40B4-BE49-F238E27FC236}">
                  <a16:creationId xmlns:a16="http://schemas.microsoft.com/office/drawing/2014/main" id="{CA9A3971-F0DC-6AF9-1F44-3B98E89C97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7905106" y="5544737"/>
              <a:ext cx="2804" cy="235543"/>
            </a:xfrm>
            <a:custGeom>
              <a:avLst/>
              <a:gdLst>
                <a:gd name="connsiteX0" fmla="*/ 140 w 2804"/>
                <a:gd name="connsiteY0" fmla="*/ 0 h 235543"/>
                <a:gd name="connsiteX1" fmla="*/ 140 w 2804"/>
                <a:gd name="connsiteY1" fmla="*/ 235543 h 2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4" h="235543">
                  <a:moveTo>
                    <a:pt x="140" y="0"/>
                  </a:moveTo>
                  <a:lnTo>
                    <a:pt x="140" y="235543"/>
                  </a:lnTo>
                </a:path>
              </a:pathLst>
            </a:custGeom>
            <a:noFill/>
            <a:ln w="97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Pro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2595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/>
      <p:bldP spid="79" grpId="0"/>
      <p:bldP spid="8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454E4-8311-D244-0010-E3DE6CB43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1A469944-F9E4-7747-2615-5F9F146C35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8263" y="-702373"/>
            <a:ext cx="11018520" cy="43088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50" normalizeH="0" baseline="0" noProof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he emerging Frontier Firm: Human-led agent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1286363D-5986-E082-4BD7-5015C101B262}"/>
              </a:ext>
            </a:extLst>
          </p:cNvPr>
          <p:cNvSpPr>
            <a:spLocks/>
          </p:cNvSpPr>
          <p:nvPr/>
        </p:nvSpPr>
        <p:spPr>
          <a:xfrm>
            <a:off x="588263" y="1209554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he emerging Frontier Fir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075E8-24F6-C081-6E3C-637645E362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87266" y="2853640"/>
            <a:ext cx="3111258" cy="1762193"/>
          </a:xfrm>
          <a:prstGeom prst="roundRect">
            <a:avLst>
              <a:gd name="adj" fmla="val 21112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2" name="Rectangle: Rounded Corners 7">
            <a:extLst>
              <a:ext uri="{FF2B5EF4-FFF2-40B4-BE49-F238E27FC236}">
                <a16:creationId xmlns:a16="http://schemas.microsoft.com/office/drawing/2014/main" id="{0839FFFA-E9D6-7708-6934-08B5481973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2359613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7D36877-A4D2-C737-3785-71CC6ACC0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04398" y="3342388"/>
            <a:ext cx="2876992" cy="830997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Human</a:t>
            </a:r>
            <a:b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with assista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3DD7C1-1DCF-2C17-4FD3-175D8AB4F4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540372" y="2853640"/>
            <a:ext cx="3111258" cy="1762193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6" name="Rectangle: Rounded Corners 7">
            <a:extLst>
              <a:ext uri="{FF2B5EF4-FFF2-40B4-BE49-F238E27FC236}">
                <a16:creationId xmlns:a16="http://schemas.microsoft.com/office/drawing/2014/main" id="{6FF8F230-AA88-4E14-CFD9-3BE681907EA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5812719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2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FD5B992-574E-2DBB-F936-461228621659}"/>
              </a:ext>
            </a:extLst>
          </p:cNvPr>
          <p:cNvSpPr txBox="1">
            <a:spLocks/>
          </p:cNvSpPr>
          <p:nvPr/>
        </p:nvSpPr>
        <p:spPr>
          <a:xfrm>
            <a:off x="4657504" y="3342388"/>
            <a:ext cx="2876992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2899785" rtl="0" eaLnBrk="1" fontAlgn="base" latinLnBrk="0" hangingPunct="1">
              <a:lnSpc>
                <a:spcPct val="100000"/>
              </a:lnSpc>
              <a:spcBef>
                <a:spcPts val="1205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  <a:t>Human-led</a:t>
            </a:r>
            <a:b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</a:b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  <a:t>ag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42C660B-2B4F-E783-29F8-9CDF351728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993476" y="2853640"/>
            <a:ext cx="3111258" cy="1762193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9" name="Rectangle: Rounded Corners 7">
            <a:extLst>
              <a:ext uri="{FF2B5EF4-FFF2-40B4-BE49-F238E27FC236}">
                <a16:creationId xmlns:a16="http://schemas.microsoft.com/office/drawing/2014/main" id="{F6321BB4-B06B-1596-2370-D667DEA6EE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9265823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B373D8C-8CC0-D2B6-374C-FE654A734A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110608" y="3342388"/>
            <a:ext cx="2876992" cy="830997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Human-led,</a:t>
            </a:r>
            <a:b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agent-opera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118A691-5501-8774-5956-996D00E9B8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44636" y="2356494"/>
            <a:ext cx="3563893" cy="2555112"/>
          </a:xfrm>
          <a:prstGeom prst="rect">
            <a:avLst/>
          </a:prstGeom>
          <a:solidFill>
            <a:srgbClr val="111010">
              <a:alpha val="7903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15616AB-BBDC-5749-07A9-B986611DF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811863" y="2356494"/>
            <a:ext cx="3563893" cy="2555112"/>
          </a:xfrm>
          <a:prstGeom prst="rect">
            <a:avLst/>
          </a:prstGeom>
          <a:solidFill>
            <a:srgbClr val="111010">
              <a:alpha val="7903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974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57EBF-5A32-2C2D-EB37-C670B11FD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IF image depicting the ratio of agents to humans on a team.">
            <a:extLst>
              <a:ext uri="{FF2B5EF4-FFF2-40B4-BE49-F238E27FC236}">
                <a16:creationId xmlns:a16="http://schemas.microsoft.com/office/drawing/2014/main" id="{C5A6A9A3-F98C-3675-87C2-3AE0155AAAA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542397" y="576152"/>
            <a:ext cx="9464298" cy="5323668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41FE46F-1265-6837-FF9B-54467D1C2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2382560"/>
            <a:ext cx="4929136" cy="1107996"/>
          </a:xfrm>
        </p:spPr>
        <p:txBody>
          <a:bodyPr wrap="square">
            <a:spAutoFit/>
          </a:bodyPr>
          <a:lstStyle/>
          <a:p>
            <a:r>
              <a:rPr lang="en-US"/>
              <a:t>A new metric:</a:t>
            </a:r>
            <a:br>
              <a:rPr lang="en-US"/>
            </a:br>
            <a:r>
              <a:rPr lang="en-US"/>
              <a:t>The human-agent ratio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1725C811-9CC4-AFB0-1386-5B3971C8FFAE}"/>
              </a:ext>
            </a:extLst>
          </p:cNvPr>
          <p:cNvSpPr txBox="1">
            <a:spLocks/>
          </p:cNvSpPr>
          <p:nvPr/>
        </p:nvSpPr>
        <p:spPr>
          <a:xfrm>
            <a:off x="588261" y="3620014"/>
            <a:ext cx="4929136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CA" sz="2800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Optimal balance</a:t>
            </a:r>
          </a:p>
        </p:txBody>
      </p:sp>
    </p:spTree>
    <p:extLst>
      <p:ext uri="{BB962C8B-B14F-4D97-AF65-F5344CB8AC3E}">
        <p14:creationId xmlns:p14="http://schemas.microsoft.com/office/powerpoint/2010/main" val="398903785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F8166A8-28FD-C33B-ACE9-458D32EE8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373B5584-2AB6-80B5-C16C-4BC75B0E9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2320219"/>
            <a:ext cx="4867141" cy="2215991"/>
          </a:xfrm>
        </p:spPr>
        <p:txBody>
          <a:bodyPr/>
          <a:lstStyle/>
          <a:p>
            <a:r>
              <a:rPr lang="en-US"/>
              <a:t>Financial services employees turn to AI for its unique strengths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4E469EE0-AFCB-1091-F297-BAB122041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242050" y="1107827"/>
            <a:ext cx="5361688" cy="4868018"/>
          </a:xfrm>
          <a:prstGeom prst="roundRect">
            <a:avLst>
              <a:gd name="adj" fmla="val 6679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 err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23" name="Rectangle: Rounded Corners 7">
            <a:extLst>
              <a:ext uri="{FF2B5EF4-FFF2-40B4-BE49-F238E27FC236}">
                <a16:creationId xmlns:a16="http://schemas.microsoft.com/office/drawing/2014/main" id="{7FA73AA2-DD29-60C0-B4F4-10F02E8CB7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549632" y="882155"/>
            <a:ext cx="2811345" cy="451342"/>
          </a:xfrm>
          <a:prstGeom prst="roundRect">
            <a:avLst>
              <a:gd name="adj" fmla="val 4589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Primary reason chosen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E7CE69A0-96A6-DA6C-62D1-3C9D16613454}"/>
              </a:ext>
            </a:extLst>
          </p:cNvPr>
          <p:cNvSpPr txBox="1">
            <a:spLocks/>
          </p:cNvSpPr>
          <p:nvPr/>
        </p:nvSpPr>
        <p:spPr>
          <a:xfrm>
            <a:off x="6709775" y="1645888"/>
            <a:ext cx="2004624" cy="923330"/>
          </a:xfrm>
          <a:prstGeom prst="rect">
            <a:avLst/>
          </a:prstGeom>
        </p:spPr>
        <p:txBody>
          <a:bodyPr wrap="square" lIns="0" rIns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CA" sz="5400"/>
              <a:t>36% 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99F5534-EC77-5ECC-B9B9-EF9DE86A39E8}"/>
              </a:ext>
            </a:extLst>
          </p:cNvPr>
          <p:cNvSpPr txBox="1"/>
          <p:nvPr/>
        </p:nvSpPr>
        <p:spPr>
          <a:xfrm>
            <a:off x="8591724" y="1907498"/>
            <a:ext cx="2412073" cy="400110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lvl="0" defTabSz="914367">
              <a:defRPr/>
            </a:pPr>
            <a:r>
              <a:rPr lang="en-US" sz="2000"/>
              <a:t>24/7 availability</a:t>
            </a: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56805960-BBE8-D267-46DA-76DB240F0814}"/>
              </a:ext>
            </a:extLst>
          </p:cNvPr>
          <p:cNvSpPr txBox="1">
            <a:spLocks/>
          </p:cNvSpPr>
          <p:nvPr/>
        </p:nvSpPr>
        <p:spPr>
          <a:xfrm>
            <a:off x="6709775" y="3133726"/>
            <a:ext cx="2004624" cy="923330"/>
          </a:xfrm>
          <a:prstGeom prst="rect">
            <a:avLst/>
          </a:prstGeom>
        </p:spPr>
        <p:txBody>
          <a:bodyPr wrap="square" lIns="0" rIns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CA" sz="5400"/>
              <a:t>28% 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430724-B569-26FA-BC16-C30DE5022A40}"/>
              </a:ext>
            </a:extLst>
          </p:cNvPr>
          <p:cNvSpPr txBox="1"/>
          <p:nvPr/>
        </p:nvSpPr>
        <p:spPr>
          <a:xfrm>
            <a:off x="8591724" y="3395336"/>
            <a:ext cx="2412073" cy="400110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lvl="0" defTabSz="914367">
              <a:defRPr/>
            </a:pPr>
            <a:r>
              <a:rPr lang="en-US" sz="2000"/>
              <a:t>Speed and quality</a:t>
            </a: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6C309938-D56B-71A1-FD76-B884DE4D7316}"/>
              </a:ext>
            </a:extLst>
          </p:cNvPr>
          <p:cNvSpPr txBox="1">
            <a:spLocks/>
          </p:cNvSpPr>
          <p:nvPr/>
        </p:nvSpPr>
        <p:spPr>
          <a:xfrm>
            <a:off x="6709775" y="4621562"/>
            <a:ext cx="2004624" cy="923330"/>
          </a:xfrm>
          <a:prstGeom prst="rect">
            <a:avLst/>
          </a:prstGeom>
        </p:spPr>
        <p:txBody>
          <a:bodyPr wrap="square" lIns="0" rIns="0" anchor="ctr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CA" sz="5400"/>
              <a:t>26% 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01D886-D338-A6C6-6E49-5C002FC699FD}"/>
              </a:ext>
            </a:extLst>
          </p:cNvPr>
          <p:cNvSpPr txBox="1"/>
          <p:nvPr/>
        </p:nvSpPr>
        <p:spPr>
          <a:xfrm>
            <a:off x="8591724" y="4729284"/>
            <a:ext cx="2412073" cy="707886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lvl="0" defTabSz="914367">
              <a:defRPr/>
            </a:pPr>
            <a:r>
              <a:rPr lang="en-US" sz="2000"/>
              <a:t>Endless stream of ideas on demand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D292369-FAD2-3488-E18B-C74C914A95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09775" y="2851472"/>
            <a:ext cx="4464503" cy="0"/>
          </a:xfrm>
          <a:prstGeom prst="line">
            <a:avLst/>
          </a:prstGeom>
          <a:ln w="19050" cap="rnd">
            <a:solidFill>
              <a:schemeClr val="tx1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7A72578-6D5B-26B6-B7D2-E9007CFA1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09775" y="4339310"/>
            <a:ext cx="4464503" cy="0"/>
          </a:xfrm>
          <a:prstGeom prst="line">
            <a:avLst/>
          </a:prstGeom>
          <a:ln w="19050" cap="rnd">
            <a:solidFill>
              <a:schemeClr val="tx1"/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B1223E03-CDEE-0609-ECE9-EA7D24688162}"/>
              </a:ext>
            </a:extLst>
          </p:cNvPr>
          <p:cNvSpPr txBox="1"/>
          <p:nvPr/>
        </p:nvSpPr>
        <p:spPr>
          <a:xfrm>
            <a:off x="588261" y="5975845"/>
            <a:ext cx="3810000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000">
                <a:ln w="3175">
                  <a:noFill/>
                </a:ln>
                <a:solidFill>
                  <a:schemeClr val="accent6">
                    <a:lumMod val="75000"/>
                  </a:schemeClr>
                </a:solidFill>
                <a:cs typeface="Segoe Sans Text Light" pitchFamily="2" charset="0"/>
              </a:rPr>
              <a:t>Data cut: “Financial Services professionals”</a:t>
            </a:r>
            <a:br>
              <a:rPr lang="en-US" sz="1000">
                <a:ln w="3175">
                  <a:noFill/>
                </a:ln>
                <a:solidFill>
                  <a:schemeClr val="accent6">
                    <a:lumMod val="75000"/>
                  </a:schemeClr>
                </a:solidFill>
                <a:cs typeface="Segoe Sans Text Light" pitchFamily="2" charset="0"/>
              </a:rPr>
            </a:br>
            <a:r>
              <a:rPr lang="en-US" sz="1000">
                <a:ln w="3175">
                  <a:noFill/>
                </a:ln>
                <a:solidFill>
                  <a:schemeClr val="accent6">
                    <a:lumMod val="75000"/>
                  </a:schemeClr>
                </a:solidFill>
                <a:cs typeface="Segoe Sans Text Light" pitchFamily="2" charset="0"/>
              </a:rPr>
              <a:t>Source: Microsoft Work Trend Index Survey 2025</a:t>
            </a:r>
          </a:p>
        </p:txBody>
      </p:sp>
    </p:spTree>
    <p:extLst>
      <p:ext uri="{BB962C8B-B14F-4D97-AF65-F5344CB8AC3E}">
        <p14:creationId xmlns:p14="http://schemas.microsoft.com/office/powerpoint/2010/main" val="13246892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3" grpId="0" animBg="1"/>
      <p:bldP spid="24" grpId="0"/>
      <p:bldP spid="25" grpId="0"/>
      <p:bldP spid="27" grpId="0"/>
      <p:bldP spid="28" grpId="0"/>
      <p:bldP spid="29" grpId="0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A1F5A3-5D65-8B45-EEFA-D2EF4F66C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89C059A6-C5D9-8655-B77E-4A5C5D0E40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8263" y="-702373"/>
            <a:ext cx="11018520" cy="43088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50" normalizeH="0" baseline="0" noProof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he emerging Frontier Firm: Human-led, agent-operated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E9D42225-3574-FCF1-2C42-E3FB27D940E0}"/>
              </a:ext>
            </a:extLst>
          </p:cNvPr>
          <p:cNvSpPr>
            <a:spLocks/>
          </p:cNvSpPr>
          <p:nvPr/>
        </p:nvSpPr>
        <p:spPr>
          <a:xfrm>
            <a:off x="588263" y="1209554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he emerging Frontier Fir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49931B-4012-C64B-14E4-AD03377D1E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87266" y="2853640"/>
            <a:ext cx="3111258" cy="1762193"/>
          </a:xfrm>
          <a:prstGeom prst="roundRect">
            <a:avLst>
              <a:gd name="adj" fmla="val 21112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2" name="Rectangle: Rounded Corners 7">
            <a:extLst>
              <a:ext uri="{FF2B5EF4-FFF2-40B4-BE49-F238E27FC236}">
                <a16:creationId xmlns:a16="http://schemas.microsoft.com/office/drawing/2014/main" id="{BC19584F-F9E4-239C-2B5F-D595A84E63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2359613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B86BB5-BEFE-9F1F-CB03-A270A87D8E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04398" y="3342388"/>
            <a:ext cx="2876992" cy="830997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Human</a:t>
            </a:r>
            <a:b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with assista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3A5C25-97FD-FF42-C681-4DCDC959DF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540372" y="2853640"/>
            <a:ext cx="3111258" cy="1762193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6" name="Rectangle: Rounded Corners 7">
            <a:extLst>
              <a:ext uri="{FF2B5EF4-FFF2-40B4-BE49-F238E27FC236}">
                <a16:creationId xmlns:a16="http://schemas.microsoft.com/office/drawing/2014/main" id="{BC1B66A0-4AF7-1E2B-0108-BD156B2FE9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5812719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790D5B-9613-B266-132E-D7E0C09928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657504" y="3342388"/>
            <a:ext cx="2876992" cy="830997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Human-led</a:t>
            </a:r>
            <a:b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ag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6917F97-43A8-6013-70DC-08AF78794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993476" y="2853640"/>
            <a:ext cx="3111258" cy="1762193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9" name="Rectangle: Rounded Corners 7">
            <a:extLst>
              <a:ext uri="{FF2B5EF4-FFF2-40B4-BE49-F238E27FC236}">
                <a16:creationId xmlns:a16="http://schemas.microsoft.com/office/drawing/2014/main" id="{6FE749BC-9385-CE81-6B37-0EC3F47EB9B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9265823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3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94C78BF-2FA0-BFC0-325D-9ED3281DCE4E}"/>
              </a:ext>
            </a:extLst>
          </p:cNvPr>
          <p:cNvSpPr txBox="1">
            <a:spLocks/>
          </p:cNvSpPr>
          <p:nvPr/>
        </p:nvSpPr>
        <p:spPr>
          <a:xfrm>
            <a:off x="8110608" y="3342388"/>
            <a:ext cx="2876992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2899785" rtl="0" eaLnBrk="1" fontAlgn="base" latinLnBrk="0" hangingPunct="1">
              <a:lnSpc>
                <a:spcPct val="100000"/>
              </a:lnSpc>
              <a:spcBef>
                <a:spcPts val="1205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  <a:t>Human-led,</a:t>
            </a:r>
            <a:b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</a:b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  <a:t>agent-opera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A600F7-FE73-094B-D84C-08D3D3AECD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44636" y="2356494"/>
            <a:ext cx="7131706" cy="2555112"/>
          </a:xfrm>
          <a:prstGeom prst="rect">
            <a:avLst/>
          </a:prstGeom>
          <a:solidFill>
            <a:srgbClr val="111010">
              <a:alpha val="7903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228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6767A5-7D0D-7136-A683-00E0A3CCCB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C258C04C-5A9E-9E70-0605-C48A75048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72337" y="-946404"/>
            <a:ext cx="11647326" cy="8750808"/>
          </a:xfrm>
          <a:prstGeom prst="ellipse">
            <a:avLst/>
          </a:prstGeom>
          <a:solidFill>
            <a:srgbClr val="1F3353">
              <a:alpha val="50000"/>
            </a:srgbClr>
          </a:solidFill>
          <a:ln>
            <a:noFill/>
            <a:headEnd type="none" w="med" len="med"/>
            <a:tailEnd type="none" w="med" len="med"/>
          </a:ln>
          <a:effectLst>
            <a:softEdge rad="9525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321502" fontAlgn="base">
              <a:spcBef>
                <a:spcPct val="0"/>
              </a:spcBef>
              <a:spcAft>
                <a:spcPts val="2987"/>
              </a:spcAft>
            </a:pPr>
            <a:endParaRPr lang="en-US" sz="1600" b="1" err="1">
              <a:ln w="3175">
                <a:noFill/>
              </a:ln>
              <a:gradFill>
                <a:gsLst>
                  <a:gs pos="95413">
                    <a:srgbClr val="FFFFFF"/>
                  </a:gs>
                  <a:gs pos="83486">
                    <a:srgbClr val="FFFFFF"/>
                  </a:gs>
                </a:gsLst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4" name="Rectangle: Rounded Corners 7">
            <a:extLst>
              <a:ext uri="{FF2B5EF4-FFF2-40B4-BE49-F238E27FC236}">
                <a16:creationId xmlns:a16="http://schemas.microsoft.com/office/drawing/2014/main" id="{702662D9-7B1C-8472-ED2A-0371A9C6774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auto">
          <a:xfrm>
            <a:off x="4845311" y="801964"/>
            <a:ext cx="2501378" cy="451342"/>
          </a:xfrm>
          <a:prstGeom prst="roundRect">
            <a:avLst>
              <a:gd name="adj" fmla="val 4589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18288" rIns="91440" bIns="36576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87158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Labor market signals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28FE83F4-AF25-F81E-0408-9A8F81CC9E36}"/>
              </a:ext>
            </a:extLst>
          </p:cNvPr>
          <p:cNvSpPr txBox="1">
            <a:spLocks/>
          </p:cNvSpPr>
          <p:nvPr/>
        </p:nvSpPr>
        <p:spPr>
          <a:xfrm>
            <a:off x="5062780" y="2045788"/>
            <a:ext cx="2066440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7200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82%</a:t>
            </a: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0292285A-9E49-2503-BCAF-DB217C2FCD40}"/>
              </a:ext>
            </a:extLst>
          </p:cNvPr>
          <p:cNvSpPr txBox="1">
            <a:spLocks/>
          </p:cNvSpPr>
          <p:nvPr/>
        </p:nvSpPr>
        <p:spPr>
          <a:xfrm>
            <a:off x="2505559" y="3179410"/>
            <a:ext cx="7180882" cy="9848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3200">
                <a:latin typeface="+mn-lt"/>
              </a:rPr>
              <a:t>of financial services leaders are considering hiring for </a:t>
            </a:r>
            <a:r>
              <a:rPr lang="en-CA" sz="3200" b="1"/>
              <a:t>AI-specific ro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8FF792-72A9-A526-9B9A-6F7318B86E2C}"/>
              </a:ext>
            </a:extLst>
          </p:cNvPr>
          <p:cNvSpPr txBox="1"/>
          <p:nvPr/>
        </p:nvSpPr>
        <p:spPr>
          <a:xfrm>
            <a:off x="2505559" y="5989868"/>
            <a:ext cx="7180882" cy="2585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200">
                <a:ln w="3175">
                  <a:noFill/>
                </a:ln>
                <a:cs typeface="Segoe Sans Text Light" pitchFamily="2" charset="0"/>
              </a:rPr>
              <a:t>Data cut: “Financial Services professionals” / Source: Microsoft Work Trend Index Survey 2025</a:t>
            </a:r>
          </a:p>
        </p:txBody>
      </p:sp>
    </p:spTree>
    <p:extLst>
      <p:ext uri="{BB962C8B-B14F-4D97-AF65-F5344CB8AC3E}">
        <p14:creationId xmlns:p14="http://schemas.microsoft.com/office/powerpoint/2010/main" val="18739125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5D7E9EC-42F4-BFCE-6016-E67B95D90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5">
            <a:extLst>
              <a:ext uri="{FF2B5EF4-FFF2-40B4-BE49-F238E27FC236}">
                <a16:creationId xmlns:a16="http://schemas.microsoft.com/office/drawing/2014/main" id="{0F2FFA3F-F2D4-CAC6-0593-5FF25CBC2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2382560"/>
            <a:ext cx="4340200" cy="1107996"/>
          </a:xfrm>
        </p:spPr>
        <p:txBody>
          <a:bodyPr wrap="square">
            <a:spAutoFit/>
          </a:bodyPr>
          <a:lstStyle/>
          <a:p>
            <a:r>
              <a:rPr lang="en-US"/>
              <a:t>In-demand skills for the new era of work 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3E695731-A1DA-523C-1B78-3A36A4604830}"/>
              </a:ext>
            </a:extLst>
          </p:cNvPr>
          <p:cNvSpPr txBox="1">
            <a:spLocks/>
          </p:cNvSpPr>
          <p:nvPr/>
        </p:nvSpPr>
        <p:spPr>
          <a:xfrm>
            <a:off x="588261" y="3620014"/>
            <a:ext cx="3627278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CA" sz="2800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Top skills for 2025 according to Linked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DD8248-0ACE-1C45-54A0-22FB2A4F0D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096000" y="1404593"/>
            <a:ext cx="3738740" cy="763362"/>
          </a:xfrm>
          <a:prstGeom prst="roundRect">
            <a:avLst>
              <a:gd name="adj" fmla="val 26638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sz="1400"/>
          </a:p>
        </p:txBody>
      </p:sp>
      <p:sp>
        <p:nvSpPr>
          <p:cNvPr id="29" name="Rectangle: Rounded Corners 7">
            <a:extLst>
              <a:ext uri="{FF2B5EF4-FFF2-40B4-BE49-F238E27FC236}">
                <a16:creationId xmlns:a16="http://schemas.microsoft.com/office/drawing/2014/main" id="{A07E71BC-A7C3-D9C2-C122-3E6B4C0B05C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5914094" y="1582300"/>
            <a:ext cx="408456" cy="407948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422660-4316-F61C-7D67-98968558E53A}"/>
              </a:ext>
            </a:extLst>
          </p:cNvPr>
          <p:cNvSpPr txBox="1"/>
          <p:nvPr/>
        </p:nvSpPr>
        <p:spPr>
          <a:xfrm>
            <a:off x="6549100" y="1586219"/>
            <a:ext cx="3268868" cy="400110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AI literacy</a:t>
            </a:r>
          </a:p>
        </p:txBody>
      </p:sp>
      <p:sp>
        <p:nvSpPr>
          <p:cNvPr id="36" name="Right Bracket 35">
            <a:extLst>
              <a:ext uri="{FF2B5EF4-FFF2-40B4-BE49-F238E27FC236}">
                <a16:creationId xmlns:a16="http://schemas.microsoft.com/office/drawing/2014/main" id="{C74FF97F-FFBD-6B4D-12E3-191FB4D3C8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28305" y="1410309"/>
            <a:ext cx="176681" cy="757646"/>
          </a:xfrm>
          <a:prstGeom prst="rightBracket">
            <a:avLst>
              <a:gd name="adj" fmla="val 111842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 useBgFill="1">
        <p:nvSpPr>
          <p:cNvPr id="34" name="TextBox 33">
            <a:extLst>
              <a:ext uri="{FF2B5EF4-FFF2-40B4-BE49-F238E27FC236}">
                <a16:creationId xmlns:a16="http://schemas.microsoft.com/office/drawing/2014/main" id="{54CE7DC4-57C4-FD2F-AF93-AF617426E2C1}"/>
              </a:ext>
            </a:extLst>
          </p:cNvPr>
          <p:cNvSpPr txBox="1"/>
          <p:nvPr/>
        </p:nvSpPr>
        <p:spPr>
          <a:xfrm>
            <a:off x="10208410" y="1518509"/>
            <a:ext cx="1151914" cy="535531"/>
          </a:xfrm>
          <a:prstGeom prst="rect">
            <a:avLst/>
          </a:prstGeom>
        </p:spPr>
        <p:txBody>
          <a:bodyPr wrap="square" lIns="72000" rIns="0" anchor="ctr">
            <a:spAutoFit/>
          </a:bodyPr>
          <a:lstStyle/>
          <a:p>
            <a:pPr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600">
                <a:ln w="3175">
                  <a:noFill/>
                </a:ln>
                <a:cs typeface="Segoe Sans Text Light" pitchFamily="2" charset="0"/>
              </a:rPr>
              <a:t>AI capabilit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2F7668-C40A-6574-6A1F-39A468E456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096000" y="2225956"/>
            <a:ext cx="3738740" cy="763362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sz="1400"/>
          </a:p>
        </p:txBody>
      </p:sp>
      <p:sp>
        <p:nvSpPr>
          <p:cNvPr id="30" name="Rectangle: Rounded Corners 7">
            <a:extLst>
              <a:ext uri="{FF2B5EF4-FFF2-40B4-BE49-F238E27FC236}">
                <a16:creationId xmlns:a16="http://schemas.microsoft.com/office/drawing/2014/main" id="{4CC7DBFF-7842-CC0D-72F7-50B8A912555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5914094" y="2403663"/>
            <a:ext cx="408456" cy="407948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3ECD7A-474F-0234-B610-3FFF223E878F}"/>
              </a:ext>
            </a:extLst>
          </p:cNvPr>
          <p:cNvSpPr txBox="1"/>
          <p:nvPr/>
        </p:nvSpPr>
        <p:spPr>
          <a:xfrm>
            <a:off x="6549100" y="2407582"/>
            <a:ext cx="3268868" cy="400110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Conflict mitig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356F52-09B6-012B-6F9A-08BC64295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096000" y="3047319"/>
            <a:ext cx="3738740" cy="763362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sz="1400"/>
          </a:p>
        </p:txBody>
      </p:sp>
      <p:sp>
        <p:nvSpPr>
          <p:cNvPr id="31" name="Rectangle: Rounded Corners 7">
            <a:extLst>
              <a:ext uri="{FF2B5EF4-FFF2-40B4-BE49-F238E27FC236}">
                <a16:creationId xmlns:a16="http://schemas.microsoft.com/office/drawing/2014/main" id="{A58A856D-8DED-F522-FB2A-AF33069D459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5914094" y="3225026"/>
            <a:ext cx="408456" cy="407948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55CBBF-34E6-ABC4-1B59-3E89A39FBC10}"/>
              </a:ext>
            </a:extLst>
          </p:cNvPr>
          <p:cNvSpPr txBox="1"/>
          <p:nvPr/>
        </p:nvSpPr>
        <p:spPr>
          <a:xfrm>
            <a:off x="6549100" y="3228945"/>
            <a:ext cx="3268868" cy="400110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Adaptabil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1E0EE8-1366-039B-A00F-437F82A183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096000" y="3868682"/>
            <a:ext cx="3738740" cy="763362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sz="1400"/>
          </a:p>
        </p:txBody>
      </p:sp>
      <p:sp>
        <p:nvSpPr>
          <p:cNvPr id="32" name="Rectangle: Rounded Corners 7">
            <a:extLst>
              <a:ext uri="{FF2B5EF4-FFF2-40B4-BE49-F238E27FC236}">
                <a16:creationId xmlns:a16="http://schemas.microsoft.com/office/drawing/2014/main" id="{8788425B-825A-FC41-C7F7-763041A35B8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5914094" y="4046389"/>
            <a:ext cx="408456" cy="407948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4E23B7-8A08-E895-F76D-E3D460C7BEA9}"/>
              </a:ext>
            </a:extLst>
          </p:cNvPr>
          <p:cNvSpPr txBox="1"/>
          <p:nvPr/>
        </p:nvSpPr>
        <p:spPr>
          <a:xfrm>
            <a:off x="6549100" y="4050308"/>
            <a:ext cx="3268868" cy="400110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Process optimiz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622E206-B854-5A50-0891-71DCA8A88C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096000" y="4690046"/>
            <a:ext cx="3738740" cy="763362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sz="1400"/>
          </a:p>
        </p:txBody>
      </p:sp>
      <p:sp>
        <p:nvSpPr>
          <p:cNvPr id="33" name="Rectangle: Rounded Corners 7">
            <a:extLst>
              <a:ext uri="{FF2B5EF4-FFF2-40B4-BE49-F238E27FC236}">
                <a16:creationId xmlns:a16="http://schemas.microsoft.com/office/drawing/2014/main" id="{A7A6DBBF-D94D-82EE-E85B-A6CB56C5B95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5914094" y="4867753"/>
            <a:ext cx="408456" cy="407948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AF21463-5F37-1A55-DFDB-6384FAE4FC3F}"/>
              </a:ext>
            </a:extLst>
          </p:cNvPr>
          <p:cNvSpPr txBox="1"/>
          <p:nvPr/>
        </p:nvSpPr>
        <p:spPr>
          <a:xfrm>
            <a:off x="6549100" y="4871672"/>
            <a:ext cx="3268868" cy="400110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Innovative thinking</a:t>
            </a:r>
          </a:p>
        </p:txBody>
      </p:sp>
      <p:sp>
        <p:nvSpPr>
          <p:cNvPr id="37" name="Right Bracket 36">
            <a:extLst>
              <a:ext uri="{FF2B5EF4-FFF2-40B4-BE49-F238E27FC236}">
                <a16:creationId xmlns:a16="http://schemas.microsoft.com/office/drawing/2014/main" id="{38DF7845-AA01-2613-041E-63D0DA240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28305" y="2220205"/>
            <a:ext cx="176681" cy="3227486"/>
          </a:xfrm>
          <a:prstGeom prst="rightBracket">
            <a:avLst>
              <a:gd name="adj" fmla="val 111842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 useBgFill="1">
        <p:nvSpPr>
          <p:cNvPr id="35" name="TextBox 34">
            <a:extLst>
              <a:ext uri="{FF2B5EF4-FFF2-40B4-BE49-F238E27FC236}">
                <a16:creationId xmlns:a16="http://schemas.microsoft.com/office/drawing/2014/main" id="{4FA19A3B-FF6E-93CC-9A43-2C9FA2ABDD4A}"/>
              </a:ext>
            </a:extLst>
          </p:cNvPr>
          <p:cNvSpPr txBox="1"/>
          <p:nvPr/>
        </p:nvSpPr>
        <p:spPr>
          <a:xfrm>
            <a:off x="10208410" y="3571917"/>
            <a:ext cx="1021285" cy="535531"/>
          </a:xfrm>
          <a:prstGeom prst="rect">
            <a:avLst/>
          </a:prstGeom>
        </p:spPr>
        <p:txBody>
          <a:bodyPr wrap="square" lIns="72000" rIns="0" anchor="ctr">
            <a:spAutoFit/>
          </a:bodyPr>
          <a:lstStyle/>
          <a:p>
            <a:pPr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600">
                <a:ln w="3175">
                  <a:noFill/>
                </a:ln>
                <a:cs typeface="Segoe Sans Text Light" pitchFamily="2" charset="0"/>
              </a:rPr>
              <a:t>Human strength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9D169B1-E41E-D023-3006-18D606237A7C}"/>
              </a:ext>
            </a:extLst>
          </p:cNvPr>
          <p:cNvSpPr txBox="1"/>
          <p:nvPr/>
        </p:nvSpPr>
        <p:spPr>
          <a:xfrm>
            <a:off x="588261" y="6114345"/>
            <a:ext cx="3810000" cy="230832"/>
          </a:xfrm>
          <a:prstGeom prst="rect">
            <a:avLst/>
          </a:prstGeom>
          <a:noFill/>
        </p:spPr>
        <p:txBody>
          <a:bodyPr wrap="square" lIns="0" rIns="0" anchor="b">
            <a:spAutoFit/>
          </a:bodyPr>
          <a:lstStyle/>
          <a:p>
            <a:pPr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000">
                <a:ln w="3175">
                  <a:noFill/>
                </a:ln>
                <a:solidFill>
                  <a:schemeClr val="accent6">
                    <a:lumMod val="75000"/>
                  </a:schemeClr>
                </a:solidFill>
                <a:cs typeface="Segoe Sans Text Light" pitchFamily="2" charset="0"/>
              </a:rPr>
              <a:t>Source: LinkedIn Work Change Report 2025.</a:t>
            </a:r>
          </a:p>
        </p:txBody>
      </p:sp>
    </p:spTree>
    <p:extLst>
      <p:ext uri="{BB962C8B-B14F-4D97-AF65-F5344CB8AC3E}">
        <p14:creationId xmlns:p14="http://schemas.microsoft.com/office/powerpoint/2010/main" val="422485407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9" grpId="0" animBg="1"/>
      <p:bldP spid="14" grpId="0"/>
      <p:bldP spid="36" grpId="0" animBg="1"/>
      <p:bldP spid="34" grpId="0" animBg="1"/>
      <p:bldP spid="17" grpId="0" animBg="1"/>
      <p:bldP spid="30" grpId="0" animBg="1"/>
      <p:bldP spid="18" grpId="0"/>
      <p:bldP spid="20" grpId="0" animBg="1"/>
      <p:bldP spid="31" grpId="0" animBg="1"/>
      <p:bldP spid="21" grpId="0"/>
      <p:bldP spid="23" grpId="0" animBg="1"/>
      <p:bldP spid="32" grpId="0" animBg="1"/>
      <p:bldP spid="24" grpId="0"/>
      <p:bldP spid="26" grpId="0" animBg="1"/>
      <p:bldP spid="33" grpId="0" animBg="1"/>
      <p:bldP spid="27" grpId="0"/>
      <p:bldP spid="37" grpId="0" animBg="1"/>
      <p:bldP spid="3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A24C-FDD0-19E3-5E2E-68F2016C77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2">
            <a:extLst>
              <a:ext uri="{FF2B5EF4-FFF2-40B4-BE49-F238E27FC236}">
                <a16:creationId xmlns:a16="http://schemas.microsoft.com/office/drawing/2014/main" id="{5DA5A924-DA20-381C-E242-9CCC0D026AF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8262" y="-762000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0" i="0" u="none" strike="noStrike" kern="1200" cap="none" spc="-50" normalizeH="0" baseline="0" noProof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Becoming Frontier: bank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A241FC-80DC-E022-FE5D-0A68CA8721F7}"/>
              </a:ext>
            </a:extLst>
          </p:cNvPr>
          <p:cNvSpPr>
            <a:spLocks/>
          </p:cNvSpPr>
          <p:nvPr/>
        </p:nvSpPr>
        <p:spPr>
          <a:xfrm>
            <a:off x="588262" y="457200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Becoming Frontier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D446674B-7EAB-E989-B8ED-9CBEB5925A56}"/>
              </a:ext>
            </a:extLst>
          </p:cNvPr>
          <p:cNvSpPr txBox="1">
            <a:spLocks/>
          </p:cNvSpPr>
          <p:nvPr/>
        </p:nvSpPr>
        <p:spPr>
          <a:xfrm>
            <a:off x="4283883" y="1011198"/>
            <a:ext cx="3627278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2800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Bank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D3B5CD-3C74-8E90-E7A9-056F1BFCE6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34561" y="2220635"/>
            <a:ext cx="2405062" cy="1085648"/>
          </a:xfrm>
          <a:custGeom>
            <a:avLst/>
            <a:gdLst>
              <a:gd name="connsiteX0" fmla="*/ 391647 w 2405062"/>
              <a:gd name="connsiteY0" fmla="*/ 0 h 1085648"/>
              <a:gd name="connsiteX1" fmla="*/ 2013415 w 2405062"/>
              <a:gd name="connsiteY1" fmla="*/ 0 h 1085648"/>
              <a:gd name="connsiteX2" fmla="*/ 2405062 w 2405062"/>
              <a:gd name="connsiteY2" fmla="*/ 391647 h 1085648"/>
              <a:gd name="connsiteX3" fmla="*/ 2405062 w 2405062"/>
              <a:gd name="connsiteY3" fmla="*/ 999699 h 1085648"/>
              <a:gd name="connsiteX4" fmla="*/ 232769 w 2405062"/>
              <a:gd name="connsiteY4" fmla="*/ 999699 h 1085648"/>
              <a:gd name="connsiteX5" fmla="*/ 28574 w 2405062"/>
              <a:gd name="connsiteY5" fmla="*/ 1062072 h 1085648"/>
              <a:gd name="connsiteX6" fmla="*/ 0 w 2405062"/>
              <a:gd name="connsiteY6" fmla="*/ 1085648 h 1085648"/>
              <a:gd name="connsiteX7" fmla="*/ 0 w 2405062"/>
              <a:gd name="connsiteY7" fmla="*/ 391647 h 1085648"/>
              <a:gd name="connsiteX8" fmla="*/ 391647 w 2405062"/>
              <a:gd name="connsiteY8" fmla="*/ 0 h 1085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05062" h="1085648">
                <a:moveTo>
                  <a:pt x="391647" y="0"/>
                </a:moveTo>
                <a:lnTo>
                  <a:pt x="2013415" y="0"/>
                </a:lnTo>
                <a:cubicBezTo>
                  <a:pt x="2229716" y="0"/>
                  <a:pt x="2405062" y="175346"/>
                  <a:pt x="2405062" y="391647"/>
                </a:cubicBezTo>
                <a:lnTo>
                  <a:pt x="2405062" y="999699"/>
                </a:lnTo>
                <a:lnTo>
                  <a:pt x="232769" y="999699"/>
                </a:lnTo>
                <a:cubicBezTo>
                  <a:pt x="157131" y="999699"/>
                  <a:pt x="86862" y="1022693"/>
                  <a:pt x="28574" y="1062072"/>
                </a:cubicBezTo>
                <a:lnTo>
                  <a:pt x="0" y="1085648"/>
                </a:lnTo>
                <a:lnTo>
                  <a:pt x="0" y="391647"/>
                </a:lnTo>
                <a:cubicBezTo>
                  <a:pt x="0" y="175346"/>
                  <a:pt x="175346" y="0"/>
                  <a:pt x="391647" y="0"/>
                </a:cubicBezTo>
                <a:close/>
              </a:path>
            </a:pathLst>
          </a:cu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6FA324-A393-4101-0790-A8B1D0FD3D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573834" y="2220636"/>
            <a:ext cx="2405062" cy="999699"/>
          </a:xfrm>
          <a:custGeom>
            <a:avLst/>
            <a:gdLst>
              <a:gd name="connsiteX0" fmla="*/ 391647 w 2405062"/>
              <a:gd name="connsiteY0" fmla="*/ 0 h 999699"/>
              <a:gd name="connsiteX1" fmla="*/ 2013415 w 2405062"/>
              <a:gd name="connsiteY1" fmla="*/ 0 h 999699"/>
              <a:gd name="connsiteX2" fmla="*/ 2405062 w 2405062"/>
              <a:gd name="connsiteY2" fmla="*/ 391647 h 999699"/>
              <a:gd name="connsiteX3" fmla="*/ 2405062 w 2405062"/>
              <a:gd name="connsiteY3" fmla="*/ 999699 h 999699"/>
              <a:gd name="connsiteX4" fmla="*/ 0 w 2405062"/>
              <a:gd name="connsiteY4" fmla="*/ 999699 h 999699"/>
              <a:gd name="connsiteX5" fmla="*/ 0 w 2405062"/>
              <a:gd name="connsiteY5" fmla="*/ 391647 h 999699"/>
              <a:gd name="connsiteX6" fmla="*/ 391647 w 2405062"/>
              <a:gd name="connsiteY6" fmla="*/ 0 h 99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05062" h="999699">
                <a:moveTo>
                  <a:pt x="391647" y="0"/>
                </a:moveTo>
                <a:lnTo>
                  <a:pt x="2013415" y="0"/>
                </a:lnTo>
                <a:cubicBezTo>
                  <a:pt x="2229716" y="0"/>
                  <a:pt x="2405062" y="175346"/>
                  <a:pt x="2405062" y="391647"/>
                </a:cubicBezTo>
                <a:lnTo>
                  <a:pt x="2405062" y="999699"/>
                </a:lnTo>
                <a:lnTo>
                  <a:pt x="0" y="999699"/>
                </a:lnTo>
                <a:lnTo>
                  <a:pt x="0" y="391647"/>
                </a:lnTo>
                <a:cubicBezTo>
                  <a:pt x="0" y="175346"/>
                  <a:pt x="175346" y="0"/>
                  <a:pt x="391647" y="0"/>
                </a:cubicBezTo>
                <a:close/>
              </a:path>
            </a:pathLst>
          </a:cu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67985F-5252-ADE7-EA40-811AB8D3A3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13107" y="2220636"/>
            <a:ext cx="2405062" cy="999699"/>
          </a:xfrm>
          <a:custGeom>
            <a:avLst/>
            <a:gdLst>
              <a:gd name="connsiteX0" fmla="*/ 391647 w 2405062"/>
              <a:gd name="connsiteY0" fmla="*/ 0 h 999699"/>
              <a:gd name="connsiteX1" fmla="*/ 2013415 w 2405062"/>
              <a:gd name="connsiteY1" fmla="*/ 0 h 999699"/>
              <a:gd name="connsiteX2" fmla="*/ 2405062 w 2405062"/>
              <a:gd name="connsiteY2" fmla="*/ 391647 h 999699"/>
              <a:gd name="connsiteX3" fmla="*/ 2405062 w 2405062"/>
              <a:gd name="connsiteY3" fmla="*/ 999699 h 999699"/>
              <a:gd name="connsiteX4" fmla="*/ 0 w 2405062"/>
              <a:gd name="connsiteY4" fmla="*/ 999699 h 999699"/>
              <a:gd name="connsiteX5" fmla="*/ 0 w 2405062"/>
              <a:gd name="connsiteY5" fmla="*/ 391647 h 999699"/>
              <a:gd name="connsiteX6" fmla="*/ 391647 w 2405062"/>
              <a:gd name="connsiteY6" fmla="*/ 0 h 99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05062" h="999699">
                <a:moveTo>
                  <a:pt x="391647" y="0"/>
                </a:moveTo>
                <a:lnTo>
                  <a:pt x="2013415" y="0"/>
                </a:lnTo>
                <a:cubicBezTo>
                  <a:pt x="2229716" y="0"/>
                  <a:pt x="2405062" y="175346"/>
                  <a:pt x="2405062" y="391647"/>
                </a:cubicBezTo>
                <a:lnTo>
                  <a:pt x="2405062" y="999699"/>
                </a:lnTo>
                <a:lnTo>
                  <a:pt x="0" y="999699"/>
                </a:lnTo>
                <a:lnTo>
                  <a:pt x="0" y="391647"/>
                </a:lnTo>
                <a:cubicBezTo>
                  <a:pt x="0" y="175346"/>
                  <a:pt x="175346" y="0"/>
                  <a:pt x="391647" y="0"/>
                </a:cubicBezTo>
                <a:close/>
              </a:path>
            </a:pathLst>
          </a:cu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483699-0C6C-A0AA-72D8-127482E557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852379" y="2220635"/>
            <a:ext cx="2405062" cy="1083138"/>
          </a:xfrm>
          <a:custGeom>
            <a:avLst/>
            <a:gdLst>
              <a:gd name="connsiteX0" fmla="*/ 380068 w 2405062"/>
              <a:gd name="connsiteY0" fmla="*/ 0 h 1083138"/>
              <a:gd name="connsiteX1" fmla="*/ 2024994 w 2405062"/>
              <a:gd name="connsiteY1" fmla="*/ 0 h 1083138"/>
              <a:gd name="connsiteX2" fmla="*/ 2405062 w 2405062"/>
              <a:gd name="connsiteY2" fmla="*/ 380068 h 1083138"/>
              <a:gd name="connsiteX3" fmla="*/ 2405062 w 2405062"/>
              <a:gd name="connsiteY3" fmla="*/ 1083138 h 1083138"/>
              <a:gd name="connsiteX4" fmla="*/ 2379531 w 2405062"/>
              <a:gd name="connsiteY4" fmla="*/ 1062072 h 1083138"/>
              <a:gd name="connsiteX5" fmla="*/ 2175335 w 2405062"/>
              <a:gd name="connsiteY5" fmla="*/ 999699 h 1083138"/>
              <a:gd name="connsiteX6" fmla="*/ 0 w 2405062"/>
              <a:gd name="connsiteY6" fmla="*/ 999699 h 1083138"/>
              <a:gd name="connsiteX7" fmla="*/ 0 w 2405062"/>
              <a:gd name="connsiteY7" fmla="*/ 380068 h 1083138"/>
              <a:gd name="connsiteX8" fmla="*/ 380068 w 2405062"/>
              <a:gd name="connsiteY8" fmla="*/ 0 h 108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05062" h="1083138">
                <a:moveTo>
                  <a:pt x="380068" y="0"/>
                </a:moveTo>
                <a:lnTo>
                  <a:pt x="2024994" y="0"/>
                </a:lnTo>
                <a:cubicBezTo>
                  <a:pt x="2234900" y="0"/>
                  <a:pt x="2405062" y="170162"/>
                  <a:pt x="2405062" y="380068"/>
                </a:cubicBezTo>
                <a:lnTo>
                  <a:pt x="2405062" y="1083138"/>
                </a:lnTo>
                <a:lnTo>
                  <a:pt x="2379531" y="1062072"/>
                </a:lnTo>
                <a:cubicBezTo>
                  <a:pt x="2321242" y="1022693"/>
                  <a:pt x="2250974" y="999699"/>
                  <a:pt x="2175335" y="999699"/>
                </a:cubicBezTo>
                <a:lnTo>
                  <a:pt x="0" y="999699"/>
                </a:lnTo>
                <a:lnTo>
                  <a:pt x="0" y="380068"/>
                </a:lnTo>
                <a:cubicBezTo>
                  <a:pt x="0" y="170162"/>
                  <a:pt x="170162" y="0"/>
                  <a:pt x="380068" y="0"/>
                </a:cubicBezTo>
                <a:close/>
              </a:path>
            </a:pathLst>
          </a:cu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 useBgFill="1">
        <p:nvSpPr>
          <p:cNvPr id="33" name="TextBox 32">
            <a:extLst>
              <a:ext uri="{FF2B5EF4-FFF2-40B4-BE49-F238E27FC236}">
                <a16:creationId xmlns:a16="http://schemas.microsoft.com/office/drawing/2014/main" id="{4D018B63-CC6E-9A82-3A33-1C6C6F59E2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02114" y="3220334"/>
            <a:ext cx="10590816" cy="2131404"/>
          </a:xfrm>
          <a:prstGeom prst="roundRect">
            <a:avLst>
              <a:gd name="adj" fmla="val 17135"/>
            </a:avLst>
          </a:prstGeom>
          <a:ln w="19050" cap="rnd">
            <a:gradFill flip="none" rotWithShape="1">
              <a:gsLst>
                <a:gs pos="79000">
                  <a:srgbClr val="41AFA1"/>
                </a:gs>
                <a:gs pos="0">
                  <a:srgbClr val="46A0DE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100" b="1">
                <a:ln w="3175">
                  <a:noFill/>
                </a:ln>
                <a:gradFill>
                  <a:gsLst>
                    <a:gs pos="85321">
                      <a:srgbClr val="000000"/>
                    </a:gs>
                    <a:gs pos="78000">
                      <a:srgbClr val="000000"/>
                    </a:gs>
                  </a:gsLst>
                  <a:path path="circle">
                    <a:fillToRect l="100000" b="100000"/>
                  </a:path>
                </a:gradFill>
                <a:latin typeface="Segoe UI Variable Display Semibold" pitchFamily="2" charset="0"/>
                <a:cs typeface="Segoe UI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 defTabSz="1427220" fontAlgn="auto">
              <a:spcBef>
                <a:spcPts val="1800"/>
              </a:spcBef>
              <a:spcAft>
                <a:spcPts val="0"/>
              </a:spcAft>
              <a:tabLst/>
              <a:defRPr/>
            </a:pPr>
            <a:endParaRPr lang="en-US" sz="1100" b="1"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181889-4DFC-6AB1-54D7-960EC4B1BF68}"/>
              </a:ext>
            </a:extLst>
          </p:cNvPr>
          <p:cNvSpPr txBox="1"/>
          <p:nvPr/>
        </p:nvSpPr>
        <p:spPr>
          <a:xfrm>
            <a:off x="934557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Enrich employee experi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BBAF1A-560D-8DE7-4002-856DE11FEDFF}"/>
              </a:ext>
            </a:extLst>
          </p:cNvPr>
          <p:cNvSpPr txBox="1">
            <a:spLocks/>
          </p:cNvSpPr>
          <p:nvPr/>
        </p:nvSpPr>
        <p:spPr>
          <a:xfrm>
            <a:off x="1155353" y="3561117"/>
            <a:ext cx="1963478" cy="73866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empowering relationship manager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59C874B-66FE-796D-3E3C-D5FBCC7689D7}"/>
              </a:ext>
            </a:extLst>
          </p:cNvPr>
          <p:cNvSpPr txBox="1"/>
          <p:nvPr/>
        </p:nvSpPr>
        <p:spPr>
          <a:xfrm>
            <a:off x="3573829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Reinvent customer engag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3F78E6-8E28-C55B-2D2F-6CFFA1D97337}"/>
              </a:ext>
            </a:extLst>
          </p:cNvPr>
          <p:cNvSpPr txBox="1">
            <a:spLocks/>
          </p:cNvSpPr>
          <p:nvPr/>
        </p:nvSpPr>
        <p:spPr>
          <a:xfrm>
            <a:off x="3779288" y="3561117"/>
            <a:ext cx="1994154" cy="13336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>
              <a:spcAft>
                <a:spcPts val="800"/>
              </a:spcAft>
              <a:defRPr/>
            </a:pPr>
            <a:r>
              <a:rPr lang="en-US" sz="1600"/>
              <a:t>By transforming the contact center</a:t>
            </a:r>
          </a:p>
          <a:p>
            <a:pPr lvl="0" algn="ctr">
              <a:spcAft>
                <a:spcPts val="800"/>
              </a:spcAft>
              <a:defRPr/>
            </a:pPr>
            <a:r>
              <a:rPr lang="en-US" sz="1600"/>
              <a:t>By enhancing marketing effectivenes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5BA4670-109C-9A08-CF2D-30617A04529F}"/>
              </a:ext>
            </a:extLst>
          </p:cNvPr>
          <p:cNvSpPr txBox="1"/>
          <p:nvPr/>
        </p:nvSpPr>
        <p:spPr>
          <a:xfrm>
            <a:off x="6213101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Reshape business process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619898-49D9-631A-152E-8714F4D9F19D}"/>
              </a:ext>
            </a:extLst>
          </p:cNvPr>
          <p:cNvSpPr txBox="1">
            <a:spLocks/>
          </p:cNvSpPr>
          <p:nvPr/>
        </p:nvSpPr>
        <p:spPr>
          <a:xfrm>
            <a:off x="6341381" y="3561117"/>
            <a:ext cx="2148514" cy="13336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modernizing lending and mortgage processes</a:t>
            </a:r>
          </a:p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improving fraud analysis and detec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27AD446-D2AB-823E-71F4-BFF87DCF0B7D}"/>
              </a:ext>
            </a:extLst>
          </p:cNvPr>
          <p:cNvSpPr txBox="1"/>
          <p:nvPr/>
        </p:nvSpPr>
        <p:spPr>
          <a:xfrm>
            <a:off x="8852375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Bend the curve</a:t>
            </a:r>
            <a:b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on innov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9BFB50-9A52-6EE7-DFA6-6198F494A300}"/>
              </a:ext>
            </a:extLst>
          </p:cNvPr>
          <p:cNvSpPr txBox="1">
            <a:spLocks/>
          </p:cNvSpPr>
          <p:nvPr/>
        </p:nvSpPr>
        <p:spPr>
          <a:xfrm>
            <a:off x="8980653" y="3561117"/>
            <a:ext cx="2148514" cy="98488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reimagining business models to create market differentiation</a:t>
            </a:r>
          </a:p>
        </p:txBody>
      </p:sp>
      <p:sp useBgFill="1">
        <p:nvSpPr>
          <p:cNvPr id="13" name="TextBox 12">
            <a:extLst>
              <a:ext uri="{FF2B5EF4-FFF2-40B4-BE49-F238E27FC236}">
                <a16:creationId xmlns:a16="http://schemas.microsoft.com/office/drawing/2014/main" id="{14F58BCB-320C-A058-D77D-A6341F6D84F7}"/>
              </a:ext>
            </a:extLst>
          </p:cNvPr>
          <p:cNvSpPr txBox="1"/>
          <p:nvPr/>
        </p:nvSpPr>
        <p:spPr>
          <a:xfrm>
            <a:off x="3861272" y="5182460"/>
            <a:ext cx="4472500" cy="338554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 defTabSz="932742" fontAlgn="base">
              <a:spcBef>
                <a:spcPct val="0"/>
              </a:spcBef>
              <a:spcAft>
                <a:spcPct val="0"/>
              </a:spcAft>
              <a:buSzPct val="90000"/>
              <a:defRPr/>
            </a:pPr>
            <a:r>
              <a:rPr lang="en-US" sz="1600" b="1">
                <a:ln w="3175">
                  <a:noFill/>
                </a:ln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cs typeface="Segoe UI" pitchFamily="34" charset="0"/>
              </a:rPr>
              <a:t>Establish a secure and compliant foundation</a:t>
            </a:r>
          </a:p>
        </p:txBody>
      </p:sp>
      <p:sp>
        <p:nvSpPr>
          <p:cNvPr id="22" name="Rectangle: Rounded Corners 7">
            <a:extLst>
              <a:ext uri="{FF2B5EF4-FFF2-40B4-BE49-F238E27FC236}">
                <a16:creationId xmlns:a16="http://schemas.microsoft.com/office/drawing/2014/main" id="{AFDE3E78-0116-5544-B98C-09F4F5EAE58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12690" y="5727664"/>
            <a:ext cx="10580239" cy="451342"/>
          </a:xfrm>
          <a:prstGeom prst="roundRect">
            <a:avLst>
              <a:gd name="adj" fmla="val 43332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Next step: schedule an agentic workshop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AC86C3D-D978-4B8A-DF50-CDAE261930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878959" y="1954457"/>
            <a:ext cx="516266" cy="516266"/>
            <a:chOff x="1599109" y="1884989"/>
            <a:chExt cx="829309" cy="829309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1F56092-01CC-E62C-22D0-08B51AD582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599109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49" name="Graphic 30" descr="Icon of two people">
              <a:extLst>
                <a:ext uri="{FF2B5EF4-FFF2-40B4-BE49-F238E27FC236}">
                  <a16:creationId xmlns:a16="http://schemas.microsoft.com/office/drawing/2014/main" id="{60E12B84-07BF-611F-D963-88A07879B8C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35977" y="2134589"/>
              <a:ext cx="388368" cy="330108"/>
            </a:xfrm>
            <a:custGeom>
              <a:avLst/>
              <a:gdLst>
                <a:gd name="connsiteX0" fmla="*/ 145993 w 486649"/>
                <a:gd name="connsiteY0" fmla="*/ 194658 h 413647"/>
                <a:gd name="connsiteX1" fmla="*/ 243322 w 486649"/>
                <a:gd name="connsiteY1" fmla="*/ 97329 h 413647"/>
                <a:gd name="connsiteX2" fmla="*/ 145993 w 486649"/>
                <a:gd name="connsiteY2" fmla="*/ 0 h 413647"/>
                <a:gd name="connsiteX3" fmla="*/ 48664 w 486649"/>
                <a:gd name="connsiteY3" fmla="*/ 97329 h 413647"/>
                <a:gd name="connsiteX4" fmla="*/ 145993 w 486649"/>
                <a:gd name="connsiteY4" fmla="*/ 194658 h 413647"/>
                <a:gd name="connsiteX5" fmla="*/ 364983 w 486649"/>
                <a:gd name="connsiteY5" fmla="*/ 194658 h 413647"/>
                <a:gd name="connsiteX6" fmla="*/ 437980 w 486649"/>
                <a:gd name="connsiteY6" fmla="*/ 121661 h 413647"/>
                <a:gd name="connsiteX7" fmla="*/ 364983 w 486649"/>
                <a:gd name="connsiteY7" fmla="*/ 48664 h 413647"/>
                <a:gd name="connsiteX8" fmla="*/ 291987 w 486649"/>
                <a:gd name="connsiteY8" fmla="*/ 121661 h 413647"/>
                <a:gd name="connsiteX9" fmla="*/ 364983 w 486649"/>
                <a:gd name="connsiteY9" fmla="*/ 194658 h 413647"/>
                <a:gd name="connsiteX10" fmla="*/ 54747 w 486649"/>
                <a:gd name="connsiteY10" fmla="*/ 243322 h 413647"/>
                <a:gd name="connsiteX11" fmla="*/ 0 w 486649"/>
                <a:gd name="connsiteY11" fmla="*/ 298070 h 413647"/>
                <a:gd name="connsiteX12" fmla="*/ 0 w 486649"/>
                <a:gd name="connsiteY12" fmla="*/ 304153 h 413647"/>
                <a:gd name="connsiteX13" fmla="*/ 145993 w 486649"/>
                <a:gd name="connsiteY13" fmla="*/ 413648 h 413647"/>
                <a:gd name="connsiteX14" fmla="*/ 291987 w 486649"/>
                <a:gd name="connsiteY14" fmla="*/ 304153 h 413647"/>
                <a:gd name="connsiteX15" fmla="*/ 291987 w 486649"/>
                <a:gd name="connsiteY15" fmla="*/ 298070 h 413647"/>
                <a:gd name="connsiteX16" fmla="*/ 237239 w 486649"/>
                <a:gd name="connsiteY16" fmla="*/ 243322 h 413647"/>
                <a:gd name="connsiteX17" fmla="*/ 54747 w 486649"/>
                <a:gd name="connsiteY17" fmla="*/ 243322 h 413647"/>
                <a:gd name="connsiteX18" fmla="*/ 364988 w 486649"/>
                <a:gd name="connsiteY18" fmla="*/ 377149 h 413647"/>
                <a:gd name="connsiteX19" fmla="*/ 297955 w 486649"/>
                <a:gd name="connsiteY19" fmla="*/ 365995 h 413647"/>
                <a:gd name="connsiteX20" fmla="*/ 313214 w 486649"/>
                <a:gd name="connsiteY20" fmla="*/ 328086 h 413647"/>
                <a:gd name="connsiteX21" fmla="*/ 315864 w 486649"/>
                <a:gd name="connsiteY21" fmla="*/ 312311 h 413647"/>
                <a:gd name="connsiteX22" fmla="*/ 316246 w 486649"/>
                <a:gd name="connsiteY22" fmla="*/ 307162 h 413647"/>
                <a:gd name="connsiteX23" fmla="*/ 316309 w 486649"/>
                <a:gd name="connsiteY23" fmla="*/ 305377 h 413647"/>
                <a:gd name="connsiteX24" fmla="*/ 316321 w 486649"/>
                <a:gd name="connsiteY24" fmla="*/ 304693 h 413647"/>
                <a:gd name="connsiteX25" fmla="*/ 316324 w 486649"/>
                <a:gd name="connsiteY25" fmla="*/ 304403 h 413647"/>
                <a:gd name="connsiteX26" fmla="*/ 316324 w 486649"/>
                <a:gd name="connsiteY26" fmla="*/ 304274 h 413647"/>
                <a:gd name="connsiteX27" fmla="*/ 316324 w 486649"/>
                <a:gd name="connsiteY27" fmla="*/ 304211 h 413647"/>
                <a:gd name="connsiteX28" fmla="*/ 316324 w 486649"/>
                <a:gd name="connsiteY28" fmla="*/ 304153 h 413647"/>
                <a:gd name="connsiteX29" fmla="*/ 316324 w 486649"/>
                <a:gd name="connsiteY29" fmla="*/ 298070 h 413647"/>
                <a:gd name="connsiteX30" fmla="*/ 294364 w 486649"/>
                <a:gd name="connsiteY30" fmla="*/ 243378 h 413647"/>
                <a:gd name="connsiteX31" fmla="*/ 296858 w 486649"/>
                <a:gd name="connsiteY31" fmla="*/ 243322 h 413647"/>
                <a:gd name="connsiteX32" fmla="*/ 433118 w 486649"/>
                <a:gd name="connsiteY32" fmla="*/ 243322 h 413647"/>
                <a:gd name="connsiteX33" fmla="*/ 486649 w 486649"/>
                <a:gd name="connsiteY33" fmla="*/ 296853 h 413647"/>
                <a:gd name="connsiteX34" fmla="*/ 364988 w 486649"/>
                <a:gd name="connsiteY34" fmla="*/ 377149 h 413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86649" h="413647">
                  <a:moveTo>
                    <a:pt x="145993" y="194658"/>
                  </a:moveTo>
                  <a:cubicBezTo>
                    <a:pt x="199746" y="194658"/>
                    <a:pt x="243322" y="151081"/>
                    <a:pt x="243322" y="97329"/>
                  </a:cubicBezTo>
                  <a:cubicBezTo>
                    <a:pt x="243322" y="43576"/>
                    <a:pt x="199746" y="0"/>
                    <a:pt x="145993" y="0"/>
                  </a:cubicBezTo>
                  <a:cubicBezTo>
                    <a:pt x="92240" y="0"/>
                    <a:pt x="48664" y="43576"/>
                    <a:pt x="48664" y="97329"/>
                  </a:cubicBezTo>
                  <a:cubicBezTo>
                    <a:pt x="48664" y="151081"/>
                    <a:pt x="92240" y="194658"/>
                    <a:pt x="145993" y="194658"/>
                  </a:cubicBezTo>
                  <a:close/>
                  <a:moveTo>
                    <a:pt x="364983" y="194658"/>
                  </a:moveTo>
                  <a:cubicBezTo>
                    <a:pt x="405299" y="194658"/>
                    <a:pt x="437980" y="161977"/>
                    <a:pt x="437980" y="121661"/>
                  </a:cubicBezTo>
                  <a:cubicBezTo>
                    <a:pt x="437980" y="81346"/>
                    <a:pt x="405299" y="48664"/>
                    <a:pt x="364983" y="48664"/>
                  </a:cubicBezTo>
                  <a:cubicBezTo>
                    <a:pt x="324667" y="48664"/>
                    <a:pt x="291987" y="81346"/>
                    <a:pt x="291987" y="121661"/>
                  </a:cubicBezTo>
                  <a:cubicBezTo>
                    <a:pt x="291987" y="161977"/>
                    <a:pt x="324667" y="194658"/>
                    <a:pt x="364983" y="194658"/>
                  </a:cubicBezTo>
                  <a:close/>
                  <a:moveTo>
                    <a:pt x="54747" y="243322"/>
                  </a:moveTo>
                  <a:cubicBezTo>
                    <a:pt x="24511" y="243322"/>
                    <a:pt x="0" y="267834"/>
                    <a:pt x="0" y="298070"/>
                  </a:cubicBezTo>
                  <a:lnTo>
                    <a:pt x="0" y="304153"/>
                  </a:lnTo>
                  <a:cubicBezTo>
                    <a:pt x="0" y="304153"/>
                    <a:pt x="0" y="413648"/>
                    <a:pt x="145993" y="413648"/>
                  </a:cubicBezTo>
                  <a:cubicBezTo>
                    <a:pt x="291987" y="413648"/>
                    <a:pt x="291987" y="304153"/>
                    <a:pt x="291987" y="304153"/>
                  </a:cubicBezTo>
                  <a:lnTo>
                    <a:pt x="291987" y="298070"/>
                  </a:lnTo>
                  <a:cubicBezTo>
                    <a:pt x="291987" y="267834"/>
                    <a:pt x="267474" y="243322"/>
                    <a:pt x="237239" y="243322"/>
                  </a:cubicBezTo>
                  <a:lnTo>
                    <a:pt x="54747" y="243322"/>
                  </a:lnTo>
                  <a:close/>
                  <a:moveTo>
                    <a:pt x="364988" y="377149"/>
                  </a:moveTo>
                  <a:cubicBezTo>
                    <a:pt x="336490" y="377149"/>
                    <a:pt x="314667" y="372743"/>
                    <a:pt x="297955" y="365995"/>
                  </a:cubicBezTo>
                  <a:cubicBezTo>
                    <a:pt x="306277" y="352007"/>
                    <a:pt x="310769" y="338563"/>
                    <a:pt x="313214" y="328086"/>
                  </a:cubicBezTo>
                  <a:cubicBezTo>
                    <a:pt x="314684" y="321786"/>
                    <a:pt x="315455" y="316384"/>
                    <a:pt x="315864" y="312311"/>
                  </a:cubicBezTo>
                  <a:cubicBezTo>
                    <a:pt x="316068" y="310265"/>
                    <a:pt x="316182" y="308532"/>
                    <a:pt x="316246" y="307162"/>
                  </a:cubicBezTo>
                  <a:cubicBezTo>
                    <a:pt x="316277" y="306476"/>
                    <a:pt x="316297" y="305878"/>
                    <a:pt x="316309" y="305377"/>
                  </a:cubicBezTo>
                  <a:lnTo>
                    <a:pt x="316321" y="304693"/>
                  </a:lnTo>
                  <a:lnTo>
                    <a:pt x="316324" y="304403"/>
                  </a:lnTo>
                  <a:lnTo>
                    <a:pt x="316324" y="304274"/>
                  </a:lnTo>
                  <a:lnTo>
                    <a:pt x="316324" y="304211"/>
                  </a:lnTo>
                  <a:cubicBezTo>
                    <a:pt x="316324" y="304133"/>
                    <a:pt x="316324" y="304153"/>
                    <a:pt x="316324" y="304153"/>
                  </a:cubicBezTo>
                  <a:lnTo>
                    <a:pt x="316324" y="298070"/>
                  </a:lnTo>
                  <a:cubicBezTo>
                    <a:pt x="316324" y="276849"/>
                    <a:pt x="307965" y="257583"/>
                    <a:pt x="294364" y="243378"/>
                  </a:cubicBezTo>
                  <a:cubicBezTo>
                    <a:pt x="295189" y="243342"/>
                    <a:pt x="296021" y="243322"/>
                    <a:pt x="296858" y="243322"/>
                  </a:cubicBezTo>
                  <a:lnTo>
                    <a:pt x="433118" y="243322"/>
                  </a:lnTo>
                  <a:cubicBezTo>
                    <a:pt x="462682" y="243322"/>
                    <a:pt x="486649" y="267289"/>
                    <a:pt x="486649" y="296853"/>
                  </a:cubicBezTo>
                  <a:cubicBezTo>
                    <a:pt x="486649" y="296853"/>
                    <a:pt x="486649" y="377149"/>
                    <a:pt x="364988" y="37714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47F9888-4B5E-22E2-0E9A-0DEFF3FA7B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18232" y="1954457"/>
            <a:ext cx="516266" cy="516266"/>
            <a:chOff x="4320600" y="1884989"/>
            <a:chExt cx="829309" cy="829309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AA8B82BD-B67C-BB66-2876-F214798B1F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00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0" name="Graphic 27" descr="Icon of a chat bubble">
              <a:extLst>
                <a:ext uri="{FF2B5EF4-FFF2-40B4-BE49-F238E27FC236}">
                  <a16:creationId xmlns:a16="http://schemas.microsoft.com/office/drawing/2014/main" id="{C6873FE1-C8AA-B22A-56B8-2453F5CA8E4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46083" y="2129888"/>
              <a:ext cx="378342" cy="339510"/>
            </a:xfrm>
            <a:custGeom>
              <a:avLst/>
              <a:gdLst>
                <a:gd name="connsiteX0" fmla="*/ 157427 w 421134"/>
                <a:gd name="connsiteY0" fmla="*/ 0 h 377911"/>
                <a:gd name="connsiteX1" fmla="*/ 0 w 421134"/>
                <a:gd name="connsiteY1" fmla="*/ 157427 h 377911"/>
                <a:gd name="connsiteX2" fmla="*/ 14764 w 421134"/>
                <a:gd name="connsiteY2" fmla="*/ 224069 h 377911"/>
                <a:gd name="connsiteX3" fmla="*/ 456 w 421134"/>
                <a:gd name="connsiteY3" fmla="*/ 290029 h 377911"/>
                <a:gd name="connsiteX4" fmla="*/ 24662 w 421134"/>
                <a:gd name="connsiteY4" fmla="*/ 314592 h 377911"/>
                <a:gd name="connsiteX5" fmla="*/ 92597 w 421134"/>
                <a:gd name="connsiteY5" fmla="*/ 300923 h 377911"/>
                <a:gd name="connsiteX6" fmla="*/ 157427 w 421134"/>
                <a:gd name="connsiteY6" fmla="*/ 314854 h 377911"/>
                <a:gd name="connsiteX7" fmla="*/ 314854 w 421134"/>
                <a:gd name="connsiteY7" fmla="*/ 157427 h 377911"/>
                <a:gd name="connsiteX8" fmla="*/ 157427 w 421134"/>
                <a:gd name="connsiteY8" fmla="*/ 0 h 377911"/>
                <a:gd name="connsiteX9" fmla="*/ 156628 w 421134"/>
                <a:gd name="connsiteY9" fmla="*/ 335836 h 377911"/>
                <a:gd name="connsiteX10" fmla="*/ 263672 w 421134"/>
                <a:gd name="connsiteY10" fmla="*/ 377829 h 377911"/>
                <a:gd name="connsiteX11" fmla="*/ 328488 w 421134"/>
                <a:gd name="connsiteY11" fmla="*/ 363904 h 377911"/>
                <a:gd name="connsiteX12" fmla="*/ 389643 w 421134"/>
                <a:gd name="connsiteY12" fmla="*/ 377340 h 377911"/>
                <a:gd name="connsiteX13" fmla="*/ 420444 w 421134"/>
                <a:gd name="connsiteY13" fmla="*/ 345868 h 377911"/>
                <a:gd name="connsiteX14" fmla="*/ 406343 w 421134"/>
                <a:gd name="connsiteY14" fmla="*/ 287025 h 377911"/>
                <a:gd name="connsiteX15" fmla="*/ 421099 w 421134"/>
                <a:gd name="connsiteY15" fmla="*/ 220402 h 377911"/>
                <a:gd name="connsiteX16" fmla="*/ 315169 w 421134"/>
                <a:gd name="connsiteY16" fmla="*/ 71590 h 377911"/>
                <a:gd name="connsiteX17" fmla="*/ 331953 w 421134"/>
                <a:gd name="connsiteY17" fmla="*/ 114559 h 377911"/>
                <a:gd name="connsiteX18" fmla="*/ 389613 w 421134"/>
                <a:gd name="connsiteY18" fmla="*/ 220402 h 377911"/>
                <a:gd name="connsiteX19" fmla="*/ 375674 w 421134"/>
                <a:gd name="connsiteY19" fmla="*/ 278058 h 377911"/>
                <a:gd name="connsiteX20" fmla="*/ 372935 w 421134"/>
                <a:gd name="connsiteY20" fmla="*/ 283369 h 377911"/>
                <a:gd name="connsiteX21" fmla="*/ 374408 w 421134"/>
                <a:gd name="connsiteY21" fmla="*/ 289158 h 377911"/>
                <a:gd name="connsiteX22" fmla="*/ 387873 w 421134"/>
                <a:gd name="connsiteY22" fmla="*/ 344795 h 377911"/>
                <a:gd name="connsiteX23" fmla="*/ 330377 w 421134"/>
                <a:gd name="connsiteY23" fmla="*/ 331999 h 377911"/>
                <a:gd name="connsiteX24" fmla="*/ 324825 w 421134"/>
                <a:gd name="connsiteY24" fmla="*/ 330679 h 377911"/>
                <a:gd name="connsiteX25" fmla="*/ 319716 w 421134"/>
                <a:gd name="connsiteY25" fmla="*/ 333221 h 377911"/>
                <a:gd name="connsiteX26" fmla="*/ 263672 w 421134"/>
                <a:gd name="connsiteY26" fmla="*/ 346344 h 377911"/>
                <a:gd name="connsiteX27" fmla="*/ 202403 w 421134"/>
                <a:gd name="connsiteY27" fmla="*/ 330463 h 377911"/>
                <a:gd name="connsiteX28" fmla="*/ 158721 w 421134"/>
                <a:gd name="connsiteY28" fmla="*/ 335849 h 377911"/>
                <a:gd name="connsiteX29" fmla="*/ 156628 w 421134"/>
                <a:gd name="connsiteY29" fmla="*/ 335836 h 37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1134" h="377911">
                  <a:moveTo>
                    <a:pt x="157427" y="0"/>
                  </a:moveTo>
                  <a:cubicBezTo>
                    <a:pt x="70482" y="0"/>
                    <a:pt x="0" y="70482"/>
                    <a:pt x="0" y="157427"/>
                  </a:cubicBezTo>
                  <a:cubicBezTo>
                    <a:pt x="0" y="181220"/>
                    <a:pt x="5288" y="203816"/>
                    <a:pt x="14764" y="224069"/>
                  </a:cubicBezTo>
                  <a:cubicBezTo>
                    <a:pt x="8422" y="249784"/>
                    <a:pt x="2929" y="277250"/>
                    <a:pt x="456" y="290029"/>
                  </a:cubicBezTo>
                  <a:cubicBezTo>
                    <a:pt x="-2342" y="304491"/>
                    <a:pt x="10229" y="317161"/>
                    <a:pt x="24662" y="314592"/>
                  </a:cubicBezTo>
                  <a:cubicBezTo>
                    <a:pt x="37746" y="312262"/>
                    <a:pt x="66186" y="307019"/>
                    <a:pt x="92597" y="300923"/>
                  </a:cubicBezTo>
                  <a:cubicBezTo>
                    <a:pt x="112385" y="309875"/>
                    <a:pt x="134344" y="314854"/>
                    <a:pt x="157427" y="314854"/>
                  </a:cubicBezTo>
                  <a:cubicBezTo>
                    <a:pt x="244371" y="314854"/>
                    <a:pt x="314854" y="244371"/>
                    <a:pt x="314854" y="157427"/>
                  </a:cubicBezTo>
                  <a:cubicBezTo>
                    <a:pt x="314854" y="70482"/>
                    <a:pt x="244371" y="0"/>
                    <a:pt x="157427" y="0"/>
                  </a:cubicBezTo>
                  <a:close/>
                  <a:moveTo>
                    <a:pt x="156628" y="335836"/>
                  </a:moveTo>
                  <a:cubicBezTo>
                    <a:pt x="184717" y="361896"/>
                    <a:pt x="222333" y="377829"/>
                    <a:pt x="263672" y="377829"/>
                  </a:cubicBezTo>
                  <a:cubicBezTo>
                    <a:pt x="286750" y="377829"/>
                    <a:pt x="308704" y="372853"/>
                    <a:pt x="328488" y="363904"/>
                  </a:cubicBezTo>
                  <a:cubicBezTo>
                    <a:pt x="350397" y="369032"/>
                    <a:pt x="374379" y="374150"/>
                    <a:pt x="389643" y="377340"/>
                  </a:cubicBezTo>
                  <a:cubicBezTo>
                    <a:pt x="408375" y="381255"/>
                    <a:pt x="424734" y="364442"/>
                    <a:pt x="420444" y="345868"/>
                  </a:cubicBezTo>
                  <a:cubicBezTo>
                    <a:pt x="417033" y="331103"/>
                    <a:pt x="411655" y="308184"/>
                    <a:pt x="406343" y="287025"/>
                  </a:cubicBezTo>
                  <a:cubicBezTo>
                    <a:pt x="415813" y="266776"/>
                    <a:pt x="421099" y="244186"/>
                    <a:pt x="421099" y="220402"/>
                  </a:cubicBezTo>
                  <a:cubicBezTo>
                    <a:pt x="421099" y="151491"/>
                    <a:pt x="376824" y="92923"/>
                    <a:pt x="315169" y="71590"/>
                  </a:cubicBezTo>
                  <a:cubicBezTo>
                    <a:pt x="322522" y="84962"/>
                    <a:pt x="328210" y="99378"/>
                    <a:pt x="331953" y="114559"/>
                  </a:cubicBezTo>
                  <a:cubicBezTo>
                    <a:pt x="366650" y="136989"/>
                    <a:pt x="389613" y="176014"/>
                    <a:pt x="389613" y="220402"/>
                  </a:cubicBezTo>
                  <a:cubicBezTo>
                    <a:pt x="389613" y="241212"/>
                    <a:pt x="384578" y="260800"/>
                    <a:pt x="375674" y="278058"/>
                  </a:cubicBezTo>
                  <a:lnTo>
                    <a:pt x="372935" y="283369"/>
                  </a:lnTo>
                  <a:lnTo>
                    <a:pt x="374408" y="289158"/>
                  </a:lnTo>
                  <a:cubicBezTo>
                    <a:pt x="379190" y="307955"/>
                    <a:pt x="384200" y="329040"/>
                    <a:pt x="387873" y="344795"/>
                  </a:cubicBezTo>
                  <a:cubicBezTo>
                    <a:pt x="371625" y="341359"/>
                    <a:pt x="349721" y="336605"/>
                    <a:pt x="330377" y="331999"/>
                  </a:cubicBezTo>
                  <a:lnTo>
                    <a:pt x="324825" y="330679"/>
                  </a:lnTo>
                  <a:lnTo>
                    <a:pt x="319716" y="333221"/>
                  </a:lnTo>
                  <a:cubicBezTo>
                    <a:pt x="302854" y="341615"/>
                    <a:pt x="283837" y="346344"/>
                    <a:pt x="263672" y="346344"/>
                  </a:cubicBezTo>
                  <a:cubicBezTo>
                    <a:pt x="241432" y="346344"/>
                    <a:pt x="220539" y="340578"/>
                    <a:pt x="202403" y="330463"/>
                  </a:cubicBezTo>
                  <a:cubicBezTo>
                    <a:pt x="188426" y="333981"/>
                    <a:pt x="173791" y="335849"/>
                    <a:pt x="158721" y="335849"/>
                  </a:cubicBezTo>
                  <a:cubicBezTo>
                    <a:pt x="158022" y="335849"/>
                    <a:pt x="157325" y="335845"/>
                    <a:pt x="156628" y="33583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61A6DE8-3ABA-B5A7-3280-F54243ADEC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157505" y="1954457"/>
            <a:ext cx="516266" cy="516266"/>
            <a:chOff x="7042091" y="1884989"/>
            <a:chExt cx="829309" cy="829309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C3ECA44-8F58-CFBD-110C-42EC52CA8B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091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1" name="Graphic 20" descr="Icon of a gear">
              <a:extLst>
                <a:ext uri="{FF2B5EF4-FFF2-40B4-BE49-F238E27FC236}">
                  <a16:creationId xmlns:a16="http://schemas.microsoft.com/office/drawing/2014/main" id="{DC941906-EE14-1591-8122-FE3B0552B0C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85433" y="2121229"/>
              <a:ext cx="342626" cy="356830"/>
            </a:xfrm>
            <a:custGeom>
              <a:avLst/>
              <a:gdLst>
                <a:gd name="connsiteX0" fmla="*/ 213265 w 426043"/>
                <a:gd name="connsiteY0" fmla="*/ 0 h 443705"/>
                <a:gd name="connsiteX1" fmla="*/ 262903 w 426043"/>
                <a:gd name="connsiteY1" fmla="*/ 5758 h 443705"/>
                <a:gd name="connsiteX2" fmla="*/ 276148 w 426043"/>
                <a:gd name="connsiteY2" fmla="*/ 20523 h 443705"/>
                <a:gd name="connsiteX3" fmla="*/ 280021 w 426043"/>
                <a:gd name="connsiteY3" fmla="*/ 55266 h 443705"/>
                <a:gd name="connsiteX4" fmla="*/ 311299 w 426043"/>
                <a:gd name="connsiteY4" fmla="*/ 83316 h 443705"/>
                <a:gd name="connsiteX5" fmla="*/ 323873 w 426043"/>
                <a:gd name="connsiteY5" fmla="*/ 80660 h 443705"/>
                <a:gd name="connsiteX6" fmla="*/ 355742 w 426043"/>
                <a:gd name="connsiteY6" fmla="*/ 66660 h 443705"/>
                <a:gd name="connsiteX7" fmla="*/ 375063 w 426043"/>
                <a:gd name="connsiteY7" fmla="*/ 70620 h 443705"/>
                <a:gd name="connsiteX8" fmla="*/ 425231 w 426043"/>
                <a:gd name="connsiteY8" fmla="*/ 156903 h 443705"/>
                <a:gd name="connsiteX9" fmla="*/ 419058 w 426043"/>
                <a:gd name="connsiteY9" fmla="*/ 175696 h 443705"/>
                <a:gd name="connsiteX10" fmla="*/ 390809 w 426043"/>
                <a:gd name="connsiteY10" fmla="*/ 196519 h 443705"/>
                <a:gd name="connsiteX11" fmla="*/ 377991 w 426043"/>
                <a:gd name="connsiteY11" fmla="*/ 221842 h 443705"/>
                <a:gd name="connsiteX12" fmla="*/ 390827 w 426043"/>
                <a:gd name="connsiteY12" fmla="*/ 247176 h 443705"/>
                <a:gd name="connsiteX13" fmla="*/ 419099 w 426043"/>
                <a:gd name="connsiteY13" fmla="*/ 268005 h 443705"/>
                <a:gd name="connsiteX14" fmla="*/ 425277 w 426043"/>
                <a:gd name="connsiteY14" fmla="*/ 286800 h 443705"/>
                <a:gd name="connsiteX15" fmla="*/ 375136 w 426043"/>
                <a:gd name="connsiteY15" fmla="*/ 373080 h 443705"/>
                <a:gd name="connsiteX16" fmla="*/ 355826 w 426043"/>
                <a:gd name="connsiteY16" fmla="*/ 377050 h 443705"/>
                <a:gd name="connsiteX17" fmla="*/ 323827 w 426043"/>
                <a:gd name="connsiteY17" fmla="*/ 363031 h 443705"/>
                <a:gd name="connsiteX18" fmla="*/ 295505 w 426043"/>
                <a:gd name="connsiteY18" fmla="*/ 364613 h 443705"/>
                <a:gd name="connsiteX19" fmla="*/ 279998 w 426043"/>
                <a:gd name="connsiteY19" fmla="*/ 388361 h 443705"/>
                <a:gd name="connsiteX20" fmla="*/ 276150 w 426043"/>
                <a:gd name="connsiteY20" fmla="*/ 423100 h 443705"/>
                <a:gd name="connsiteX21" fmla="*/ 263137 w 426043"/>
                <a:gd name="connsiteY21" fmla="*/ 437824 h 443705"/>
                <a:gd name="connsiteX22" fmla="*/ 162883 w 426043"/>
                <a:gd name="connsiteY22" fmla="*/ 437824 h 443705"/>
                <a:gd name="connsiteX23" fmla="*/ 149871 w 426043"/>
                <a:gd name="connsiteY23" fmla="*/ 423100 h 443705"/>
                <a:gd name="connsiteX24" fmla="*/ 146030 w 426043"/>
                <a:gd name="connsiteY24" fmla="*/ 388414 h 443705"/>
                <a:gd name="connsiteX25" fmla="*/ 130490 w 426043"/>
                <a:gd name="connsiteY25" fmla="*/ 364727 h 443705"/>
                <a:gd name="connsiteX26" fmla="*/ 102224 w 426043"/>
                <a:gd name="connsiteY26" fmla="*/ 363143 h 443705"/>
                <a:gd name="connsiteX27" fmla="*/ 70218 w 426043"/>
                <a:gd name="connsiteY27" fmla="*/ 377164 h 443705"/>
                <a:gd name="connsiteX28" fmla="*/ 50904 w 426043"/>
                <a:gd name="connsiteY28" fmla="*/ 373189 h 443705"/>
                <a:gd name="connsiteX29" fmla="*/ 763 w 426043"/>
                <a:gd name="connsiteY29" fmla="*/ 286812 h 443705"/>
                <a:gd name="connsiteX30" fmla="*/ 6945 w 426043"/>
                <a:gd name="connsiteY30" fmla="*/ 268028 h 443705"/>
                <a:gd name="connsiteX31" fmla="*/ 35236 w 426043"/>
                <a:gd name="connsiteY31" fmla="*/ 247185 h 443705"/>
                <a:gd name="connsiteX32" fmla="*/ 48053 w 426043"/>
                <a:gd name="connsiteY32" fmla="*/ 221865 h 443705"/>
                <a:gd name="connsiteX33" fmla="*/ 35225 w 426043"/>
                <a:gd name="connsiteY33" fmla="*/ 196535 h 443705"/>
                <a:gd name="connsiteX34" fmla="*/ 6952 w 426043"/>
                <a:gd name="connsiteY34" fmla="*/ 175727 h 443705"/>
                <a:gd name="connsiteX35" fmla="*/ 767 w 426043"/>
                <a:gd name="connsiteY35" fmla="*/ 156926 h 443705"/>
                <a:gd name="connsiteX36" fmla="*/ 50935 w 426043"/>
                <a:gd name="connsiteY36" fmla="*/ 70643 h 443705"/>
                <a:gd name="connsiteX37" fmla="*/ 70256 w 426043"/>
                <a:gd name="connsiteY37" fmla="*/ 66682 h 443705"/>
                <a:gd name="connsiteX38" fmla="*/ 102120 w 426043"/>
                <a:gd name="connsiteY38" fmla="*/ 80680 h 443705"/>
                <a:gd name="connsiteX39" fmla="*/ 130521 w 426043"/>
                <a:gd name="connsiteY39" fmla="*/ 79018 h 443705"/>
                <a:gd name="connsiteX40" fmla="*/ 146048 w 426043"/>
                <a:gd name="connsiteY40" fmla="*/ 55239 h 443705"/>
                <a:gd name="connsiteX41" fmla="*/ 149918 w 426043"/>
                <a:gd name="connsiteY41" fmla="*/ 20523 h 443705"/>
                <a:gd name="connsiteX42" fmla="*/ 163174 w 426043"/>
                <a:gd name="connsiteY42" fmla="*/ 5755 h 443705"/>
                <a:gd name="connsiteX43" fmla="*/ 213265 w 426043"/>
                <a:gd name="connsiteY43" fmla="*/ 0 h 443705"/>
                <a:gd name="connsiteX44" fmla="*/ 212980 w 426043"/>
                <a:gd name="connsiteY44" fmla="*/ 153590 h 443705"/>
                <a:gd name="connsiteX45" fmla="*/ 144718 w 426043"/>
                <a:gd name="connsiteY45" fmla="*/ 221853 h 443705"/>
                <a:gd name="connsiteX46" fmla="*/ 212980 w 426043"/>
                <a:gd name="connsiteY46" fmla="*/ 290116 h 443705"/>
                <a:gd name="connsiteX47" fmla="*/ 281243 w 426043"/>
                <a:gd name="connsiteY47" fmla="*/ 221853 h 443705"/>
                <a:gd name="connsiteX48" fmla="*/ 212980 w 426043"/>
                <a:gd name="connsiteY48" fmla="*/ 153590 h 44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6043" h="443705">
                  <a:moveTo>
                    <a:pt x="213265" y="0"/>
                  </a:moveTo>
                  <a:cubicBezTo>
                    <a:pt x="229966" y="193"/>
                    <a:pt x="246602" y="2122"/>
                    <a:pt x="262903" y="5758"/>
                  </a:cubicBezTo>
                  <a:cubicBezTo>
                    <a:pt x="270018" y="7345"/>
                    <a:pt x="275340" y="13277"/>
                    <a:pt x="276148" y="20523"/>
                  </a:cubicBezTo>
                  <a:lnTo>
                    <a:pt x="280021" y="55266"/>
                  </a:lnTo>
                  <a:cubicBezTo>
                    <a:pt x="281775" y="71217"/>
                    <a:pt x="295243" y="83299"/>
                    <a:pt x="311299" y="83316"/>
                  </a:cubicBezTo>
                  <a:cubicBezTo>
                    <a:pt x="315615" y="83323"/>
                    <a:pt x="319884" y="82424"/>
                    <a:pt x="323873" y="80660"/>
                  </a:cubicBezTo>
                  <a:lnTo>
                    <a:pt x="355742" y="66660"/>
                  </a:lnTo>
                  <a:cubicBezTo>
                    <a:pt x="362370" y="63748"/>
                    <a:pt x="370116" y="65335"/>
                    <a:pt x="375063" y="70620"/>
                  </a:cubicBezTo>
                  <a:cubicBezTo>
                    <a:pt x="398094" y="95218"/>
                    <a:pt x="415247" y="124719"/>
                    <a:pt x="425231" y="156903"/>
                  </a:cubicBezTo>
                  <a:cubicBezTo>
                    <a:pt x="427384" y="163843"/>
                    <a:pt x="424906" y="171385"/>
                    <a:pt x="419058" y="175696"/>
                  </a:cubicBezTo>
                  <a:lnTo>
                    <a:pt x="390809" y="196519"/>
                  </a:lnTo>
                  <a:cubicBezTo>
                    <a:pt x="382749" y="202439"/>
                    <a:pt x="377991" y="211841"/>
                    <a:pt x="377991" y="221842"/>
                  </a:cubicBezTo>
                  <a:cubicBezTo>
                    <a:pt x="377991" y="231840"/>
                    <a:pt x="382749" y="241242"/>
                    <a:pt x="390827" y="247176"/>
                  </a:cubicBezTo>
                  <a:lnTo>
                    <a:pt x="419099" y="268005"/>
                  </a:lnTo>
                  <a:cubicBezTo>
                    <a:pt x="424949" y="272315"/>
                    <a:pt x="427429" y="279858"/>
                    <a:pt x="425277" y="286800"/>
                  </a:cubicBezTo>
                  <a:cubicBezTo>
                    <a:pt x="415297" y="318979"/>
                    <a:pt x="398154" y="348478"/>
                    <a:pt x="375136" y="373080"/>
                  </a:cubicBezTo>
                  <a:cubicBezTo>
                    <a:pt x="370193" y="378363"/>
                    <a:pt x="362455" y="379956"/>
                    <a:pt x="355826" y="377050"/>
                  </a:cubicBezTo>
                  <a:lnTo>
                    <a:pt x="323827" y="363031"/>
                  </a:lnTo>
                  <a:cubicBezTo>
                    <a:pt x="314671" y="359024"/>
                    <a:pt x="304158" y="359611"/>
                    <a:pt x="295505" y="364613"/>
                  </a:cubicBezTo>
                  <a:cubicBezTo>
                    <a:pt x="286854" y="369612"/>
                    <a:pt x="281097" y="378429"/>
                    <a:pt x="279998" y="388361"/>
                  </a:cubicBezTo>
                  <a:lnTo>
                    <a:pt x="276150" y="423100"/>
                  </a:lnTo>
                  <a:cubicBezTo>
                    <a:pt x="275356" y="430263"/>
                    <a:pt x="270150" y="436156"/>
                    <a:pt x="263137" y="437824"/>
                  </a:cubicBezTo>
                  <a:cubicBezTo>
                    <a:pt x="230180" y="445665"/>
                    <a:pt x="195842" y="445665"/>
                    <a:pt x="162883" y="437824"/>
                  </a:cubicBezTo>
                  <a:cubicBezTo>
                    <a:pt x="155872" y="436156"/>
                    <a:pt x="150665" y="430263"/>
                    <a:pt x="149871" y="423100"/>
                  </a:cubicBezTo>
                  <a:lnTo>
                    <a:pt x="146030" y="388414"/>
                  </a:lnTo>
                  <a:cubicBezTo>
                    <a:pt x="144901" y="378500"/>
                    <a:pt x="139135" y="369710"/>
                    <a:pt x="130490" y="364727"/>
                  </a:cubicBezTo>
                  <a:cubicBezTo>
                    <a:pt x="121845" y="359743"/>
                    <a:pt x="111349" y="359159"/>
                    <a:pt x="102224" y="363143"/>
                  </a:cubicBezTo>
                  <a:lnTo>
                    <a:pt x="70218" y="377164"/>
                  </a:lnTo>
                  <a:cubicBezTo>
                    <a:pt x="63588" y="380070"/>
                    <a:pt x="55847" y="378477"/>
                    <a:pt x="50904" y="373189"/>
                  </a:cubicBezTo>
                  <a:cubicBezTo>
                    <a:pt x="27873" y="348560"/>
                    <a:pt x="10730" y="319025"/>
                    <a:pt x="763" y="286812"/>
                  </a:cubicBezTo>
                  <a:cubicBezTo>
                    <a:pt x="-1383" y="279874"/>
                    <a:pt x="1097" y="272336"/>
                    <a:pt x="6945" y="268028"/>
                  </a:cubicBezTo>
                  <a:lnTo>
                    <a:pt x="35236" y="247185"/>
                  </a:lnTo>
                  <a:cubicBezTo>
                    <a:pt x="43294" y="241265"/>
                    <a:pt x="48053" y="231863"/>
                    <a:pt x="48053" y="221865"/>
                  </a:cubicBezTo>
                  <a:cubicBezTo>
                    <a:pt x="48053" y="211864"/>
                    <a:pt x="43294" y="202462"/>
                    <a:pt x="35225" y="196535"/>
                  </a:cubicBezTo>
                  <a:lnTo>
                    <a:pt x="6952" y="175727"/>
                  </a:lnTo>
                  <a:cubicBezTo>
                    <a:pt x="1096" y="171417"/>
                    <a:pt x="-1387" y="163871"/>
                    <a:pt x="767" y="156926"/>
                  </a:cubicBezTo>
                  <a:cubicBezTo>
                    <a:pt x="10751" y="124742"/>
                    <a:pt x="27903" y="95241"/>
                    <a:pt x="50935" y="70643"/>
                  </a:cubicBezTo>
                  <a:cubicBezTo>
                    <a:pt x="55883" y="65358"/>
                    <a:pt x="63627" y="63771"/>
                    <a:pt x="70256" y="66682"/>
                  </a:cubicBezTo>
                  <a:lnTo>
                    <a:pt x="102120" y="80680"/>
                  </a:lnTo>
                  <a:cubicBezTo>
                    <a:pt x="111289" y="84704"/>
                    <a:pt x="121829" y="84096"/>
                    <a:pt x="130521" y="79018"/>
                  </a:cubicBezTo>
                  <a:cubicBezTo>
                    <a:pt x="139175" y="73999"/>
                    <a:pt x="144936" y="65173"/>
                    <a:pt x="146048" y="55239"/>
                  </a:cubicBezTo>
                  <a:lnTo>
                    <a:pt x="149918" y="20523"/>
                  </a:lnTo>
                  <a:cubicBezTo>
                    <a:pt x="150726" y="13274"/>
                    <a:pt x="156053" y="7339"/>
                    <a:pt x="163174" y="5755"/>
                  </a:cubicBezTo>
                  <a:cubicBezTo>
                    <a:pt x="179495" y="2126"/>
                    <a:pt x="196149" y="197"/>
                    <a:pt x="213265" y="0"/>
                  </a:cubicBezTo>
                  <a:close/>
                  <a:moveTo>
                    <a:pt x="212980" y="153590"/>
                  </a:moveTo>
                  <a:cubicBezTo>
                    <a:pt x="175279" y="153590"/>
                    <a:pt x="144718" y="184152"/>
                    <a:pt x="144718" y="221853"/>
                  </a:cubicBezTo>
                  <a:cubicBezTo>
                    <a:pt x="144718" y="259552"/>
                    <a:pt x="175279" y="290116"/>
                    <a:pt x="212980" y="290116"/>
                  </a:cubicBezTo>
                  <a:cubicBezTo>
                    <a:pt x="250679" y="290116"/>
                    <a:pt x="281243" y="259552"/>
                    <a:pt x="281243" y="221853"/>
                  </a:cubicBezTo>
                  <a:cubicBezTo>
                    <a:pt x="281243" y="184152"/>
                    <a:pt x="250679" y="153590"/>
                    <a:pt x="212980" y="15359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20FE6EF-CCEB-15CC-0770-45A4C2D72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796777" y="1954457"/>
            <a:ext cx="516266" cy="516266"/>
            <a:chOff x="9763581" y="1884989"/>
            <a:chExt cx="829309" cy="82930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2403917-7E28-0BC2-D439-0FE81E7340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9763581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2" name="Graphic 11" descr="Icon of a lightbulb">
              <a:extLst>
                <a:ext uri="{FF2B5EF4-FFF2-40B4-BE49-F238E27FC236}">
                  <a16:creationId xmlns:a16="http://schemas.microsoft.com/office/drawing/2014/main" id="{2F1CAD86-5938-D0D1-12D1-BCAA0BDFCB3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45568" y="2116667"/>
              <a:ext cx="265336" cy="365954"/>
            </a:xfrm>
            <a:custGeom>
              <a:avLst/>
              <a:gdLst>
                <a:gd name="connsiteX0" fmla="*/ 245472 w 329935"/>
                <a:gd name="connsiteY0" fmla="*/ 386776 h 455051"/>
                <a:gd name="connsiteX1" fmla="*/ 238857 w 329935"/>
                <a:gd name="connsiteY1" fmla="*/ 415412 h 455051"/>
                <a:gd name="connsiteX2" fmla="*/ 192921 w 329935"/>
                <a:gd name="connsiteY2" fmla="*/ 454902 h 455051"/>
                <a:gd name="connsiteX3" fmla="*/ 188982 w 329935"/>
                <a:gd name="connsiteY3" fmla="*/ 455052 h 455051"/>
                <a:gd name="connsiteX4" fmla="*/ 140932 w 329935"/>
                <a:gd name="connsiteY4" fmla="*/ 455052 h 455051"/>
                <a:gd name="connsiteX5" fmla="*/ 92081 w 329935"/>
                <a:gd name="connsiteY5" fmla="*/ 419182 h 455051"/>
                <a:gd name="connsiteX6" fmla="*/ 91047 w 329935"/>
                <a:gd name="connsiteY6" fmla="*/ 415375 h 455051"/>
                <a:gd name="connsiteX7" fmla="*/ 84441 w 329935"/>
                <a:gd name="connsiteY7" fmla="*/ 386776 h 455051"/>
                <a:gd name="connsiteX8" fmla="*/ 245472 w 329935"/>
                <a:gd name="connsiteY8" fmla="*/ 386776 h 455051"/>
                <a:gd name="connsiteX9" fmla="*/ 164968 w 329935"/>
                <a:gd name="connsiteY9" fmla="*/ 0 h 455051"/>
                <a:gd name="connsiteX10" fmla="*/ 329935 w 329935"/>
                <a:gd name="connsiteY10" fmla="*/ 164968 h 455051"/>
                <a:gd name="connsiteX11" fmla="*/ 267011 w 329935"/>
                <a:gd name="connsiteY11" fmla="*/ 297868 h 455051"/>
                <a:gd name="connsiteX12" fmla="*/ 265398 w 329935"/>
                <a:gd name="connsiteY12" fmla="*/ 300701 h 455051"/>
                <a:gd name="connsiteX13" fmla="*/ 253390 w 329935"/>
                <a:gd name="connsiteY13" fmla="*/ 352645 h 455051"/>
                <a:gd name="connsiteX14" fmla="*/ 182033 w 329935"/>
                <a:gd name="connsiteY14" fmla="*/ 352645 h 455051"/>
                <a:gd name="connsiteX15" fmla="*/ 182033 w 329935"/>
                <a:gd name="connsiteY15" fmla="*/ 199084 h 455051"/>
                <a:gd name="connsiteX16" fmla="*/ 164968 w 329935"/>
                <a:gd name="connsiteY16" fmla="*/ 182018 h 455051"/>
                <a:gd name="connsiteX17" fmla="*/ 147902 w 329935"/>
                <a:gd name="connsiteY17" fmla="*/ 199084 h 455051"/>
                <a:gd name="connsiteX18" fmla="*/ 147902 w 329935"/>
                <a:gd name="connsiteY18" fmla="*/ 352645 h 455051"/>
                <a:gd name="connsiteX19" fmla="*/ 76545 w 329935"/>
                <a:gd name="connsiteY19" fmla="*/ 352645 h 455051"/>
                <a:gd name="connsiteX20" fmla="*/ 64577 w 329935"/>
                <a:gd name="connsiteY20" fmla="*/ 300706 h 455051"/>
                <a:gd name="connsiteX21" fmla="*/ 62961 w 329935"/>
                <a:gd name="connsiteY21" fmla="*/ 297868 h 455051"/>
                <a:gd name="connsiteX22" fmla="*/ 0 w 329935"/>
                <a:gd name="connsiteY22" fmla="*/ 164968 h 455051"/>
                <a:gd name="connsiteX23" fmla="*/ 164968 w 329935"/>
                <a:gd name="connsiteY23" fmla="*/ 0 h 455051"/>
                <a:gd name="connsiteX24" fmla="*/ 147902 w 329935"/>
                <a:gd name="connsiteY24" fmla="*/ 108077 h 455051"/>
                <a:gd name="connsiteX25" fmla="*/ 147902 w 329935"/>
                <a:gd name="connsiteY25" fmla="*/ 142209 h 455051"/>
                <a:gd name="connsiteX26" fmla="*/ 164968 w 329935"/>
                <a:gd name="connsiteY26" fmla="*/ 159274 h 455051"/>
                <a:gd name="connsiteX27" fmla="*/ 182033 w 329935"/>
                <a:gd name="connsiteY27" fmla="*/ 142209 h 455051"/>
                <a:gd name="connsiteX28" fmla="*/ 182033 w 329935"/>
                <a:gd name="connsiteY28" fmla="*/ 108077 h 455051"/>
                <a:gd name="connsiteX29" fmla="*/ 164968 w 329935"/>
                <a:gd name="connsiteY29" fmla="*/ 91011 h 455051"/>
                <a:gd name="connsiteX30" fmla="*/ 147902 w 329935"/>
                <a:gd name="connsiteY30" fmla="*/ 108077 h 455051"/>
                <a:gd name="connsiteX31" fmla="*/ 262362 w 329935"/>
                <a:gd name="connsiteY31" fmla="*/ 141419 h 455051"/>
                <a:gd name="connsiteX32" fmla="*/ 238229 w 329935"/>
                <a:gd name="connsiteY32" fmla="*/ 141419 h 455051"/>
                <a:gd name="connsiteX33" fmla="*/ 214094 w 329935"/>
                <a:gd name="connsiteY33" fmla="*/ 165554 h 455051"/>
                <a:gd name="connsiteX34" fmla="*/ 214094 w 329935"/>
                <a:gd name="connsiteY34" fmla="*/ 189688 h 455051"/>
                <a:gd name="connsiteX35" fmla="*/ 238229 w 329935"/>
                <a:gd name="connsiteY35" fmla="*/ 189688 h 455051"/>
                <a:gd name="connsiteX36" fmla="*/ 262362 w 329935"/>
                <a:gd name="connsiteY36" fmla="*/ 165554 h 455051"/>
                <a:gd name="connsiteX37" fmla="*/ 262362 w 329935"/>
                <a:gd name="connsiteY37" fmla="*/ 141419 h 455051"/>
                <a:gd name="connsiteX38" fmla="*/ 91707 w 329935"/>
                <a:gd name="connsiteY38" fmla="*/ 141419 h 455051"/>
                <a:gd name="connsiteX39" fmla="*/ 67572 w 329935"/>
                <a:gd name="connsiteY39" fmla="*/ 141419 h 455051"/>
                <a:gd name="connsiteX40" fmla="*/ 67572 w 329935"/>
                <a:gd name="connsiteY40" fmla="*/ 165554 h 455051"/>
                <a:gd name="connsiteX41" fmla="*/ 91707 w 329935"/>
                <a:gd name="connsiteY41" fmla="*/ 189688 h 455051"/>
                <a:gd name="connsiteX42" fmla="*/ 115841 w 329935"/>
                <a:gd name="connsiteY42" fmla="*/ 189688 h 455051"/>
                <a:gd name="connsiteX43" fmla="*/ 115841 w 329935"/>
                <a:gd name="connsiteY43" fmla="*/ 165554 h 455051"/>
                <a:gd name="connsiteX44" fmla="*/ 91707 w 329935"/>
                <a:gd name="connsiteY44" fmla="*/ 141419 h 45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29935" h="455051">
                  <a:moveTo>
                    <a:pt x="245472" y="386776"/>
                  </a:moveTo>
                  <a:lnTo>
                    <a:pt x="238857" y="415412"/>
                  </a:lnTo>
                  <a:cubicBezTo>
                    <a:pt x="233779" y="437331"/>
                    <a:pt x="215056" y="453204"/>
                    <a:pt x="192921" y="454902"/>
                  </a:cubicBezTo>
                  <a:lnTo>
                    <a:pt x="188982" y="455052"/>
                  </a:lnTo>
                  <a:lnTo>
                    <a:pt x="140932" y="455052"/>
                  </a:lnTo>
                  <a:cubicBezTo>
                    <a:pt x="118419" y="455052"/>
                    <a:pt x="98719" y="440378"/>
                    <a:pt x="92081" y="419182"/>
                  </a:cubicBezTo>
                  <a:lnTo>
                    <a:pt x="91047" y="415375"/>
                  </a:lnTo>
                  <a:lnTo>
                    <a:pt x="84441" y="386776"/>
                  </a:lnTo>
                  <a:lnTo>
                    <a:pt x="245472" y="386776"/>
                  </a:lnTo>
                  <a:close/>
                  <a:moveTo>
                    <a:pt x="164968" y="0"/>
                  </a:moveTo>
                  <a:cubicBezTo>
                    <a:pt x="256078" y="0"/>
                    <a:pt x="329935" y="73858"/>
                    <a:pt x="329935" y="164968"/>
                  </a:cubicBezTo>
                  <a:cubicBezTo>
                    <a:pt x="329935" y="213582"/>
                    <a:pt x="308647" y="258108"/>
                    <a:pt x="267011" y="297868"/>
                  </a:cubicBezTo>
                  <a:cubicBezTo>
                    <a:pt x="266208" y="298635"/>
                    <a:pt x="265648" y="299621"/>
                    <a:pt x="265398" y="300701"/>
                  </a:cubicBezTo>
                  <a:lnTo>
                    <a:pt x="253390" y="352645"/>
                  </a:lnTo>
                  <a:lnTo>
                    <a:pt x="182033" y="352645"/>
                  </a:lnTo>
                  <a:lnTo>
                    <a:pt x="182033" y="199084"/>
                  </a:lnTo>
                  <a:cubicBezTo>
                    <a:pt x="182033" y="189659"/>
                    <a:pt x="174392" y="182018"/>
                    <a:pt x="164968" y="182018"/>
                  </a:cubicBezTo>
                  <a:cubicBezTo>
                    <a:pt x="155543" y="182018"/>
                    <a:pt x="147902" y="189659"/>
                    <a:pt x="147902" y="199084"/>
                  </a:cubicBezTo>
                  <a:lnTo>
                    <a:pt x="147902" y="352645"/>
                  </a:lnTo>
                  <a:lnTo>
                    <a:pt x="76545" y="352645"/>
                  </a:lnTo>
                  <a:lnTo>
                    <a:pt x="64577" y="300706"/>
                  </a:lnTo>
                  <a:cubicBezTo>
                    <a:pt x="64326" y="299623"/>
                    <a:pt x="63765" y="298638"/>
                    <a:pt x="62961" y="297868"/>
                  </a:cubicBezTo>
                  <a:cubicBezTo>
                    <a:pt x="21302" y="258108"/>
                    <a:pt x="0" y="213582"/>
                    <a:pt x="0" y="164968"/>
                  </a:cubicBezTo>
                  <a:cubicBezTo>
                    <a:pt x="0" y="73858"/>
                    <a:pt x="73858" y="0"/>
                    <a:pt x="164968" y="0"/>
                  </a:cubicBezTo>
                  <a:close/>
                  <a:moveTo>
                    <a:pt x="147902" y="108077"/>
                  </a:moveTo>
                  <a:lnTo>
                    <a:pt x="147902" y="142209"/>
                  </a:lnTo>
                  <a:cubicBezTo>
                    <a:pt x="147902" y="151634"/>
                    <a:pt x="155543" y="159274"/>
                    <a:pt x="164968" y="159274"/>
                  </a:cubicBezTo>
                  <a:cubicBezTo>
                    <a:pt x="174392" y="159274"/>
                    <a:pt x="182033" y="151634"/>
                    <a:pt x="182033" y="142209"/>
                  </a:cubicBezTo>
                  <a:lnTo>
                    <a:pt x="182033" y="108077"/>
                  </a:lnTo>
                  <a:cubicBezTo>
                    <a:pt x="182033" y="98652"/>
                    <a:pt x="174392" y="91011"/>
                    <a:pt x="164968" y="91011"/>
                  </a:cubicBezTo>
                  <a:cubicBezTo>
                    <a:pt x="155543" y="91011"/>
                    <a:pt x="147902" y="98652"/>
                    <a:pt x="147902" y="108077"/>
                  </a:cubicBezTo>
                  <a:close/>
                  <a:moveTo>
                    <a:pt x="262362" y="141419"/>
                  </a:moveTo>
                  <a:cubicBezTo>
                    <a:pt x="255698" y="134755"/>
                    <a:pt x="244894" y="134755"/>
                    <a:pt x="238229" y="141419"/>
                  </a:cubicBezTo>
                  <a:lnTo>
                    <a:pt x="214094" y="165554"/>
                  </a:lnTo>
                  <a:cubicBezTo>
                    <a:pt x="207429" y="172219"/>
                    <a:pt x="207429" y="183024"/>
                    <a:pt x="214094" y="189688"/>
                  </a:cubicBezTo>
                  <a:cubicBezTo>
                    <a:pt x="220759" y="196353"/>
                    <a:pt x="231565" y="196353"/>
                    <a:pt x="238229" y="189688"/>
                  </a:cubicBezTo>
                  <a:lnTo>
                    <a:pt x="262362" y="165554"/>
                  </a:lnTo>
                  <a:cubicBezTo>
                    <a:pt x="269027" y="158889"/>
                    <a:pt x="269027" y="148084"/>
                    <a:pt x="262362" y="141419"/>
                  </a:cubicBezTo>
                  <a:close/>
                  <a:moveTo>
                    <a:pt x="91707" y="141419"/>
                  </a:moveTo>
                  <a:cubicBezTo>
                    <a:pt x="85042" y="134755"/>
                    <a:pt x="74237" y="134755"/>
                    <a:pt x="67572" y="141419"/>
                  </a:cubicBezTo>
                  <a:cubicBezTo>
                    <a:pt x="60908" y="148084"/>
                    <a:pt x="60908" y="158889"/>
                    <a:pt x="67572" y="165554"/>
                  </a:cubicBezTo>
                  <a:lnTo>
                    <a:pt x="91707" y="189688"/>
                  </a:lnTo>
                  <a:cubicBezTo>
                    <a:pt x="98372" y="196353"/>
                    <a:pt x="109177" y="196353"/>
                    <a:pt x="115841" y="189688"/>
                  </a:cubicBezTo>
                  <a:cubicBezTo>
                    <a:pt x="122506" y="183024"/>
                    <a:pt x="122506" y="172219"/>
                    <a:pt x="115841" y="165554"/>
                  </a:cubicBezTo>
                  <a:lnTo>
                    <a:pt x="91707" y="14141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F6BCF08-D2E6-6732-0B32-6A995CE1A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456728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A8B70E7-F685-4526-0C13-C17E107913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096000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D13BB5F-BB7D-9F08-B2B4-F97C6C40E6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735272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Graphic 26">
            <a:extLst>
              <a:ext uri="{FF2B5EF4-FFF2-40B4-BE49-F238E27FC236}">
                <a16:creationId xmlns:a16="http://schemas.microsoft.com/office/drawing/2014/main" id="{24A4A72C-369A-679D-53FA-FBAAC8AB8C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31659" y="5852155"/>
            <a:ext cx="202361" cy="202361"/>
          </a:xfrm>
          <a:custGeom>
            <a:avLst/>
            <a:gdLst>
              <a:gd name="connsiteX0" fmla="*/ 140217 w 280434"/>
              <a:gd name="connsiteY0" fmla="*/ 0 h 280434"/>
              <a:gd name="connsiteX1" fmla="*/ 280434 w 280434"/>
              <a:gd name="connsiteY1" fmla="*/ 140217 h 280434"/>
              <a:gd name="connsiteX2" fmla="*/ 140217 w 280434"/>
              <a:gd name="connsiteY2" fmla="*/ 280434 h 280434"/>
              <a:gd name="connsiteX3" fmla="*/ 0 w 280434"/>
              <a:gd name="connsiteY3" fmla="*/ 140217 h 280434"/>
              <a:gd name="connsiteX4" fmla="*/ 140217 w 280434"/>
              <a:gd name="connsiteY4" fmla="*/ 0 h 280434"/>
              <a:gd name="connsiteX5" fmla="*/ 151168 w 280434"/>
              <a:gd name="connsiteY5" fmla="*/ 76685 h 280434"/>
              <a:gd name="connsiteX6" fmla="*/ 149990 w 280434"/>
              <a:gd name="connsiteY6" fmla="*/ 75661 h 280434"/>
              <a:gd name="connsiteX7" fmla="*/ 137609 w 280434"/>
              <a:gd name="connsiteY7" fmla="*/ 75563 h 280434"/>
              <a:gd name="connsiteX8" fmla="*/ 136291 w 280434"/>
              <a:gd name="connsiteY8" fmla="*/ 76685 h 280434"/>
              <a:gd name="connsiteX9" fmla="*/ 135281 w 280434"/>
              <a:gd name="connsiteY9" fmla="*/ 77863 h 280434"/>
              <a:gd name="connsiteX10" fmla="*/ 135183 w 280434"/>
              <a:gd name="connsiteY10" fmla="*/ 90244 h 280434"/>
              <a:gd name="connsiteX11" fmla="*/ 136305 w 280434"/>
              <a:gd name="connsiteY11" fmla="*/ 91562 h 280434"/>
              <a:gd name="connsiteX12" fmla="*/ 174430 w 280434"/>
              <a:gd name="connsiteY12" fmla="*/ 129701 h 280434"/>
              <a:gd name="connsiteX13" fmla="*/ 80625 w 280434"/>
              <a:gd name="connsiteY13" fmla="*/ 129701 h 280434"/>
              <a:gd name="connsiteX14" fmla="*/ 79195 w 280434"/>
              <a:gd name="connsiteY14" fmla="*/ 129785 h 280434"/>
              <a:gd name="connsiteX15" fmla="*/ 70207 w 280434"/>
              <a:gd name="connsiteY15" fmla="*/ 138787 h 280434"/>
              <a:gd name="connsiteX16" fmla="*/ 70109 w 280434"/>
              <a:gd name="connsiteY16" fmla="*/ 140203 h 280434"/>
              <a:gd name="connsiteX17" fmla="*/ 70207 w 280434"/>
              <a:gd name="connsiteY17" fmla="*/ 141633 h 280434"/>
              <a:gd name="connsiteX18" fmla="*/ 79195 w 280434"/>
              <a:gd name="connsiteY18" fmla="*/ 150621 h 280434"/>
              <a:gd name="connsiteX19" fmla="*/ 80625 w 280434"/>
              <a:gd name="connsiteY19" fmla="*/ 150719 h 280434"/>
              <a:gd name="connsiteX20" fmla="*/ 174430 w 280434"/>
              <a:gd name="connsiteY20" fmla="*/ 150719 h 280434"/>
              <a:gd name="connsiteX21" fmla="*/ 136291 w 280434"/>
              <a:gd name="connsiteY21" fmla="*/ 188858 h 280434"/>
              <a:gd name="connsiteX22" fmla="*/ 135267 w 280434"/>
              <a:gd name="connsiteY22" fmla="*/ 190050 h 280434"/>
              <a:gd name="connsiteX23" fmla="*/ 137371 w 280434"/>
              <a:gd name="connsiteY23" fmla="*/ 204773 h 280434"/>
              <a:gd name="connsiteX24" fmla="*/ 149990 w 280434"/>
              <a:gd name="connsiteY24" fmla="*/ 204773 h 280434"/>
              <a:gd name="connsiteX25" fmla="*/ 151154 w 280434"/>
              <a:gd name="connsiteY25" fmla="*/ 203749 h 280434"/>
              <a:gd name="connsiteX26" fmla="*/ 207269 w 280434"/>
              <a:gd name="connsiteY26" fmla="*/ 147663 h 280434"/>
              <a:gd name="connsiteX27" fmla="*/ 208278 w 280434"/>
              <a:gd name="connsiteY27" fmla="*/ 146471 h 280434"/>
              <a:gd name="connsiteX28" fmla="*/ 208391 w 280434"/>
              <a:gd name="connsiteY28" fmla="*/ 134104 h 280434"/>
              <a:gd name="connsiteX29" fmla="*/ 207269 w 280434"/>
              <a:gd name="connsiteY29" fmla="*/ 132786 h 280434"/>
              <a:gd name="connsiteX30" fmla="*/ 151182 w 280434"/>
              <a:gd name="connsiteY30" fmla="*/ 76685 h 280434"/>
              <a:gd name="connsiteX31" fmla="*/ 149990 w 280434"/>
              <a:gd name="connsiteY31" fmla="*/ 75661 h 280434"/>
              <a:gd name="connsiteX32" fmla="*/ 151168 w 280434"/>
              <a:gd name="connsiteY32" fmla="*/ 76685 h 280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0434" h="280434">
                <a:moveTo>
                  <a:pt x="140217" y="0"/>
                </a:moveTo>
                <a:cubicBezTo>
                  <a:pt x="217673" y="0"/>
                  <a:pt x="280434" y="62775"/>
                  <a:pt x="280434" y="140217"/>
                </a:cubicBezTo>
                <a:cubicBezTo>
                  <a:pt x="280434" y="217659"/>
                  <a:pt x="217673" y="280434"/>
                  <a:pt x="140217" y="280434"/>
                </a:cubicBezTo>
                <a:cubicBezTo>
                  <a:pt x="62789" y="280434"/>
                  <a:pt x="0" y="217659"/>
                  <a:pt x="0" y="140217"/>
                </a:cubicBezTo>
                <a:cubicBezTo>
                  <a:pt x="0" y="62775"/>
                  <a:pt x="62789" y="0"/>
                  <a:pt x="140217" y="0"/>
                </a:cubicBezTo>
                <a:close/>
                <a:moveTo>
                  <a:pt x="151168" y="76685"/>
                </a:moveTo>
                <a:lnTo>
                  <a:pt x="149990" y="75661"/>
                </a:lnTo>
                <a:cubicBezTo>
                  <a:pt x="146322" y="72945"/>
                  <a:pt x="141321" y="72905"/>
                  <a:pt x="137609" y="75563"/>
                </a:cubicBezTo>
                <a:lnTo>
                  <a:pt x="136291" y="76685"/>
                </a:lnTo>
                <a:lnTo>
                  <a:pt x="135281" y="77863"/>
                </a:lnTo>
                <a:cubicBezTo>
                  <a:pt x="132565" y="81531"/>
                  <a:pt x="132526" y="86533"/>
                  <a:pt x="135183" y="90244"/>
                </a:cubicBezTo>
                <a:lnTo>
                  <a:pt x="136305" y="91562"/>
                </a:lnTo>
                <a:lnTo>
                  <a:pt x="174430" y="129701"/>
                </a:lnTo>
                <a:lnTo>
                  <a:pt x="80625" y="129701"/>
                </a:lnTo>
                <a:lnTo>
                  <a:pt x="79195" y="129785"/>
                </a:lnTo>
                <a:cubicBezTo>
                  <a:pt x="74518" y="130429"/>
                  <a:pt x="70842" y="134109"/>
                  <a:pt x="70207" y="138787"/>
                </a:cubicBezTo>
                <a:lnTo>
                  <a:pt x="70109" y="140203"/>
                </a:lnTo>
                <a:lnTo>
                  <a:pt x="70207" y="141633"/>
                </a:lnTo>
                <a:cubicBezTo>
                  <a:pt x="70848" y="146305"/>
                  <a:pt x="74522" y="149979"/>
                  <a:pt x="79195" y="150621"/>
                </a:cubicBezTo>
                <a:lnTo>
                  <a:pt x="80625" y="150719"/>
                </a:lnTo>
                <a:lnTo>
                  <a:pt x="174430" y="150719"/>
                </a:lnTo>
                <a:lnTo>
                  <a:pt x="136291" y="188858"/>
                </a:lnTo>
                <a:lnTo>
                  <a:pt x="135267" y="190050"/>
                </a:lnTo>
                <a:cubicBezTo>
                  <a:pt x="131783" y="194697"/>
                  <a:pt x="132724" y="201289"/>
                  <a:pt x="137371" y="204773"/>
                </a:cubicBezTo>
                <a:cubicBezTo>
                  <a:pt x="141110" y="207577"/>
                  <a:pt x="146251" y="207577"/>
                  <a:pt x="149990" y="204773"/>
                </a:cubicBezTo>
                <a:lnTo>
                  <a:pt x="151154" y="203749"/>
                </a:lnTo>
                <a:lnTo>
                  <a:pt x="207269" y="147663"/>
                </a:lnTo>
                <a:lnTo>
                  <a:pt x="208278" y="146471"/>
                </a:lnTo>
                <a:cubicBezTo>
                  <a:pt x="210992" y="142808"/>
                  <a:pt x="211038" y="137815"/>
                  <a:pt x="208391" y="134104"/>
                </a:cubicBezTo>
                <a:lnTo>
                  <a:pt x="207269" y="132786"/>
                </a:lnTo>
                <a:lnTo>
                  <a:pt x="151182" y="76685"/>
                </a:lnTo>
                <a:lnTo>
                  <a:pt x="149990" y="75661"/>
                </a:lnTo>
                <a:lnTo>
                  <a:pt x="151168" y="76685"/>
                </a:lnTo>
                <a:close/>
              </a:path>
            </a:pathLst>
          </a:custGeom>
          <a:solidFill>
            <a:schemeClr val="tx1"/>
          </a:solidFill>
          <a:ln w="1389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0588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16667E-6 0 L -4.166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45833E-6 0 L -1.45833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45833E-6 -4.44444E-6 L 1.45833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375E-6 -4.44444E-6 L 4.375E-6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4" grpId="0" animBg="1"/>
      <p:bldP spid="15" grpId="0" animBg="1"/>
      <p:bldP spid="33" grpId="0" animBg="1"/>
      <p:bldP spid="58" grpId="0"/>
      <p:bldP spid="2" grpId="0"/>
      <p:bldP spid="2" grpId="1"/>
      <p:bldP spid="60" grpId="0"/>
      <p:bldP spid="4" grpId="0"/>
      <p:bldP spid="4" grpId="1"/>
      <p:bldP spid="61" grpId="0"/>
      <p:bldP spid="5" grpId="0"/>
      <p:bldP spid="5" grpId="1"/>
      <p:bldP spid="62" grpId="0"/>
      <p:bldP spid="6" grpId="0"/>
      <p:bldP spid="6" grpId="1"/>
      <p:bldP spid="13" grpId="0" animBg="1"/>
      <p:bldP spid="22" grpId="0" animBg="1"/>
      <p:bldP spid="22" grpId="1" animBg="1"/>
      <p:bldP spid="2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8F3672-84D9-2E1D-921C-8C9DBBE6E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C9787CC5-A1E9-B85F-A4B8-BF4ED42179E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8262" y="-762000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0" i="0" u="none" strike="noStrike" kern="1200" cap="none" spc="-50" normalizeH="0" baseline="0" noProof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Becoming Frontier: Insuranc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BC07802-B504-899A-D590-AB67D5FA6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34561" y="2220635"/>
            <a:ext cx="2405062" cy="2082676"/>
          </a:xfrm>
          <a:prstGeom prst="roundRect">
            <a:avLst>
              <a:gd name="adj" fmla="val 18805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9BE608-E5AB-C8BE-5B9F-98110D10B0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573834" y="2220635"/>
            <a:ext cx="2405062" cy="2082676"/>
          </a:xfrm>
          <a:prstGeom prst="roundRect">
            <a:avLst>
              <a:gd name="adj" fmla="val 18805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39C804-A40A-F2BE-B42E-F7657B4F9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13107" y="2220635"/>
            <a:ext cx="2405062" cy="2082676"/>
          </a:xfrm>
          <a:prstGeom prst="roundRect">
            <a:avLst>
              <a:gd name="adj" fmla="val 18805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AC1157-3A2E-2C08-DB93-59F522DAF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852379" y="2220635"/>
            <a:ext cx="2405062" cy="2082676"/>
          </a:xfrm>
          <a:prstGeom prst="roundRect">
            <a:avLst>
              <a:gd name="adj" fmla="val 1824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 useBgFill="1">
        <p:nvSpPr>
          <p:cNvPr id="33" name="TextBox 32">
            <a:extLst>
              <a:ext uri="{FF2B5EF4-FFF2-40B4-BE49-F238E27FC236}">
                <a16:creationId xmlns:a16="http://schemas.microsoft.com/office/drawing/2014/main" id="{5923CFBD-9C9F-D9D5-BE8E-FCE6618A3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02114" y="3220334"/>
            <a:ext cx="10590816" cy="2131404"/>
          </a:xfrm>
          <a:prstGeom prst="roundRect">
            <a:avLst>
              <a:gd name="adj" fmla="val 17135"/>
            </a:avLst>
          </a:prstGeom>
          <a:ln w="19050" cap="rnd">
            <a:gradFill flip="none" rotWithShape="1">
              <a:gsLst>
                <a:gs pos="79000">
                  <a:srgbClr val="41AFA1"/>
                </a:gs>
                <a:gs pos="0">
                  <a:srgbClr val="46A0DE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100" b="1">
                <a:ln w="3175">
                  <a:noFill/>
                </a:ln>
                <a:gradFill>
                  <a:gsLst>
                    <a:gs pos="85321">
                      <a:srgbClr val="000000"/>
                    </a:gs>
                    <a:gs pos="78000">
                      <a:srgbClr val="000000"/>
                    </a:gs>
                  </a:gsLst>
                  <a:path path="circle">
                    <a:fillToRect l="100000" b="100000"/>
                  </a:path>
                </a:gradFill>
                <a:latin typeface="Segoe UI Variable Display Semibold" pitchFamily="2" charset="0"/>
                <a:cs typeface="Segoe UI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 defTabSz="1427220" fontAlgn="auto">
              <a:spcBef>
                <a:spcPts val="1800"/>
              </a:spcBef>
              <a:spcAft>
                <a:spcPts val="0"/>
              </a:spcAft>
              <a:tabLst/>
              <a:defRPr/>
            </a:pPr>
            <a:endParaRPr lang="en-US" sz="1100" b="1"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624EB6-FC36-8FFF-2892-642265647A5E}"/>
              </a:ext>
            </a:extLst>
          </p:cNvPr>
          <p:cNvSpPr>
            <a:spLocks/>
          </p:cNvSpPr>
          <p:nvPr/>
        </p:nvSpPr>
        <p:spPr>
          <a:xfrm>
            <a:off x="588262" y="457200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Becoming Frontier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220FFEF7-E5E1-3E77-6ACC-6566502F8CB5}"/>
              </a:ext>
            </a:extLst>
          </p:cNvPr>
          <p:cNvSpPr txBox="1">
            <a:spLocks/>
          </p:cNvSpPr>
          <p:nvPr/>
        </p:nvSpPr>
        <p:spPr>
          <a:xfrm>
            <a:off x="4283883" y="1011198"/>
            <a:ext cx="3627278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2800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Insurance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94B8A63-AF20-C385-3A6B-9DAFF4EE0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878959" y="1954457"/>
            <a:ext cx="516266" cy="516266"/>
            <a:chOff x="1599109" y="1884989"/>
            <a:chExt cx="829309" cy="829309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2C379D5-4EA1-E004-D975-76F28B61C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599109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49" name="Graphic 30" descr="Icon of two people">
              <a:extLst>
                <a:ext uri="{FF2B5EF4-FFF2-40B4-BE49-F238E27FC236}">
                  <a16:creationId xmlns:a16="http://schemas.microsoft.com/office/drawing/2014/main" id="{2F76D212-DEA2-C8F4-91CE-0C121279355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35977" y="2134589"/>
              <a:ext cx="388368" cy="330108"/>
            </a:xfrm>
            <a:custGeom>
              <a:avLst/>
              <a:gdLst>
                <a:gd name="connsiteX0" fmla="*/ 145993 w 486649"/>
                <a:gd name="connsiteY0" fmla="*/ 194658 h 413647"/>
                <a:gd name="connsiteX1" fmla="*/ 243322 w 486649"/>
                <a:gd name="connsiteY1" fmla="*/ 97329 h 413647"/>
                <a:gd name="connsiteX2" fmla="*/ 145993 w 486649"/>
                <a:gd name="connsiteY2" fmla="*/ 0 h 413647"/>
                <a:gd name="connsiteX3" fmla="*/ 48664 w 486649"/>
                <a:gd name="connsiteY3" fmla="*/ 97329 h 413647"/>
                <a:gd name="connsiteX4" fmla="*/ 145993 w 486649"/>
                <a:gd name="connsiteY4" fmla="*/ 194658 h 413647"/>
                <a:gd name="connsiteX5" fmla="*/ 364983 w 486649"/>
                <a:gd name="connsiteY5" fmla="*/ 194658 h 413647"/>
                <a:gd name="connsiteX6" fmla="*/ 437980 w 486649"/>
                <a:gd name="connsiteY6" fmla="*/ 121661 h 413647"/>
                <a:gd name="connsiteX7" fmla="*/ 364983 w 486649"/>
                <a:gd name="connsiteY7" fmla="*/ 48664 h 413647"/>
                <a:gd name="connsiteX8" fmla="*/ 291987 w 486649"/>
                <a:gd name="connsiteY8" fmla="*/ 121661 h 413647"/>
                <a:gd name="connsiteX9" fmla="*/ 364983 w 486649"/>
                <a:gd name="connsiteY9" fmla="*/ 194658 h 413647"/>
                <a:gd name="connsiteX10" fmla="*/ 54747 w 486649"/>
                <a:gd name="connsiteY10" fmla="*/ 243322 h 413647"/>
                <a:gd name="connsiteX11" fmla="*/ 0 w 486649"/>
                <a:gd name="connsiteY11" fmla="*/ 298070 h 413647"/>
                <a:gd name="connsiteX12" fmla="*/ 0 w 486649"/>
                <a:gd name="connsiteY12" fmla="*/ 304153 h 413647"/>
                <a:gd name="connsiteX13" fmla="*/ 145993 w 486649"/>
                <a:gd name="connsiteY13" fmla="*/ 413648 h 413647"/>
                <a:gd name="connsiteX14" fmla="*/ 291987 w 486649"/>
                <a:gd name="connsiteY14" fmla="*/ 304153 h 413647"/>
                <a:gd name="connsiteX15" fmla="*/ 291987 w 486649"/>
                <a:gd name="connsiteY15" fmla="*/ 298070 h 413647"/>
                <a:gd name="connsiteX16" fmla="*/ 237239 w 486649"/>
                <a:gd name="connsiteY16" fmla="*/ 243322 h 413647"/>
                <a:gd name="connsiteX17" fmla="*/ 54747 w 486649"/>
                <a:gd name="connsiteY17" fmla="*/ 243322 h 413647"/>
                <a:gd name="connsiteX18" fmla="*/ 364988 w 486649"/>
                <a:gd name="connsiteY18" fmla="*/ 377149 h 413647"/>
                <a:gd name="connsiteX19" fmla="*/ 297955 w 486649"/>
                <a:gd name="connsiteY19" fmla="*/ 365995 h 413647"/>
                <a:gd name="connsiteX20" fmla="*/ 313214 w 486649"/>
                <a:gd name="connsiteY20" fmla="*/ 328086 h 413647"/>
                <a:gd name="connsiteX21" fmla="*/ 315864 w 486649"/>
                <a:gd name="connsiteY21" fmla="*/ 312311 h 413647"/>
                <a:gd name="connsiteX22" fmla="*/ 316246 w 486649"/>
                <a:gd name="connsiteY22" fmla="*/ 307162 h 413647"/>
                <a:gd name="connsiteX23" fmla="*/ 316309 w 486649"/>
                <a:gd name="connsiteY23" fmla="*/ 305377 h 413647"/>
                <a:gd name="connsiteX24" fmla="*/ 316321 w 486649"/>
                <a:gd name="connsiteY24" fmla="*/ 304693 h 413647"/>
                <a:gd name="connsiteX25" fmla="*/ 316324 w 486649"/>
                <a:gd name="connsiteY25" fmla="*/ 304403 h 413647"/>
                <a:gd name="connsiteX26" fmla="*/ 316324 w 486649"/>
                <a:gd name="connsiteY26" fmla="*/ 304274 h 413647"/>
                <a:gd name="connsiteX27" fmla="*/ 316324 w 486649"/>
                <a:gd name="connsiteY27" fmla="*/ 304211 h 413647"/>
                <a:gd name="connsiteX28" fmla="*/ 316324 w 486649"/>
                <a:gd name="connsiteY28" fmla="*/ 304153 h 413647"/>
                <a:gd name="connsiteX29" fmla="*/ 316324 w 486649"/>
                <a:gd name="connsiteY29" fmla="*/ 298070 h 413647"/>
                <a:gd name="connsiteX30" fmla="*/ 294364 w 486649"/>
                <a:gd name="connsiteY30" fmla="*/ 243378 h 413647"/>
                <a:gd name="connsiteX31" fmla="*/ 296858 w 486649"/>
                <a:gd name="connsiteY31" fmla="*/ 243322 h 413647"/>
                <a:gd name="connsiteX32" fmla="*/ 433118 w 486649"/>
                <a:gd name="connsiteY32" fmla="*/ 243322 h 413647"/>
                <a:gd name="connsiteX33" fmla="*/ 486649 w 486649"/>
                <a:gd name="connsiteY33" fmla="*/ 296853 h 413647"/>
                <a:gd name="connsiteX34" fmla="*/ 364988 w 486649"/>
                <a:gd name="connsiteY34" fmla="*/ 377149 h 413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86649" h="413647">
                  <a:moveTo>
                    <a:pt x="145993" y="194658"/>
                  </a:moveTo>
                  <a:cubicBezTo>
                    <a:pt x="199746" y="194658"/>
                    <a:pt x="243322" y="151081"/>
                    <a:pt x="243322" y="97329"/>
                  </a:cubicBezTo>
                  <a:cubicBezTo>
                    <a:pt x="243322" y="43576"/>
                    <a:pt x="199746" y="0"/>
                    <a:pt x="145993" y="0"/>
                  </a:cubicBezTo>
                  <a:cubicBezTo>
                    <a:pt x="92240" y="0"/>
                    <a:pt x="48664" y="43576"/>
                    <a:pt x="48664" y="97329"/>
                  </a:cubicBezTo>
                  <a:cubicBezTo>
                    <a:pt x="48664" y="151081"/>
                    <a:pt x="92240" y="194658"/>
                    <a:pt x="145993" y="194658"/>
                  </a:cubicBezTo>
                  <a:close/>
                  <a:moveTo>
                    <a:pt x="364983" y="194658"/>
                  </a:moveTo>
                  <a:cubicBezTo>
                    <a:pt x="405299" y="194658"/>
                    <a:pt x="437980" y="161977"/>
                    <a:pt x="437980" y="121661"/>
                  </a:cubicBezTo>
                  <a:cubicBezTo>
                    <a:pt x="437980" y="81346"/>
                    <a:pt x="405299" y="48664"/>
                    <a:pt x="364983" y="48664"/>
                  </a:cubicBezTo>
                  <a:cubicBezTo>
                    <a:pt x="324667" y="48664"/>
                    <a:pt x="291987" y="81346"/>
                    <a:pt x="291987" y="121661"/>
                  </a:cubicBezTo>
                  <a:cubicBezTo>
                    <a:pt x="291987" y="161977"/>
                    <a:pt x="324667" y="194658"/>
                    <a:pt x="364983" y="194658"/>
                  </a:cubicBezTo>
                  <a:close/>
                  <a:moveTo>
                    <a:pt x="54747" y="243322"/>
                  </a:moveTo>
                  <a:cubicBezTo>
                    <a:pt x="24511" y="243322"/>
                    <a:pt x="0" y="267834"/>
                    <a:pt x="0" y="298070"/>
                  </a:cubicBezTo>
                  <a:lnTo>
                    <a:pt x="0" y="304153"/>
                  </a:lnTo>
                  <a:cubicBezTo>
                    <a:pt x="0" y="304153"/>
                    <a:pt x="0" y="413648"/>
                    <a:pt x="145993" y="413648"/>
                  </a:cubicBezTo>
                  <a:cubicBezTo>
                    <a:pt x="291987" y="413648"/>
                    <a:pt x="291987" y="304153"/>
                    <a:pt x="291987" y="304153"/>
                  </a:cubicBezTo>
                  <a:lnTo>
                    <a:pt x="291987" y="298070"/>
                  </a:lnTo>
                  <a:cubicBezTo>
                    <a:pt x="291987" y="267834"/>
                    <a:pt x="267474" y="243322"/>
                    <a:pt x="237239" y="243322"/>
                  </a:cubicBezTo>
                  <a:lnTo>
                    <a:pt x="54747" y="243322"/>
                  </a:lnTo>
                  <a:close/>
                  <a:moveTo>
                    <a:pt x="364988" y="377149"/>
                  </a:moveTo>
                  <a:cubicBezTo>
                    <a:pt x="336490" y="377149"/>
                    <a:pt x="314667" y="372743"/>
                    <a:pt x="297955" y="365995"/>
                  </a:cubicBezTo>
                  <a:cubicBezTo>
                    <a:pt x="306277" y="352007"/>
                    <a:pt x="310769" y="338563"/>
                    <a:pt x="313214" y="328086"/>
                  </a:cubicBezTo>
                  <a:cubicBezTo>
                    <a:pt x="314684" y="321786"/>
                    <a:pt x="315455" y="316384"/>
                    <a:pt x="315864" y="312311"/>
                  </a:cubicBezTo>
                  <a:cubicBezTo>
                    <a:pt x="316068" y="310265"/>
                    <a:pt x="316182" y="308532"/>
                    <a:pt x="316246" y="307162"/>
                  </a:cubicBezTo>
                  <a:cubicBezTo>
                    <a:pt x="316277" y="306476"/>
                    <a:pt x="316297" y="305878"/>
                    <a:pt x="316309" y="305377"/>
                  </a:cubicBezTo>
                  <a:lnTo>
                    <a:pt x="316321" y="304693"/>
                  </a:lnTo>
                  <a:lnTo>
                    <a:pt x="316324" y="304403"/>
                  </a:lnTo>
                  <a:lnTo>
                    <a:pt x="316324" y="304274"/>
                  </a:lnTo>
                  <a:lnTo>
                    <a:pt x="316324" y="304211"/>
                  </a:lnTo>
                  <a:cubicBezTo>
                    <a:pt x="316324" y="304133"/>
                    <a:pt x="316324" y="304153"/>
                    <a:pt x="316324" y="304153"/>
                  </a:cubicBezTo>
                  <a:lnTo>
                    <a:pt x="316324" y="298070"/>
                  </a:lnTo>
                  <a:cubicBezTo>
                    <a:pt x="316324" y="276849"/>
                    <a:pt x="307965" y="257583"/>
                    <a:pt x="294364" y="243378"/>
                  </a:cubicBezTo>
                  <a:cubicBezTo>
                    <a:pt x="295189" y="243342"/>
                    <a:pt x="296021" y="243322"/>
                    <a:pt x="296858" y="243322"/>
                  </a:cubicBezTo>
                  <a:lnTo>
                    <a:pt x="433118" y="243322"/>
                  </a:lnTo>
                  <a:cubicBezTo>
                    <a:pt x="462682" y="243322"/>
                    <a:pt x="486649" y="267289"/>
                    <a:pt x="486649" y="296853"/>
                  </a:cubicBezTo>
                  <a:cubicBezTo>
                    <a:pt x="486649" y="296853"/>
                    <a:pt x="486649" y="377149"/>
                    <a:pt x="364988" y="37714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D348FB2-3BFA-5BFC-E9B7-A9CE446AB1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18232" y="1954457"/>
            <a:ext cx="516266" cy="516266"/>
            <a:chOff x="4320600" y="1884989"/>
            <a:chExt cx="829309" cy="829309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99323157-EAB8-2AF1-BC12-01753077C1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00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0" name="Graphic 27" descr="Icon of a chat bubble">
              <a:extLst>
                <a:ext uri="{FF2B5EF4-FFF2-40B4-BE49-F238E27FC236}">
                  <a16:creationId xmlns:a16="http://schemas.microsoft.com/office/drawing/2014/main" id="{F3D5F9D4-A0D7-DE43-E486-22BE124E633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46083" y="2129888"/>
              <a:ext cx="378342" cy="339510"/>
            </a:xfrm>
            <a:custGeom>
              <a:avLst/>
              <a:gdLst>
                <a:gd name="connsiteX0" fmla="*/ 157427 w 421134"/>
                <a:gd name="connsiteY0" fmla="*/ 0 h 377911"/>
                <a:gd name="connsiteX1" fmla="*/ 0 w 421134"/>
                <a:gd name="connsiteY1" fmla="*/ 157427 h 377911"/>
                <a:gd name="connsiteX2" fmla="*/ 14764 w 421134"/>
                <a:gd name="connsiteY2" fmla="*/ 224069 h 377911"/>
                <a:gd name="connsiteX3" fmla="*/ 456 w 421134"/>
                <a:gd name="connsiteY3" fmla="*/ 290029 h 377911"/>
                <a:gd name="connsiteX4" fmla="*/ 24662 w 421134"/>
                <a:gd name="connsiteY4" fmla="*/ 314592 h 377911"/>
                <a:gd name="connsiteX5" fmla="*/ 92597 w 421134"/>
                <a:gd name="connsiteY5" fmla="*/ 300923 h 377911"/>
                <a:gd name="connsiteX6" fmla="*/ 157427 w 421134"/>
                <a:gd name="connsiteY6" fmla="*/ 314854 h 377911"/>
                <a:gd name="connsiteX7" fmla="*/ 314854 w 421134"/>
                <a:gd name="connsiteY7" fmla="*/ 157427 h 377911"/>
                <a:gd name="connsiteX8" fmla="*/ 157427 w 421134"/>
                <a:gd name="connsiteY8" fmla="*/ 0 h 377911"/>
                <a:gd name="connsiteX9" fmla="*/ 156628 w 421134"/>
                <a:gd name="connsiteY9" fmla="*/ 335836 h 377911"/>
                <a:gd name="connsiteX10" fmla="*/ 263672 w 421134"/>
                <a:gd name="connsiteY10" fmla="*/ 377829 h 377911"/>
                <a:gd name="connsiteX11" fmla="*/ 328488 w 421134"/>
                <a:gd name="connsiteY11" fmla="*/ 363904 h 377911"/>
                <a:gd name="connsiteX12" fmla="*/ 389643 w 421134"/>
                <a:gd name="connsiteY12" fmla="*/ 377340 h 377911"/>
                <a:gd name="connsiteX13" fmla="*/ 420444 w 421134"/>
                <a:gd name="connsiteY13" fmla="*/ 345868 h 377911"/>
                <a:gd name="connsiteX14" fmla="*/ 406343 w 421134"/>
                <a:gd name="connsiteY14" fmla="*/ 287025 h 377911"/>
                <a:gd name="connsiteX15" fmla="*/ 421099 w 421134"/>
                <a:gd name="connsiteY15" fmla="*/ 220402 h 377911"/>
                <a:gd name="connsiteX16" fmla="*/ 315169 w 421134"/>
                <a:gd name="connsiteY16" fmla="*/ 71590 h 377911"/>
                <a:gd name="connsiteX17" fmla="*/ 331953 w 421134"/>
                <a:gd name="connsiteY17" fmla="*/ 114559 h 377911"/>
                <a:gd name="connsiteX18" fmla="*/ 389613 w 421134"/>
                <a:gd name="connsiteY18" fmla="*/ 220402 h 377911"/>
                <a:gd name="connsiteX19" fmla="*/ 375674 w 421134"/>
                <a:gd name="connsiteY19" fmla="*/ 278058 h 377911"/>
                <a:gd name="connsiteX20" fmla="*/ 372935 w 421134"/>
                <a:gd name="connsiteY20" fmla="*/ 283369 h 377911"/>
                <a:gd name="connsiteX21" fmla="*/ 374408 w 421134"/>
                <a:gd name="connsiteY21" fmla="*/ 289158 h 377911"/>
                <a:gd name="connsiteX22" fmla="*/ 387873 w 421134"/>
                <a:gd name="connsiteY22" fmla="*/ 344795 h 377911"/>
                <a:gd name="connsiteX23" fmla="*/ 330377 w 421134"/>
                <a:gd name="connsiteY23" fmla="*/ 331999 h 377911"/>
                <a:gd name="connsiteX24" fmla="*/ 324825 w 421134"/>
                <a:gd name="connsiteY24" fmla="*/ 330679 h 377911"/>
                <a:gd name="connsiteX25" fmla="*/ 319716 w 421134"/>
                <a:gd name="connsiteY25" fmla="*/ 333221 h 377911"/>
                <a:gd name="connsiteX26" fmla="*/ 263672 w 421134"/>
                <a:gd name="connsiteY26" fmla="*/ 346344 h 377911"/>
                <a:gd name="connsiteX27" fmla="*/ 202403 w 421134"/>
                <a:gd name="connsiteY27" fmla="*/ 330463 h 377911"/>
                <a:gd name="connsiteX28" fmla="*/ 158721 w 421134"/>
                <a:gd name="connsiteY28" fmla="*/ 335849 h 377911"/>
                <a:gd name="connsiteX29" fmla="*/ 156628 w 421134"/>
                <a:gd name="connsiteY29" fmla="*/ 335836 h 37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1134" h="377911">
                  <a:moveTo>
                    <a:pt x="157427" y="0"/>
                  </a:moveTo>
                  <a:cubicBezTo>
                    <a:pt x="70482" y="0"/>
                    <a:pt x="0" y="70482"/>
                    <a:pt x="0" y="157427"/>
                  </a:cubicBezTo>
                  <a:cubicBezTo>
                    <a:pt x="0" y="181220"/>
                    <a:pt x="5288" y="203816"/>
                    <a:pt x="14764" y="224069"/>
                  </a:cubicBezTo>
                  <a:cubicBezTo>
                    <a:pt x="8422" y="249784"/>
                    <a:pt x="2929" y="277250"/>
                    <a:pt x="456" y="290029"/>
                  </a:cubicBezTo>
                  <a:cubicBezTo>
                    <a:pt x="-2342" y="304491"/>
                    <a:pt x="10229" y="317161"/>
                    <a:pt x="24662" y="314592"/>
                  </a:cubicBezTo>
                  <a:cubicBezTo>
                    <a:pt x="37746" y="312262"/>
                    <a:pt x="66186" y="307019"/>
                    <a:pt x="92597" y="300923"/>
                  </a:cubicBezTo>
                  <a:cubicBezTo>
                    <a:pt x="112385" y="309875"/>
                    <a:pt x="134344" y="314854"/>
                    <a:pt x="157427" y="314854"/>
                  </a:cubicBezTo>
                  <a:cubicBezTo>
                    <a:pt x="244371" y="314854"/>
                    <a:pt x="314854" y="244371"/>
                    <a:pt x="314854" y="157427"/>
                  </a:cubicBezTo>
                  <a:cubicBezTo>
                    <a:pt x="314854" y="70482"/>
                    <a:pt x="244371" y="0"/>
                    <a:pt x="157427" y="0"/>
                  </a:cubicBezTo>
                  <a:close/>
                  <a:moveTo>
                    <a:pt x="156628" y="335836"/>
                  </a:moveTo>
                  <a:cubicBezTo>
                    <a:pt x="184717" y="361896"/>
                    <a:pt x="222333" y="377829"/>
                    <a:pt x="263672" y="377829"/>
                  </a:cubicBezTo>
                  <a:cubicBezTo>
                    <a:pt x="286750" y="377829"/>
                    <a:pt x="308704" y="372853"/>
                    <a:pt x="328488" y="363904"/>
                  </a:cubicBezTo>
                  <a:cubicBezTo>
                    <a:pt x="350397" y="369032"/>
                    <a:pt x="374379" y="374150"/>
                    <a:pt x="389643" y="377340"/>
                  </a:cubicBezTo>
                  <a:cubicBezTo>
                    <a:pt x="408375" y="381255"/>
                    <a:pt x="424734" y="364442"/>
                    <a:pt x="420444" y="345868"/>
                  </a:cubicBezTo>
                  <a:cubicBezTo>
                    <a:pt x="417033" y="331103"/>
                    <a:pt x="411655" y="308184"/>
                    <a:pt x="406343" y="287025"/>
                  </a:cubicBezTo>
                  <a:cubicBezTo>
                    <a:pt x="415813" y="266776"/>
                    <a:pt x="421099" y="244186"/>
                    <a:pt x="421099" y="220402"/>
                  </a:cubicBezTo>
                  <a:cubicBezTo>
                    <a:pt x="421099" y="151491"/>
                    <a:pt x="376824" y="92923"/>
                    <a:pt x="315169" y="71590"/>
                  </a:cubicBezTo>
                  <a:cubicBezTo>
                    <a:pt x="322522" y="84962"/>
                    <a:pt x="328210" y="99378"/>
                    <a:pt x="331953" y="114559"/>
                  </a:cubicBezTo>
                  <a:cubicBezTo>
                    <a:pt x="366650" y="136989"/>
                    <a:pt x="389613" y="176014"/>
                    <a:pt x="389613" y="220402"/>
                  </a:cubicBezTo>
                  <a:cubicBezTo>
                    <a:pt x="389613" y="241212"/>
                    <a:pt x="384578" y="260800"/>
                    <a:pt x="375674" y="278058"/>
                  </a:cubicBezTo>
                  <a:lnTo>
                    <a:pt x="372935" y="283369"/>
                  </a:lnTo>
                  <a:lnTo>
                    <a:pt x="374408" y="289158"/>
                  </a:lnTo>
                  <a:cubicBezTo>
                    <a:pt x="379190" y="307955"/>
                    <a:pt x="384200" y="329040"/>
                    <a:pt x="387873" y="344795"/>
                  </a:cubicBezTo>
                  <a:cubicBezTo>
                    <a:pt x="371625" y="341359"/>
                    <a:pt x="349721" y="336605"/>
                    <a:pt x="330377" y="331999"/>
                  </a:cubicBezTo>
                  <a:lnTo>
                    <a:pt x="324825" y="330679"/>
                  </a:lnTo>
                  <a:lnTo>
                    <a:pt x="319716" y="333221"/>
                  </a:lnTo>
                  <a:cubicBezTo>
                    <a:pt x="302854" y="341615"/>
                    <a:pt x="283837" y="346344"/>
                    <a:pt x="263672" y="346344"/>
                  </a:cubicBezTo>
                  <a:cubicBezTo>
                    <a:pt x="241432" y="346344"/>
                    <a:pt x="220539" y="340578"/>
                    <a:pt x="202403" y="330463"/>
                  </a:cubicBezTo>
                  <a:cubicBezTo>
                    <a:pt x="188426" y="333981"/>
                    <a:pt x="173791" y="335849"/>
                    <a:pt x="158721" y="335849"/>
                  </a:cubicBezTo>
                  <a:cubicBezTo>
                    <a:pt x="158022" y="335849"/>
                    <a:pt x="157325" y="335845"/>
                    <a:pt x="156628" y="33583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969713C-7C2F-329C-585B-398E60420C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157505" y="1954457"/>
            <a:ext cx="516266" cy="516266"/>
            <a:chOff x="7042091" y="1884989"/>
            <a:chExt cx="829309" cy="829309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11CDB7C-AE2F-4B79-AA1A-B295F966CB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091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1" name="Graphic 20" descr="Icon of a gear">
              <a:extLst>
                <a:ext uri="{FF2B5EF4-FFF2-40B4-BE49-F238E27FC236}">
                  <a16:creationId xmlns:a16="http://schemas.microsoft.com/office/drawing/2014/main" id="{608B2637-8A81-1AD2-4377-18FF26204B5A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85433" y="2121229"/>
              <a:ext cx="342626" cy="356830"/>
            </a:xfrm>
            <a:custGeom>
              <a:avLst/>
              <a:gdLst>
                <a:gd name="connsiteX0" fmla="*/ 213265 w 426043"/>
                <a:gd name="connsiteY0" fmla="*/ 0 h 443705"/>
                <a:gd name="connsiteX1" fmla="*/ 262903 w 426043"/>
                <a:gd name="connsiteY1" fmla="*/ 5758 h 443705"/>
                <a:gd name="connsiteX2" fmla="*/ 276148 w 426043"/>
                <a:gd name="connsiteY2" fmla="*/ 20523 h 443705"/>
                <a:gd name="connsiteX3" fmla="*/ 280021 w 426043"/>
                <a:gd name="connsiteY3" fmla="*/ 55266 h 443705"/>
                <a:gd name="connsiteX4" fmla="*/ 311299 w 426043"/>
                <a:gd name="connsiteY4" fmla="*/ 83316 h 443705"/>
                <a:gd name="connsiteX5" fmla="*/ 323873 w 426043"/>
                <a:gd name="connsiteY5" fmla="*/ 80660 h 443705"/>
                <a:gd name="connsiteX6" fmla="*/ 355742 w 426043"/>
                <a:gd name="connsiteY6" fmla="*/ 66660 h 443705"/>
                <a:gd name="connsiteX7" fmla="*/ 375063 w 426043"/>
                <a:gd name="connsiteY7" fmla="*/ 70620 h 443705"/>
                <a:gd name="connsiteX8" fmla="*/ 425231 w 426043"/>
                <a:gd name="connsiteY8" fmla="*/ 156903 h 443705"/>
                <a:gd name="connsiteX9" fmla="*/ 419058 w 426043"/>
                <a:gd name="connsiteY9" fmla="*/ 175696 h 443705"/>
                <a:gd name="connsiteX10" fmla="*/ 390809 w 426043"/>
                <a:gd name="connsiteY10" fmla="*/ 196519 h 443705"/>
                <a:gd name="connsiteX11" fmla="*/ 377991 w 426043"/>
                <a:gd name="connsiteY11" fmla="*/ 221842 h 443705"/>
                <a:gd name="connsiteX12" fmla="*/ 390827 w 426043"/>
                <a:gd name="connsiteY12" fmla="*/ 247176 h 443705"/>
                <a:gd name="connsiteX13" fmla="*/ 419099 w 426043"/>
                <a:gd name="connsiteY13" fmla="*/ 268005 h 443705"/>
                <a:gd name="connsiteX14" fmla="*/ 425277 w 426043"/>
                <a:gd name="connsiteY14" fmla="*/ 286800 h 443705"/>
                <a:gd name="connsiteX15" fmla="*/ 375136 w 426043"/>
                <a:gd name="connsiteY15" fmla="*/ 373080 h 443705"/>
                <a:gd name="connsiteX16" fmla="*/ 355826 w 426043"/>
                <a:gd name="connsiteY16" fmla="*/ 377050 h 443705"/>
                <a:gd name="connsiteX17" fmla="*/ 323827 w 426043"/>
                <a:gd name="connsiteY17" fmla="*/ 363031 h 443705"/>
                <a:gd name="connsiteX18" fmla="*/ 295505 w 426043"/>
                <a:gd name="connsiteY18" fmla="*/ 364613 h 443705"/>
                <a:gd name="connsiteX19" fmla="*/ 279998 w 426043"/>
                <a:gd name="connsiteY19" fmla="*/ 388361 h 443705"/>
                <a:gd name="connsiteX20" fmla="*/ 276150 w 426043"/>
                <a:gd name="connsiteY20" fmla="*/ 423100 h 443705"/>
                <a:gd name="connsiteX21" fmla="*/ 263137 w 426043"/>
                <a:gd name="connsiteY21" fmla="*/ 437824 h 443705"/>
                <a:gd name="connsiteX22" fmla="*/ 162883 w 426043"/>
                <a:gd name="connsiteY22" fmla="*/ 437824 h 443705"/>
                <a:gd name="connsiteX23" fmla="*/ 149871 w 426043"/>
                <a:gd name="connsiteY23" fmla="*/ 423100 h 443705"/>
                <a:gd name="connsiteX24" fmla="*/ 146030 w 426043"/>
                <a:gd name="connsiteY24" fmla="*/ 388414 h 443705"/>
                <a:gd name="connsiteX25" fmla="*/ 130490 w 426043"/>
                <a:gd name="connsiteY25" fmla="*/ 364727 h 443705"/>
                <a:gd name="connsiteX26" fmla="*/ 102224 w 426043"/>
                <a:gd name="connsiteY26" fmla="*/ 363143 h 443705"/>
                <a:gd name="connsiteX27" fmla="*/ 70218 w 426043"/>
                <a:gd name="connsiteY27" fmla="*/ 377164 h 443705"/>
                <a:gd name="connsiteX28" fmla="*/ 50904 w 426043"/>
                <a:gd name="connsiteY28" fmla="*/ 373189 h 443705"/>
                <a:gd name="connsiteX29" fmla="*/ 763 w 426043"/>
                <a:gd name="connsiteY29" fmla="*/ 286812 h 443705"/>
                <a:gd name="connsiteX30" fmla="*/ 6945 w 426043"/>
                <a:gd name="connsiteY30" fmla="*/ 268028 h 443705"/>
                <a:gd name="connsiteX31" fmla="*/ 35236 w 426043"/>
                <a:gd name="connsiteY31" fmla="*/ 247185 h 443705"/>
                <a:gd name="connsiteX32" fmla="*/ 48053 w 426043"/>
                <a:gd name="connsiteY32" fmla="*/ 221865 h 443705"/>
                <a:gd name="connsiteX33" fmla="*/ 35225 w 426043"/>
                <a:gd name="connsiteY33" fmla="*/ 196535 h 443705"/>
                <a:gd name="connsiteX34" fmla="*/ 6952 w 426043"/>
                <a:gd name="connsiteY34" fmla="*/ 175727 h 443705"/>
                <a:gd name="connsiteX35" fmla="*/ 767 w 426043"/>
                <a:gd name="connsiteY35" fmla="*/ 156926 h 443705"/>
                <a:gd name="connsiteX36" fmla="*/ 50935 w 426043"/>
                <a:gd name="connsiteY36" fmla="*/ 70643 h 443705"/>
                <a:gd name="connsiteX37" fmla="*/ 70256 w 426043"/>
                <a:gd name="connsiteY37" fmla="*/ 66682 h 443705"/>
                <a:gd name="connsiteX38" fmla="*/ 102120 w 426043"/>
                <a:gd name="connsiteY38" fmla="*/ 80680 h 443705"/>
                <a:gd name="connsiteX39" fmla="*/ 130521 w 426043"/>
                <a:gd name="connsiteY39" fmla="*/ 79018 h 443705"/>
                <a:gd name="connsiteX40" fmla="*/ 146048 w 426043"/>
                <a:gd name="connsiteY40" fmla="*/ 55239 h 443705"/>
                <a:gd name="connsiteX41" fmla="*/ 149918 w 426043"/>
                <a:gd name="connsiteY41" fmla="*/ 20523 h 443705"/>
                <a:gd name="connsiteX42" fmla="*/ 163174 w 426043"/>
                <a:gd name="connsiteY42" fmla="*/ 5755 h 443705"/>
                <a:gd name="connsiteX43" fmla="*/ 213265 w 426043"/>
                <a:gd name="connsiteY43" fmla="*/ 0 h 443705"/>
                <a:gd name="connsiteX44" fmla="*/ 212980 w 426043"/>
                <a:gd name="connsiteY44" fmla="*/ 153590 h 443705"/>
                <a:gd name="connsiteX45" fmla="*/ 144718 w 426043"/>
                <a:gd name="connsiteY45" fmla="*/ 221853 h 443705"/>
                <a:gd name="connsiteX46" fmla="*/ 212980 w 426043"/>
                <a:gd name="connsiteY46" fmla="*/ 290116 h 443705"/>
                <a:gd name="connsiteX47" fmla="*/ 281243 w 426043"/>
                <a:gd name="connsiteY47" fmla="*/ 221853 h 443705"/>
                <a:gd name="connsiteX48" fmla="*/ 212980 w 426043"/>
                <a:gd name="connsiteY48" fmla="*/ 153590 h 44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6043" h="443705">
                  <a:moveTo>
                    <a:pt x="213265" y="0"/>
                  </a:moveTo>
                  <a:cubicBezTo>
                    <a:pt x="229966" y="193"/>
                    <a:pt x="246602" y="2122"/>
                    <a:pt x="262903" y="5758"/>
                  </a:cubicBezTo>
                  <a:cubicBezTo>
                    <a:pt x="270018" y="7345"/>
                    <a:pt x="275340" y="13277"/>
                    <a:pt x="276148" y="20523"/>
                  </a:cubicBezTo>
                  <a:lnTo>
                    <a:pt x="280021" y="55266"/>
                  </a:lnTo>
                  <a:cubicBezTo>
                    <a:pt x="281775" y="71217"/>
                    <a:pt x="295243" y="83299"/>
                    <a:pt x="311299" y="83316"/>
                  </a:cubicBezTo>
                  <a:cubicBezTo>
                    <a:pt x="315615" y="83323"/>
                    <a:pt x="319884" y="82424"/>
                    <a:pt x="323873" y="80660"/>
                  </a:cubicBezTo>
                  <a:lnTo>
                    <a:pt x="355742" y="66660"/>
                  </a:lnTo>
                  <a:cubicBezTo>
                    <a:pt x="362370" y="63748"/>
                    <a:pt x="370116" y="65335"/>
                    <a:pt x="375063" y="70620"/>
                  </a:cubicBezTo>
                  <a:cubicBezTo>
                    <a:pt x="398094" y="95218"/>
                    <a:pt x="415247" y="124719"/>
                    <a:pt x="425231" y="156903"/>
                  </a:cubicBezTo>
                  <a:cubicBezTo>
                    <a:pt x="427384" y="163843"/>
                    <a:pt x="424906" y="171385"/>
                    <a:pt x="419058" y="175696"/>
                  </a:cubicBezTo>
                  <a:lnTo>
                    <a:pt x="390809" y="196519"/>
                  </a:lnTo>
                  <a:cubicBezTo>
                    <a:pt x="382749" y="202439"/>
                    <a:pt x="377991" y="211841"/>
                    <a:pt x="377991" y="221842"/>
                  </a:cubicBezTo>
                  <a:cubicBezTo>
                    <a:pt x="377991" y="231840"/>
                    <a:pt x="382749" y="241242"/>
                    <a:pt x="390827" y="247176"/>
                  </a:cubicBezTo>
                  <a:lnTo>
                    <a:pt x="419099" y="268005"/>
                  </a:lnTo>
                  <a:cubicBezTo>
                    <a:pt x="424949" y="272315"/>
                    <a:pt x="427429" y="279858"/>
                    <a:pt x="425277" y="286800"/>
                  </a:cubicBezTo>
                  <a:cubicBezTo>
                    <a:pt x="415297" y="318979"/>
                    <a:pt x="398154" y="348478"/>
                    <a:pt x="375136" y="373080"/>
                  </a:cubicBezTo>
                  <a:cubicBezTo>
                    <a:pt x="370193" y="378363"/>
                    <a:pt x="362455" y="379956"/>
                    <a:pt x="355826" y="377050"/>
                  </a:cubicBezTo>
                  <a:lnTo>
                    <a:pt x="323827" y="363031"/>
                  </a:lnTo>
                  <a:cubicBezTo>
                    <a:pt x="314671" y="359024"/>
                    <a:pt x="304158" y="359611"/>
                    <a:pt x="295505" y="364613"/>
                  </a:cubicBezTo>
                  <a:cubicBezTo>
                    <a:pt x="286854" y="369612"/>
                    <a:pt x="281097" y="378429"/>
                    <a:pt x="279998" y="388361"/>
                  </a:cubicBezTo>
                  <a:lnTo>
                    <a:pt x="276150" y="423100"/>
                  </a:lnTo>
                  <a:cubicBezTo>
                    <a:pt x="275356" y="430263"/>
                    <a:pt x="270150" y="436156"/>
                    <a:pt x="263137" y="437824"/>
                  </a:cubicBezTo>
                  <a:cubicBezTo>
                    <a:pt x="230180" y="445665"/>
                    <a:pt x="195842" y="445665"/>
                    <a:pt x="162883" y="437824"/>
                  </a:cubicBezTo>
                  <a:cubicBezTo>
                    <a:pt x="155872" y="436156"/>
                    <a:pt x="150665" y="430263"/>
                    <a:pt x="149871" y="423100"/>
                  </a:cubicBezTo>
                  <a:lnTo>
                    <a:pt x="146030" y="388414"/>
                  </a:lnTo>
                  <a:cubicBezTo>
                    <a:pt x="144901" y="378500"/>
                    <a:pt x="139135" y="369710"/>
                    <a:pt x="130490" y="364727"/>
                  </a:cubicBezTo>
                  <a:cubicBezTo>
                    <a:pt x="121845" y="359743"/>
                    <a:pt x="111349" y="359159"/>
                    <a:pt x="102224" y="363143"/>
                  </a:cubicBezTo>
                  <a:lnTo>
                    <a:pt x="70218" y="377164"/>
                  </a:lnTo>
                  <a:cubicBezTo>
                    <a:pt x="63588" y="380070"/>
                    <a:pt x="55847" y="378477"/>
                    <a:pt x="50904" y="373189"/>
                  </a:cubicBezTo>
                  <a:cubicBezTo>
                    <a:pt x="27873" y="348560"/>
                    <a:pt x="10730" y="319025"/>
                    <a:pt x="763" y="286812"/>
                  </a:cubicBezTo>
                  <a:cubicBezTo>
                    <a:pt x="-1383" y="279874"/>
                    <a:pt x="1097" y="272336"/>
                    <a:pt x="6945" y="268028"/>
                  </a:cubicBezTo>
                  <a:lnTo>
                    <a:pt x="35236" y="247185"/>
                  </a:lnTo>
                  <a:cubicBezTo>
                    <a:pt x="43294" y="241265"/>
                    <a:pt x="48053" y="231863"/>
                    <a:pt x="48053" y="221865"/>
                  </a:cubicBezTo>
                  <a:cubicBezTo>
                    <a:pt x="48053" y="211864"/>
                    <a:pt x="43294" y="202462"/>
                    <a:pt x="35225" y="196535"/>
                  </a:cubicBezTo>
                  <a:lnTo>
                    <a:pt x="6952" y="175727"/>
                  </a:lnTo>
                  <a:cubicBezTo>
                    <a:pt x="1096" y="171417"/>
                    <a:pt x="-1387" y="163871"/>
                    <a:pt x="767" y="156926"/>
                  </a:cubicBezTo>
                  <a:cubicBezTo>
                    <a:pt x="10751" y="124742"/>
                    <a:pt x="27903" y="95241"/>
                    <a:pt x="50935" y="70643"/>
                  </a:cubicBezTo>
                  <a:cubicBezTo>
                    <a:pt x="55883" y="65358"/>
                    <a:pt x="63627" y="63771"/>
                    <a:pt x="70256" y="66682"/>
                  </a:cubicBezTo>
                  <a:lnTo>
                    <a:pt x="102120" y="80680"/>
                  </a:lnTo>
                  <a:cubicBezTo>
                    <a:pt x="111289" y="84704"/>
                    <a:pt x="121829" y="84096"/>
                    <a:pt x="130521" y="79018"/>
                  </a:cubicBezTo>
                  <a:cubicBezTo>
                    <a:pt x="139175" y="73999"/>
                    <a:pt x="144936" y="65173"/>
                    <a:pt x="146048" y="55239"/>
                  </a:cubicBezTo>
                  <a:lnTo>
                    <a:pt x="149918" y="20523"/>
                  </a:lnTo>
                  <a:cubicBezTo>
                    <a:pt x="150726" y="13274"/>
                    <a:pt x="156053" y="7339"/>
                    <a:pt x="163174" y="5755"/>
                  </a:cubicBezTo>
                  <a:cubicBezTo>
                    <a:pt x="179495" y="2126"/>
                    <a:pt x="196149" y="197"/>
                    <a:pt x="213265" y="0"/>
                  </a:cubicBezTo>
                  <a:close/>
                  <a:moveTo>
                    <a:pt x="212980" y="153590"/>
                  </a:moveTo>
                  <a:cubicBezTo>
                    <a:pt x="175279" y="153590"/>
                    <a:pt x="144718" y="184152"/>
                    <a:pt x="144718" y="221853"/>
                  </a:cubicBezTo>
                  <a:cubicBezTo>
                    <a:pt x="144718" y="259552"/>
                    <a:pt x="175279" y="290116"/>
                    <a:pt x="212980" y="290116"/>
                  </a:cubicBezTo>
                  <a:cubicBezTo>
                    <a:pt x="250679" y="290116"/>
                    <a:pt x="281243" y="259552"/>
                    <a:pt x="281243" y="221853"/>
                  </a:cubicBezTo>
                  <a:cubicBezTo>
                    <a:pt x="281243" y="184152"/>
                    <a:pt x="250679" y="153590"/>
                    <a:pt x="212980" y="15359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22170E-4E1C-CB2D-3CD5-20DD399A49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796777" y="1954457"/>
            <a:ext cx="516266" cy="516266"/>
            <a:chOff x="9763581" y="1884989"/>
            <a:chExt cx="829309" cy="82930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45D3701-F453-F211-9E38-AC7D87933C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9763581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2" name="Graphic 11" descr="Icon of a lightbulb">
              <a:extLst>
                <a:ext uri="{FF2B5EF4-FFF2-40B4-BE49-F238E27FC236}">
                  <a16:creationId xmlns:a16="http://schemas.microsoft.com/office/drawing/2014/main" id="{46C1DEEF-B2DB-DDA8-EAD1-31E7DD1779F9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45568" y="2116667"/>
              <a:ext cx="265336" cy="365954"/>
            </a:xfrm>
            <a:custGeom>
              <a:avLst/>
              <a:gdLst>
                <a:gd name="connsiteX0" fmla="*/ 245472 w 329935"/>
                <a:gd name="connsiteY0" fmla="*/ 386776 h 455051"/>
                <a:gd name="connsiteX1" fmla="*/ 238857 w 329935"/>
                <a:gd name="connsiteY1" fmla="*/ 415412 h 455051"/>
                <a:gd name="connsiteX2" fmla="*/ 192921 w 329935"/>
                <a:gd name="connsiteY2" fmla="*/ 454902 h 455051"/>
                <a:gd name="connsiteX3" fmla="*/ 188982 w 329935"/>
                <a:gd name="connsiteY3" fmla="*/ 455052 h 455051"/>
                <a:gd name="connsiteX4" fmla="*/ 140932 w 329935"/>
                <a:gd name="connsiteY4" fmla="*/ 455052 h 455051"/>
                <a:gd name="connsiteX5" fmla="*/ 92081 w 329935"/>
                <a:gd name="connsiteY5" fmla="*/ 419182 h 455051"/>
                <a:gd name="connsiteX6" fmla="*/ 91047 w 329935"/>
                <a:gd name="connsiteY6" fmla="*/ 415375 h 455051"/>
                <a:gd name="connsiteX7" fmla="*/ 84441 w 329935"/>
                <a:gd name="connsiteY7" fmla="*/ 386776 h 455051"/>
                <a:gd name="connsiteX8" fmla="*/ 245472 w 329935"/>
                <a:gd name="connsiteY8" fmla="*/ 386776 h 455051"/>
                <a:gd name="connsiteX9" fmla="*/ 164968 w 329935"/>
                <a:gd name="connsiteY9" fmla="*/ 0 h 455051"/>
                <a:gd name="connsiteX10" fmla="*/ 329935 w 329935"/>
                <a:gd name="connsiteY10" fmla="*/ 164968 h 455051"/>
                <a:gd name="connsiteX11" fmla="*/ 267011 w 329935"/>
                <a:gd name="connsiteY11" fmla="*/ 297868 h 455051"/>
                <a:gd name="connsiteX12" fmla="*/ 265398 w 329935"/>
                <a:gd name="connsiteY12" fmla="*/ 300701 h 455051"/>
                <a:gd name="connsiteX13" fmla="*/ 253390 w 329935"/>
                <a:gd name="connsiteY13" fmla="*/ 352645 h 455051"/>
                <a:gd name="connsiteX14" fmla="*/ 182033 w 329935"/>
                <a:gd name="connsiteY14" fmla="*/ 352645 h 455051"/>
                <a:gd name="connsiteX15" fmla="*/ 182033 w 329935"/>
                <a:gd name="connsiteY15" fmla="*/ 199084 h 455051"/>
                <a:gd name="connsiteX16" fmla="*/ 164968 w 329935"/>
                <a:gd name="connsiteY16" fmla="*/ 182018 h 455051"/>
                <a:gd name="connsiteX17" fmla="*/ 147902 w 329935"/>
                <a:gd name="connsiteY17" fmla="*/ 199084 h 455051"/>
                <a:gd name="connsiteX18" fmla="*/ 147902 w 329935"/>
                <a:gd name="connsiteY18" fmla="*/ 352645 h 455051"/>
                <a:gd name="connsiteX19" fmla="*/ 76545 w 329935"/>
                <a:gd name="connsiteY19" fmla="*/ 352645 h 455051"/>
                <a:gd name="connsiteX20" fmla="*/ 64577 w 329935"/>
                <a:gd name="connsiteY20" fmla="*/ 300706 h 455051"/>
                <a:gd name="connsiteX21" fmla="*/ 62961 w 329935"/>
                <a:gd name="connsiteY21" fmla="*/ 297868 h 455051"/>
                <a:gd name="connsiteX22" fmla="*/ 0 w 329935"/>
                <a:gd name="connsiteY22" fmla="*/ 164968 h 455051"/>
                <a:gd name="connsiteX23" fmla="*/ 164968 w 329935"/>
                <a:gd name="connsiteY23" fmla="*/ 0 h 455051"/>
                <a:gd name="connsiteX24" fmla="*/ 147902 w 329935"/>
                <a:gd name="connsiteY24" fmla="*/ 108077 h 455051"/>
                <a:gd name="connsiteX25" fmla="*/ 147902 w 329935"/>
                <a:gd name="connsiteY25" fmla="*/ 142209 h 455051"/>
                <a:gd name="connsiteX26" fmla="*/ 164968 w 329935"/>
                <a:gd name="connsiteY26" fmla="*/ 159274 h 455051"/>
                <a:gd name="connsiteX27" fmla="*/ 182033 w 329935"/>
                <a:gd name="connsiteY27" fmla="*/ 142209 h 455051"/>
                <a:gd name="connsiteX28" fmla="*/ 182033 w 329935"/>
                <a:gd name="connsiteY28" fmla="*/ 108077 h 455051"/>
                <a:gd name="connsiteX29" fmla="*/ 164968 w 329935"/>
                <a:gd name="connsiteY29" fmla="*/ 91011 h 455051"/>
                <a:gd name="connsiteX30" fmla="*/ 147902 w 329935"/>
                <a:gd name="connsiteY30" fmla="*/ 108077 h 455051"/>
                <a:gd name="connsiteX31" fmla="*/ 262362 w 329935"/>
                <a:gd name="connsiteY31" fmla="*/ 141419 h 455051"/>
                <a:gd name="connsiteX32" fmla="*/ 238229 w 329935"/>
                <a:gd name="connsiteY32" fmla="*/ 141419 h 455051"/>
                <a:gd name="connsiteX33" fmla="*/ 214094 w 329935"/>
                <a:gd name="connsiteY33" fmla="*/ 165554 h 455051"/>
                <a:gd name="connsiteX34" fmla="*/ 214094 w 329935"/>
                <a:gd name="connsiteY34" fmla="*/ 189688 h 455051"/>
                <a:gd name="connsiteX35" fmla="*/ 238229 w 329935"/>
                <a:gd name="connsiteY35" fmla="*/ 189688 h 455051"/>
                <a:gd name="connsiteX36" fmla="*/ 262362 w 329935"/>
                <a:gd name="connsiteY36" fmla="*/ 165554 h 455051"/>
                <a:gd name="connsiteX37" fmla="*/ 262362 w 329935"/>
                <a:gd name="connsiteY37" fmla="*/ 141419 h 455051"/>
                <a:gd name="connsiteX38" fmla="*/ 91707 w 329935"/>
                <a:gd name="connsiteY38" fmla="*/ 141419 h 455051"/>
                <a:gd name="connsiteX39" fmla="*/ 67572 w 329935"/>
                <a:gd name="connsiteY39" fmla="*/ 141419 h 455051"/>
                <a:gd name="connsiteX40" fmla="*/ 67572 w 329935"/>
                <a:gd name="connsiteY40" fmla="*/ 165554 h 455051"/>
                <a:gd name="connsiteX41" fmla="*/ 91707 w 329935"/>
                <a:gd name="connsiteY41" fmla="*/ 189688 h 455051"/>
                <a:gd name="connsiteX42" fmla="*/ 115841 w 329935"/>
                <a:gd name="connsiteY42" fmla="*/ 189688 h 455051"/>
                <a:gd name="connsiteX43" fmla="*/ 115841 w 329935"/>
                <a:gd name="connsiteY43" fmla="*/ 165554 h 455051"/>
                <a:gd name="connsiteX44" fmla="*/ 91707 w 329935"/>
                <a:gd name="connsiteY44" fmla="*/ 141419 h 45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29935" h="455051">
                  <a:moveTo>
                    <a:pt x="245472" y="386776"/>
                  </a:moveTo>
                  <a:lnTo>
                    <a:pt x="238857" y="415412"/>
                  </a:lnTo>
                  <a:cubicBezTo>
                    <a:pt x="233779" y="437331"/>
                    <a:pt x="215056" y="453204"/>
                    <a:pt x="192921" y="454902"/>
                  </a:cubicBezTo>
                  <a:lnTo>
                    <a:pt x="188982" y="455052"/>
                  </a:lnTo>
                  <a:lnTo>
                    <a:pt x="140932" y="455052"/>
                  </a:lnTo>
                  <a:cubicBezTo>
                    <a:pt x="118419" y="455052"/>
                    <a:pt x="98719" y="440378"/>
                    <a:pt x="92081" y="419182"/>
                  </a:cubicBezTo>
                  <a:lnTo>
                    <a:pt x="91047" y="415375"/>
                  </a:lnTo>
                  <a:lnTo>
                    <a:pt x="84441" y="386776"/>
                  </a:lnTo>
                  <a:lnTo>
                    <a:pt x="245472" y="386776"/>
                  </a:lnTo>
                  <a:close/>
                  <a:moveTo>
                    <a:pt x="164968" y="0"/>
                  </a:moveTo>
                  <a:cubicBezTo>
                    <a:pt x="256078" y="0"/>
                    <a:pt x="329935" y="73858"/>
                    <a:pt x="329935" y="164968"/>
                  </a:cubicBezTo>
                  <a:cubicBezTo>
                    <a:pt x="329935" y="213582"/>
                    <a:pt x="308647" y="258108"/>
                    <a:pt x="267011" y="297868"/>
                  </a:cubicBezTo>
                  <a:cubicBezTo>
                    <a:pt x="266208" y="298635"/>
                    <a:pt x="265648" y="299621"/>
                    <a:pt x="265398" y="300701"/>
                  </a:cubicBezTo>
                  <a:lnTo>
                    <a:pt x="253390" y="352645"/>
                  </a:lnTo>
                  <a:lnTo>
                    <a:pt x="182033" y="352645"/>
                  </a:lnTo>
                  <a:lnTo>
                    <a:pt x="182033" y="199084"/>
                  </a:lnTo>
                  <a:cubicBezTo>
                    <a:pt x="182033" y="189659"/>
                    <a:pt x="174392" y="182018"/>
                    <a:pt x="164968" y="182018"/>
                  </a:cubicBezTo>
                  <a:cubicBezTo>
                    <a:pt x="155543" y="182018"/>
                    <a:pt x="147902" y="189659"/>
                    <a:pt x="147902" y="199084"/>
                  </a:cubicBezTo>
                  <a:lnTo>
                    <a:pt x="147902" y="352645"/>
                  </a:lnTo>
                  <a:lnTo>
                    <a:pt x="76545" y="352645"/>
                  </a:lnTo>
                  <a:lnTo>
                    <a:pt x="64577" y="300706"/>
                  </a:lnTo>
                  <a:cubicBezTo>
                    <a:pt x="64326" y="299623"/>
                    <a:pt x="63765" y="298638"/>
                    <a:pt x="62961" y="297868"/>
                  </a:cubicBezTo>
                  <a:cubicBezTo>
                    <a:pt x="21302" y="258108"/>
                    <a:pt x="0" y="213582"/>
                    <a:pt x="0" y="164968"/>
                  </a:cubicBezTo>
                  <a:cubicBezTo>
                    <a:pt x="0" y="73858"/>
                    <a:pt x="73858" y="0"/>
                    <a:pt x="164968" y="0"/>
                  </a:cubicBezTo>
                  <a:close/>
                  <a:moveTo>
                    <a:pt x="147902" y="108077"/>
                  </a:moveTo>
                  <a:lnTo>
                    <a:pt x="147902" y="142209"/>
                  </a:lnTo>
                  <a:cubicBezTo>
                    <a:pt x="147902" y="151634"/>
                    <a:pt x="155543" y="159274"/>
                    <a:pt x="164968" y="159274"/>
                  </a:cubicBezTo>
                  <a:cubicBezTo>
                    <a:pt x="174392" y="159274"/>
                    <a:pt x="182033" y="151634"/>
                    <a:pt x="182033" y="142209"/>
                  </a:cubicBezTo>
                  <a:lnTo>
                    <a:pt x="182033" y="108077"/>
                  </a:lnTo>
                  <a:cubicBezTo>
                    <a:pt x="182033" y="98652"/>
                    <a:pt x="174392" y="91011"/>
                    <a:pt x="164968" y="91011"/>
                  </a:cubicBezTo>
                  <a:cubicBezTo>
                    <a:pt x="155543" y="91011"/>
                    <a:pt x="147902" y="98652"/>
                    <a:pt x="147902" y="108077"/>
                  </a:cubicBezTo>
                  <a:close/>
                  <a:moveTo>
                    <a:pt x="262362" y="141419"/>
                  </a:moveTo>
                  <a:cubicBezTo>
                    <a:pt x="255698" y="134755"/>
                    <a:pt x="244894" y="134755"/>
                    <a:pt x="238229" y="141419"/>
                  </a:cubicBezTo>
                  <a:lnTo>
                    <a:pt x="214094" y="165554"/>
                  </a:lnTo>
                  <a:cubicBezTo>
                    <a:pt x="207429" y="172219"/>
                    <a:pt x="207429" y="183024"/>
                    <a:pt x="214094" y="189688"/>
                  </a:cubicBezTo>
                  <a:cubicBezTo>
                    <a:pt x="220759" y="196353"/>
                    <a:pt x="231565" y="196353"/>
                    <a:pt x="238229" y="189688"/>
                  </a:cubicBezTo>
                  <a:lnTo>
                    <a:pt x="262362" y="165554"/>
                  </a:lnTo>
                  <a:cubicBezTo>
                    <a:pt x="269027" y="158889"/>
                    <a:pt x="269027" y="148084"/>
                    <a:pt x="262362" y="141419"/>
                  </a:cubicBezTo>
                  <a:close/>
                  <a:moveTo>
                    <a:pt x="91707" y="141419"/>
                  </a:moveTo>
                  <a:cubicBezTo>
                    <a:pt x="85042" y="134755"/>
                    <a:pt x="74237" y="134755"/>
                    <a:pt x="67572" y="141419"/>
                  </a:cubicBezTo>
                  <a:cubicBezTo>
                    <a:pt x="60908" y="148084"/>
                    <a:pt x="60908" y="158889"/>
                    <a:pt x="67572" y="165554"/>
                  </a:cubicBezTo>
                  <a:lnTo>
                    <a:pt x="91707" y="189688"/>
                  </a:lnTo>
                  <a:cubicBezTo>
                    <a:pt x="98372" y="196353"/>
                    <a:pt x="109177" y="196353"/>
                    <a:pt x="115841" y="189688"/>
                  </a:cubicBezTo>
                  <a:cubicBezTo>
                    <a:pt x="122506" y="183024"/>
                    <a:pt x="122506" y="172219"/>
                    <a:pt x="115841" y="165554"/>
                  </a:cubicBezTo>
                  <a:lnTo>
                    <a:pt x="91707" y="14141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2FD7D2CA-142D-9AD6-59F3-25F9F34FB763}"/>
              </a:ext>
            </a:extLst>
          </p:cNvPr>
          <p:cNvSpPr txBox="1"/>
          <p:nvPr/>
        </p:nvSpPr>
        <p:spPr>
          <a:xfrm>
            <a:off x="934557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Enrich employee experience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54FE6FF-3C9B-000D-DF88-EBC2F8DA79C7}"/>
              </a:ext>
            </a:extLst>
          </p:cNvPr>
          <p:cNvSpPr txBox="1"/>
          <p:nvPr/>
        </p:nvSpPr>
        <p:spPr>
          <a:xfrm>
            <a:off x="3573829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Reinvent customer engageme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8FCFC3D-C769-0643-AD33-36C516382C5F}"/>
              </a:ext>
            </a:extLst>
          </p:cNvPr>
          <p:cNvSpPr txBox="1"/>
          <p:nvPr/>
        </p:nvSpPr>
        <p:spPr>
          <a:xfrm>
            <a:off x="6213101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Reshape business process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CF88FDE-913C-B196-7BBE-E5479FDF314E}"/>
              </a:ext>
            </a:extLst>
          </p:cNvPr>
          <p:cNvSpPr txBox="1"/>
          <p:nvPr/>
        </p:nvSpPr>
        <p:spPr>
          <a:xfrm>
            <a:off x="8852375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Bend the curve</a:t>
            </a:r>
            <a:b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on innov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A0D292-31A5-0E6C-62A0-0853702F733A}"/>
              </a:ext>
            </a:extLst>
          </p:cNvPr>
          <p:cNvSpPr txBox="1">
            <a:spLocks/>
          </p:cNvSpPr>
          <p:nvPr/>
        </p:nvSpPr>
        <p:spPr>
          <a:xfrm>
            <a:off x="1155353" y="3561117"/>
            <a:ext cx="1963478" cy="73866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enhancing insurance agent productivity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4742FA-C311-6A3A-04C2-DB07700133C6}"/>
              </a:ext>
            </a:extLst>
          </p:cNvPr>
          <p:cNvSpPr txBox="1">
            <a:spLocks/>
          </p:cNvSpPr>
          <p:nvPr/>
        </p:nvSpPr>
        <p:spPr>
          <a:xfrm>
            <a:off x="3779288" y="3561117"/>
            <a:ext cx="1994154" cy="98488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>
              <a:spcAft>
                <a:spcPts val="800"/>
              </a:spcAft>
              <a:defRPr/>
            </a:pPr>
            <a:r>
              <a:rPr lang="en-US" sz="1600"/>
              <a:t>By deploying AI to help customers make the best policy cho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FDDC1E-9FAD-8F5B-4AE1-E74D7439FA1C}"/>
              </a:ext>
            </a:extLst>
          </p:cNvPr>
          <p:cNvSpPr txBox="1">
            <a:spLocks/>
          </p:cNvSpPr>
          <p:nvPr/>
        </p:nvSpPr>
        <p:spPr>
          <a:xfrm>
            <a:off x="6341381" y="3561117"/>
            <a:ext cx="2148514" cy="4924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transforming the underwriting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1BCE12-4475-05DB-9252-96B03E34C4B1}"/>
              </a:ext>
            </a:extLst>
          </p:cNvPr>
          <p:cNvSpPr txBox="1">
            <a:spLocks/>
          </p:cNvSpPr>
          <p:nvPr/>
        </p:nvSpPr>
        <p:spPr>
          <a:xfrm>
            <a:off x="9073173" y="3561117"/>
            <a:ext cx="1963474" cy="73866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unlocking innovation in design and engineerin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B927349-6194-F81A-9315-7318C13B5E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456728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AAA5B49-FEA5-03BC-F857-FCF03503F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096000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8E6A8CF-58CE-B034-2ECA-73FE999BBD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735272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3" name="TextBox 12">
            <a:extLst>
              <a:ext uri="{FF2B5EF4-FFF2-40B4-BE49-F238E27FC236}">
                <a16:creationId xmlns:a16="http://schemas.microsoft.com/office/drawing/2014/main" id="{E11E58C9-CEF1-C69C-0A41-C69554287E6C}"/>
              </a:ext>
            </a:extLst>
          </p:cNvPr>
          <p:cNvSpPr txBox="1"/>
          <p:nvPr/>
        </p:nvSpPr>
        <p:spPr>
          <a:xfrm>
            <a:off x="3861272" y="5182460"/>
            <a:ext cx="4472500" cy="338554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 defTabSz="932742" fontAlgn="base">
              <a:spcBef>
                <a:spcPct val="0"/>
              </a:spcBef>
              <a:spcAft>
                <a:spcPct val="0"/>
              </a:spcAft>
              <a:buSzPct val="90000"/>
              <a:defRPr/>
            </a:pPr>
            <a:r>
              <a:rPr lang="en-US" sz="1600" b="1">
                <a:ln w="3175">
                  <a:noFill/>
                </a:ln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cs typeface="Segoe UI" pitchFamily="34" charset="0"/>
              </a:rPr>
              <a:t>Establish a secure and compliant foundation</a:t>
            </a:r>
          </a:p>
        </p:txBody>
      </p:sp>
      <p:sp>
        <p:nvSpPr>
          <p:cNvPr id="22" name="Rectangle: Rounded Corners 7">
            <a:extLst>
              <a:ext uri="{FF2B5EF4-FFF2-40B4-BE49-F238E27FC236}">
                <a16:creationId xmlns:a16="http://schemas.microsoft.com/office/drawing/2014/main" id="{EB7B2AB1-C2AE-1BF4-0041-AD45BF5D5DF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12690" y="5727664"/>
            <a:ext cx="10580239" cy="451342"/>
          </a:xfrm>
          <a:prstGeom prst="roundRect">
            <a:avLst>
              <a:gd name="adj" fmla="val 43332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Next step: schedule an agentic workshop</a:t>
            </a:r>
          </a:p>
        </p:txBody>
      </p:sp>
      <p:sp>
        <p:nvSpPr>
          <p:cNvPr id="28" name="Graphic 26">
            <a:extLst>
              <a:ext uri="{FF2B5EF4-FFF2-40B4-BE49-F238E27FC236}">
                <a16:creationId xmlns:a16="http://schemas.microsoft.com/office/drawing/2014/main" id="{26E2DE28-9CC5-9DEE-38F1-02A680A0C2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31659" y="5852155"/>
            <a:ext cx="202361" cy="202361"/>
          </a:xfrm>
          <a:custGeom>
            <a:avLst/>
            <a:gdLst>
              <a:gd name="connsiteX0" fmla="*/ 140217 w 280434"/>
              <a:gd name="connsiteY0" fmla="*/ 0 h 280434"/>
              <a:gd name="connsiteX1" fmla="*/ 280434 w 280434"/>
              <a:gd name="connsiteY1" fmla="*/ 140217 h 280434"/>
              <a:gd name="connsiteX2" fmla="*/ 140217 w 280434"/>
              <a:gd name="connsiteY2" fmla="*/ 280434 h 280434"/>
              <a:gd name="connsiteX3" fmla="*/ 0 w 280434"/>
              <a:gd name="connsiteY3" fmla="*/ 140217 h 280434"/>
              <a:gd name="connsiteX4" fmla="*/ 140217 w 280434"/>
              <a:gd name="connsiteY4" fmla="*/ 0 h 280434"/>
              <a:gd name="connsiteX5" fmla="*/ 151168 w 280434"/>
              <a:gd name="connsiteY5" fmla="*/ 76685 h 280434"/>
              <a:gd name="connsiteX6" fmla="*/ 149990 w 280434"/>
              <a:gd name="connsiteY6" fmla="*/ 75661 h 280434"/>
              <a:gd name="connsiteX7" fmla="*/ 137609 w 280434"/>
              <a:gd name="connsiteY7" fmla="*/ 75563 h 280434"/>
              <a:gd name="connsiteX8" fmla="*/ 136291 w 280434"/>
              <a:gd name="connsiteY8" fmla="*/ 76685 h 280434"/>
              <a:gd name="connsiteX9" fmla="*/ 135281 w 280434"/>
              <a:gd name="connsiteY9" fmla="*/ 77863 h 280434"/>
              <a:gd name="connsiteX10" fmla="*/ 135183 w 280434"/>
              <a:gd name="connsiteY10" fmla="*/ 90244 h 280434"/>
              <a:gd name="connsiteX11" fmla="*/ 136305 w 280434"/>
              <a:gd name="connsiteY11" fmla="*/ 91562 h 280434"/>
              <a:gd name="connsiteX12" fmla="*/ 174430 w 280434"/>
              <a:gd name="connsiteY12" fmla="*/ 129701 h 280434"/>
              <a:gd name="connsiteX13" fmla="*/ 80625 w 280434"/>
              <a:gd name="connsiteY13" fmla="*/ 129701 h 280434"/>
              <a:gd name="connsiteX14" fmla="*/ 79195 w 280434"/>
              <a:gd name="connsiteY14" fmla="*/ 129785 h 280434"/>
              <a:gd name="connsiteX15" fmla="*/ 70207 w 280434"/>
              <a:gd name="connsiteY15" fmla="*/ 138787 h 280434"/>
              <a:gd name="connsiteX16" fmla="*/ 70109 w 280434"/>
              <a:gd name="connsiteY16" fmla="*/ 140203 h 280434"/>
              <a:gd name="connsiteX17" fmla="*/ 70207 w 280434"/>
              <a:gd name="connsiteY17" fmla="*/ 141633 h 280434"/>
              <a:gd name="connsiteX18" fmla="*/ 79195 w 280434"/>
              <a:gd name="connsiteY18" fmla="*/ 150621 h 280434"/>
              <a:gd name="connsiteX19" fmla="*/ 80625 w 280434"/>
              <a:gd name="connsiteY19" fmla="*/ 150719 h 280434"/>
              <a:gd name="connsiteX20" fmla="*/ 174430 w 280434"/>
              <a:gd name="connsiteY20" fmla="*/ 150719 h 280434"/>
              <a:gd name="connsiteX21" fmla="*/ 136291 w 280434"/>
              <a:gd name="connsiteY21" fmla="*/ 188858 h 280434"/>
              <a:gd name="connsiteX22" fmla="*/ 135267 w 280434"/>
              <a:gd name="connsiteY22" fmla="*/ 190050 h 280434"/>
              <a:gd name="connsiteX23" fmla="*/ 137371 w 280434"/>
              <a:gd name="connsiteY23" fmla="*/ 204773 h 280434"/>
              <a:gd name="connsiteX24" fmla="*/ 149990 w 280434"/>
              <a:gd name="connsiteY24" fmla="*/ 204773 h 280434"/>
              <a:gd name="connsiteX25" fmla="*/ 151154 w 280434"/>
              <a:gd name="connsiteY25" fmla="*/ 203749 h 280434"/>
              <a:gd name="connsiteX26" fmla="*/ 207269 w 280434"/>
              <a:gd name="connsiteY26" fmla="*/ 147663 h 280434"/>
              <a:gd name="connsiteX27" fmla="*/ 208278 w 280434"/>
              <a:gd name="connsiteY27" fmla="*/ 146471 h 280434"/>
              <a:gd name="connsiteX28" fmla="*/ 208391 w 280434"/>
              <a:gd name="connsiteY28" fmla="*/ 134104 h 280434"/>
              <a:gd name="connsiteX29" fmla="*/ 207269 w 280434"/>
              <a:gd name="connsiteY29" fmla="*/ 132786 h 280434"/>
              <a:gd name="connsiteX30" fmla="*/ 151182 w 280434"/>
              <a:gd name="connsiteY30" fmla="*/ 76685 h 280434"/>
              <a:gd name="connsiteX31" fmla="*/ 149990 w 280434"/>
              <a:gd name="connsiteY31" fmla="*/ 75661 h 280434"/>
              <a:gd name="connsiteX32" fmla="*/ 151168 w 280434"/>
              <a:gd name="connsiteY32" fmla="*/ 76685 h 280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0434" h="280434">
                <a:moveTo>
                  <a:pt x="140217" y="0"/>
                </a:moveTo>
                <a:cubicBezTo>
                  <a:pt x="217673" y="0"/>
                  <a:pt x="280434" y="62775"/>
                  <a:pt x="280434" y="140217"/>
                </a:cubicBezTo>
                <a:cubicBezTo>
                  <a:pt x="280434" y="217659"/>
                  <a:pt x="217673" y="280434"/>
                  <a:pt x="140217" y="280434"/>
                </a:cubicBezTo>
                <a:cubicBezTo>
                  <a:pt x="62789" y="280434"/>
                  <a:pt x="0" y="217659"/>
                  <a:pt x="0" y="140217"/>
                </a:cubicBezTo>
                <a:cubicBezTo>
                  <a:pt x="0" y="62775"/>
                  <a:pt x="62789" y="0"/>
                  <a:pt x="140217" y="0"/>
                </a:cubicBezTo>
                <a:close/>
                <a:moveTo>
                  <a:pt x="151168" y="76685"/>
                </a:moveTo>
                <a:lnTo>
                  <a:pt x="149990" y="75661"/>
                </a:lnTo>
                <a:cubicBezTo>
                  <a:pt x="146322" y="72945"/>
                  <a:pt x="141321" y="72905"/>
                  <a:pt x="137609" y="75563"/>
                </a:cubicBezTo>
                <a:lnTo>
                  <a:pt x="136291" y="76685"/>
                </a:lnTo>
                <a:lnTo>
                  <a:pt x="135281" y="77863"/>
                </a:lnTo>
                <a:cubicBezTo>
                  <a:pt x="132565" y="81531"/>
                  <a:pt x="132526" y="86533"/>
                  <a:pt x="135183" y="90244"/>
                </a:cubicBezTo>
                <a:lnTo>
                  <a:pt x="136305" y="91562"/>
                </a:lnTo>
                <a:lnTo>
                  <a:pt x="174430" y="129701"/>
                </a:lnTo>
                <a:lnTo>
                  <a:pt x="80625" y="129701"/>
                </a:lnTo>
                <a:lnTo>
                  <a:pt x="79195" y="129785"/>
                </a:lnTo>
                <a:cubicBezTo>
                  <a:pt x="74518" y="130429"/>
                  <a:pt x="70842" y="134109"/>
                  <a:pt x="70207" y="138787"/>
                </a:cubicBezTo>
                <a:lnTo>
                  <a:pt x="70109" y="140203"/>
                </a:lnTo>
                <a:lnTo>
                  <a:pt x="70207" y="141633"/>
                </a:lnTo>
                <a:cubicBezTo>
                  <a:pt x="70848" y="146305"/>
                  <a:pt x="74522" y="149979"/>
                  <a:pt x="79195" y="150621"/>
                </a:cubicBezTo>
                <a:lnTo>
                  <a:pt x="80625" y="150719"/>
                </a:lnTo>
                <a:lnTo>
                  <a:pt x="174430" y="150719"/>
                </a:lnTo>
                <a:lnTo>
                  <a:pt x="136291" y="188858"/>
                </a:lnTo>
                <a:lnTo>
                  <a:pt x="135267" y="190050"/>
                </a:lnTo>
                <a:cubicBezTo>
                  <a:pt x="131783" y="194697"/>
                  <a:pt x="132724" y="201289"/>
                  <a:pt x="137371" y="204773"/>
                </a:cubicBezTo>
                <a:cubicBezTo>
                  <a:pt x="141110" y="207577"/>
                  <a:pt x="146251" y="207577"/>
                  <a:pt x="149990" y="204773"/>
                </a:cubicBezTo>
                <a:lnTo>
                  <a:pt x="151154" y="203749"/>
                </a:lnTo>
                <a:lnTo>
                  <a:pt x="207269" y="147663"/>
                </a:lnTo>
                <a:lnTo>
                  <a:pt x="208278" y="146471"/>
                </a:lnTo>
                <a:cubicBezTo>
                  <a:pt x="210992" y="142808"/>
                  <a:pt x="211038" y="137815"/>
                  <a:pt x="208391" y="134104"/>
                </a:cubicBezTo>
                <a:lnTo>
                  <a:pt x="207269" y="132786"/>
                </a:lnTo>
                <a:lnTo>
                  <a:pt x="151182" y="76685"/>
                </a:lnTo>
                <a:lnTo>
                  <a:pt x="149990" y="75661"/>
                </a:lnTo>
                <a:lnTo>
                  <a:pt x="151168" y="76685"/>
                </a:lnTo>
                <a:close/>
              </a:path>
            </a:pathLst>
          </a:custGeom>
          <a:solidFill>
            <a:schemeClr val="tx1"/>
          </a:solidFill>
          <a:ln w="1389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8139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16667E-6 0 L -4.166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45833E-6 0 L -1.45833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45833E-6 -4.44444E-6 L 1.45833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375E-6 -4.44444E-6 L 4.375E-6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4" grpId="0"/>
      <p:bldP spid="4" grpId="1"/>
      <p:bldP spid="5" grpId="0"/>
      <p:bldP spid="5" grpId="1"/>
      <p:bldP spid="6" grpId="0"/>
      <p:bldP spid="6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4DF741-DBC5-2464-026E-8A9A7AAFC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F6AE4B82-7C2C-2CFC-0B67-9969712D9D4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88262" y="-762000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0" i="0" u="none" strike="noStrike" kern="1200" cap="none" spc="-50" normalizeH="0" baseline="0" noProof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Becoming Frontier: Capital marke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545FCB-8F13-FAC7-3B16-FE39EA711B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34561" y="2220635"/>
            <a:ext cx="2405062" cy="2082676"/>
          </a:xfrm>
          <a:prstGeom prst="roundRect">
            <a:avLst>
              <a:gd name="adj" fmla="val 18805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EE48DA-25BA-6FF0-673C-0464801523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573834" y="2220635"/>
            <a:ext cx="2405062" cy="2082676"/>
          </a:xfrm>
          <a:prstGeom prst="roundRect">
            <a:avLst>
              <a:gd name="adj" fmla="val 18805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2F5E79A-54E6-F188-D4E7-1897942295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13107" y="2220635"/>
            <a:ext cx="2405062" cy="2082676"/>
          </a:xfrm>
          <a:prstGeom prst="roundRect">
            <a:avLst>
              <a:gd name="adj" fmla="val 18805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BBC6E5-36E0-3566-11F0-0807D90AD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852379" y="2220635"/>
            <a:ext cx="2405062" cy="2082676"/>
          </a:xfrm>
          <a:prstGeom prst="roundRect">
            <a:avLst>
              <a:gd name="adj" fmla="val 1824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4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/>
          </a:p>
        </p:txBody>
      </p:sp>
      <p:sp useBgFill="1">
        <p:nvSpPr>
          <p:cNvPr id="33" name="TextBox 32">
            <a:extLst>
              <a:ext uri="{FF2B5EF4-FFF2-40B4-BE49-F238E27FC236}">
                <a16:creationId xmlns:a16="http://schemas.microsoft.com/office/drawing/2014/main" id="{E2011F4E-E0FB-1B76-DE26-FB3E93B226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802114" y="3220334"/>
            <a:ext cx="10590816" cy="2131404"/>
          </a:xfrm>
          <a:prstGeom prst="roundRect">
            <a:avLst>
              <a:gd name="adj" fmla="val 17135"/>
            </a:avLst>
          </a:prstGeom>
          <a:ln w="19050" cap="rnd">
            <a:gradFill flip="none" rotWithShape="1">
              <a:gsLst>
                <a:gs pos="79000">
                  <a:srgbClr val="41AFA1"/>
                </a:gs>
                <a:gs pos="0">
                  <a:srgbClr val="46A0DE"/>
                </a:gs>
              </a:gsLst>
              <a:lin ang="10800000" scaled="1"/>
              <a:tileRect/>
            </a:gra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100" b="1">
                <a:ln w="3175">
                  <a:noFill/>
                </a:ln>
                <a:gradFill>
                  <a:gsLst>
                    <a:gs pos="85321">
                      <a:srgbClr val="000000"/>
                    </a:gs>
                    <a:gs pos="78000">
                      <a:srgbClr val="000000"/>
                    </a:gs>
                  </a:gsLst>
                  <a:path path="circle">
                    <a:fillToRect l="100000" b="100000"/>
                  </a:path>
                </a:gradFill>
                <a:latin typeface="Segoe UI Variable Display Semibold" pitchFamily="2" charset="0"/>
                <a:cs typeface="Segoe UI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 defTabSz="1427220" fontAlgn="auto">
              <a:spcBef>
                <a:spcPts val="1800"/>
              </a:spcBef>
              <a:spcAft>
                <a:spcPts val="0"/>
              </a:spcAft>
              <a:tabLst/>
              <a:defRPr/>
            </a:pPr>
            <a:endParaRPr lang="en-US" sz="1100" b="1"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118EC99-F12F-1BEA-80FF-D20FDDBECEE0}"/>
              </a:ext>
            </a:extLst>
          </p:cNvPr>
          <p:cNvSpPr>
            <a:spLocks/>
          </p:cNvSpPr>
          <p:nvPr/>
        </p:nvSpPr>
        <p:spPr>
          <a:xfrm>
            <a:off x="588262" y="457200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Becoming Frontier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BDE8E9C3-995B-DE4C-853B-07098E4347F6}"/>
              </a:ext>
            </a:extLst>
          </p:cNvPr>
          <p:cNvSpPr txBox="1">
            <a:spLocks/>
          </p:cNvSpPr>
          <p:nvPr/>
        </p:nvSpPr>
        <p:spPr>
          <a:xfrm>
            <a:off x="4283883" y="1011198"/>
            <a:ext cx="3627278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2800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Capital markets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7E35DC8-F04C-765F-DEA1-ACC17BDD3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878959" y="1954457"/>
            <a:ext cx="516266" cy="516266"/>
            <a:chOff x="1599109" y="1884989"/>
            <a:chExt cx="829309" cy="829309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DAFB0F5-4187-C815-72B5-C7C1E0A2016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599109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49" name="Graphic 30" descr="Icon of two people">
              <a:extLst>
                <a:ext uri="{FF2B5EF4-FFF2-40B4-BE49-F238E27FC236}">
                  <a16:creationId xmlns:a16="http://schemas.microsoft.com/office/drawing/2014/main" id="{8C5E2A95-5C36-3655-A33A-5D6EAD651621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35977" y="2134589"/>
              <a:ext cx="388368" cy="330108"/>
            </a:xfrm>
            <a:custGeom>
              <a:avLst/>
              <a:gdLst>
                <a:gd name="connsiteX0" fmla="*/ 145993 w 486649"/>
                <a:gd name="connsiteY0" fmla="*/ 194658 h 413647"/>
                <a:gd name="connsiteX1" fmla="*/ 243322 w 486649"/>
                <a:gd name="connsiteY1" fmla="*/ 97329 h 413647"/>
                <a:gd name="connsiteX2" fmla="*/ 145993 w 486649"/>
                <a:gd name="connsiteY2" fmla="*/ 0 h 413647"/>
                <a:gd name="connsiteX3" fmla="*/ 48664 w 486649"/>
                <a:gd name="connsiteY3" fmla="*/ 97329 h 413647"/>
                <a:gd name="connsiteX4" fmla="*/ 145993 w 486649"/>
                <a:gd name="connsiteY4" fmla="*/ 194658 h 413647"/>
                <a:gd name="connsiteX5" fmla="*/ 364983 w 486649"/>
                <a:gd name="connsiteY5" fmla="*/ 194658 h 413647"/>
                <a:gd name="connsiteX6" fmla="*/ 437980 w 486649"/>
                <a:gd name="connsiteY6" fmla="*/ 121661 h 413647"/>
                <a:gd name="connsiteX7" fmla="*/ 364983 w 486649"/>
                <a:gd name="connsiteY7" fmla="*/ 48664 h 413647"/>
                <a:gd name="connsiteX8" fmla="*/ 291987 w 486649"/>
                <a:gd name="connsiteY8" fmla="*/ 121661 h 413647"/>
                <a:gd name="connsiteX9" fmla="*/ 364983 w 486649"/>
                <a:gd name="connsiteY9" fmla="*/ 194658 h 413647"/>
                <a:gd name="connsiteX10" fmla="*/ 54747 w 486649"/>
                <a:gd name="connsiteY10" fmla="*/ 243322 h 413647"/>
                <a:gd name="connsiteX11" fmla="*/ 0 w 486649"/>
                <a:gd name="connsiteY11" fmla="*/ 298070 h 413647"/>
                <a:gd name="connsiteX12" fmla="*/ 0 w 486649"/>
                <a:gd name="connsiteY12" fmla="*/ 304153 h 413647"/>
                <a:gd name="connsiteX13" fmla="*/ 145993 w 486649"/>
                <a:gd name="connsiteY13" fmla="*/ 413648 h 413647"/>
                <a:gd name="connsiteX14" fmla="*/ 291987 w 486649"/>
                <a:gd name="connsiteY14" fmla="*/ 304153 h 413647"/>
                <a:gd name="connsiteX15" fmla="*/ 291987 w 486649"/>
                <a:gd name="connsiteY15" fmla="*/ 298070 h 413647"/>
                <a:gd name="connsiteX16" fmla="*/ 237239 w 486649"/>
                <a:gd name="connsiteY16" fmla="*/ 243322 h 413647"/>
                <a:gd name="connsiteX17" fmla="*/ 54747 w 486649"/>
                <a:gd name="connsiteY17" fmla="*/ 243322 h 413647"/>
                <a:gd name="connsiteX18" fmla="*/ 364988 w 486649"/>
                <a:gd name="connsiteY18" fmla="*/ 377149 h 413647"/>
                <a:gd name="connsiteX19" fmla="*/ 297955 w 486649"/>
                <a:gd name="connsiteY19" fmla="*/ 365995 h 413647"/>
                <a:gd name="connsiteX20" fmla="*/ 313214 w 486649"/>
                <a:gd name="connsiteY20" fmla="*/ 328086 h 413647"/>
                <a:gd name="connsiteX21" fmla="*/ 315864 w 486649"/>
                <a:gd name="connsiteY21" fmla="*/ 312311 h 413647"/>
                <a:gd name="connsiteX22" fmla="*/ 316246 w 486649"/>
                <a:gd name="connsiteY22" fmla="*/ 307162 h 413647"/>
                <a:gd name="connsiteX23" fmla="*/ 316309 w 486649"/>
                <a:gd name="connsiteY23" fmla="*/ 305377 h 413647"/>
                <a:gd name="connsiteX24" fmla="*/ 316321 w 486649"/>
                <a:gd name="connsiteY24" fmla="*/ 304693 h 413647"/>
                <a:gd name="connsiteX25" fmla="*/ 316324 w 486649"/>
                <a:gd name="connsiteY25" fmla="*/ 304403 h 413647"/>
                <a:gd name="connsiteX26" fmla="*/ 316324 w 486649"/>
                <a:gd name="connsiteY26" fmla="*/ 304274 h 413647"/>
                <a:gd name="connsiteX27" fmla="*/ 316324 w 486649"/>
                <a:gd name="connsiteY27" fmla="*/ 304211 h 413647"/>
                <a:gd name="connsiteX28" fmla="*/ 316324 w 486649"/>
                <a:gd name="connsiteY28" fmla="*/ 304153 h 413647"/>
                <a:gd name="connsiteX29" fmla="*/ 316324 w 486649"/>
                <a:gd name="connsiteY29" fmla="*/ 298070 h 413647"/>
                <a:gd name="connsiteX30" fmla="*/ 294364 w 486649"/>
                <a:gd name="connsiteY30" fmla="*/ 243378 h 413647"/>
                <a:gd name="connsiteX31" fmla="*/ 296858 w 486649"/>
                <a:gd name="connsiteY31" fmla="*/ 243322 h 413647"/>
                <a:gd name="connsiteX32" fmla="*/ 433118 w 486649"/>
                <a:gd name="connsiteY32" fmla="*/ 243322 h 413647"/>
                <a:gd name="connsiteX33" fmla="*/ 486649 w 486649"/>
                <a:gd name="connsiteY33" fmla="*/ 296853 h 413647"/>
                <a:gd name="connsiteX34" fmla="*/ 364988 w 486649"/>
                <a:gd name="connsiteY34" fmla="*/ 377149 h 413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86649" h="413647">
                  <a:moveTo>
                    <a:pt x="145993" y="194658"/>
                  </a:moveTo>
                  <a:cubicBezTo>
                    <a:pt x="199746" y="194658"/>
                    <a:pt x="243322" y="151081"/>
                    <a:pt x="243322" y="97329"/>
                  </a:cubicBezTo>
                  <a:cubicBezTo>
                    <a:pt x="243322" y="43576"/>
                    <a:pt x="199746" y="0"/>
                    <a:pt x="145993" y="0"/>
                  </a:cubicBezTo>
                  <a:cubicBezTo>
                    <a:pt x="92240" y="0"/>
                    <a:pt x="48664" y="43576"/>
                    <a:pt x="48664" y="97329"/>
                  </a:cubicBezTo>
                  <a:cubicBezTo>
                    <a:pt x="48664" y="151081"/>
                    <a:pt x="92240" y="194658"/>
                    <a:pt x="145993" y="194658"/>
                  </a:cubicBezTo>
                  <a:close/>
                  <a:moveTo>
                    <a:pt x="364983" y="194658"/>
                  </a:moveTo>
                  <a:cubicBezTo>
                    <a:pt x="405299" y="194658"/>
                    <a:pt x="437980" y="161977"/>
                    <a:pt x="437980" y="121661"/>
                  </a:cubicBezTo>
                  <a:cubicBezTo>
                    <a:pt x="437980" y="81346"/>
                    <a:pt x="405299" y="48664"/>
                    <a:pt x="364983" y="48664"/>
                  </a:cubicBezTo>
                  <a:cubicBezTo>
                    <a:pt x="324667" y="48664"/>
                    <a:pt x="291987" y="81346"/>
                    <a:pt x="291987" y="121661"/>
                  </a:cubicBezTo>
                  <a:cubicBezTo>
                    <a:pt x="291987" y="161977"/>
                    <a:pt x="324667" y="194658"/>
                    <a:pt x="364983" y="194658"/>
                  </a:cubicBezTo>
                  <a:close/>
                  <a:moveTo>
                    <a:pt x="54747" y="243322"/>
                  </a:moveTo>
                  <a:cubicBezTo>
                    <a:pt x="24511" y="243322"/>
                    <a:pt x="0" y="267834"/>
                    <a:pt x="0" y="298070"/>
                  </a:cubicBezTo>
                  <a:lnTo>
                    <a:pt x="0" y="304153"/>
                  </a:lnTo>
                  <a:cubicBezTo>
                    <a:pt x="0" y="304153"/>
                    <a:pt x="0" y="413648"/>
                    <a:pt x="145993" y="413648"/>
                  </a:cubicBezTo>
                  <a:cubicBezTo>
                    <a:pt x="291987" y="413648"/>
                    <a:pt x="291987" y="304153"/>
                    <a:pt x="291987" y="304153"/>
                  </a:cubicBezTo>
                  <a:lnTo>
                    <a:pt x="291987" y="298070"/>
                  </a:lnTo>
                  <a:cubicBezTo>
                    <a:pt x="291987" y="267834"/>
                    <a:pt x="267474" y="243322"/>
                    <a:pt x="237239" y="243322"/>
                  </a:cubicBezTo>
                  <a:lnTo>
                    <a:pt x="54747" y="243322"/>
                  </a:lnTo>
                  <a:close/>
                  <a:moveTo>
                    <a:pt x="364988" y="377149"/>
                  </a:moveTo>
                  <a:cubicBezTo>
                    <a:pt x="336490" y="377149"/>
                    <a:pt x="314667" y="372743"/>
                    <a:pt x="297955" y="365995"/>
                  </a:cubicBezTo>
                  <a:cubicBezTo>
                    <a:pt x="306277" y="352007"/>
                    <a:pt x="310769" y="338563"/>
                    <a:pt x="313214" y="328086"/>
                  </a:cubicBezTo>
                  <a:cubicBezTo>
                    <a:pt x="314684" y="321786"/>
                    <a:pt x="315455" y="316384"/>
                    <a:pt x="315864" y="312311"/>
                  </a:cubicBezTo>
                  <a:cubicBezTo>
                    <a:pt x="316068" y="310265"/>
                    <a:pt x="316182" y="308532"/>
                    <a:pt x="316246" y="307162"/>
                  </a:cubicBezTo>
                  <a:cubicBezTo>
                    <a:pt x="316277" y="306476"/>
                    <a:pt x="316297" y="305878"/>
                    <a:pt x="316309" y="305377"/>
                  </a:cubicBezTo>
                  <a:lnTo>
                    <a:pt x="316321" y="304693"/>
                  </a:lnTo>
                  <a:lnTo>
                    <a:pt x="316324" y="304403"/>
                  </a:lnTo>
                  <a:lnTo>
                    <a:pt x="316324" y="304274"/>
                  </a:lnTo>
                  <a:lnTo>
                    <a:pt x="316324" y="304211"/>
                  </a:lnTo>
                  <a:cubicBezTo>
                    <a:pt x="316324" y="304133"/>
                    <a:pt x="316324" y="304153"/>
                    <a:pt x="316324" y="304153"/>
                  </a:cubicBezTo>
                  <a:lnTo>
                    <a:pt x="316324" y="298070"/>
                  </a:lnTo>
                  <a:cubicBezTo>
                    <a:pt x="316324" y="276849"/>
                    <a:pt x="307965" y="257583"/>
                    <a:pt x="294364" y="243378"/>
                  </a:cubicBezTo>
                  <a:cubicBezTo>
                    <a:pt x="295189" y="243342"/>
                    <a:pt x="296021" y="243322"/>
                    <a:pt x="296858" y="243322"/>
                  </a:cubicBezTo>
                  <a:lnTo>
                    <a:pt x="433118" y="243322"/>
                  </a:lnTo>
                  <a:cubicBezTo>
                    <a:pt x="462682" y="243322"/>
                    <a:pt x="486649" y="267289"/>
                    <a:pt x="486649" y="296853"/>
                  </a:cubicBezTo>
                  <a:cubicBezTo>
                    <a:pt x="486649" y="296853"/>
                    <a:pt x="486649" y="377149"/>
                    <a:pt x="364988" y="37714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FE4DD21-0892-7D5D-7F04-F516436860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18232" y="1954457"/>
            <a:ext cx="516266" cy="516266"/>
            <a:chOff x="4320600" y="1884989"/>
            <a:chExt cx="829309" cy="829309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AB943F4B-648D-8FF1-560E-0744D11C4A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600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0" name="Graphic 27" descr="Icon of a chat bubble">
              <a:extLst>
                <a:ext uri="{FF2B5EF4-FFF2-40B4-BE49-F238E27FC236}">
                  <a16:creationId xmlns:a16="http://schemas.microsoft.com/office/drawing/2014/main" id="{3B63DAF8-AC05-0F33-B39D-7514786483C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46083" y="2129888"/>
              <a:ext cx="378342" cy="339510"/>
            </a:xfrm>
            <a:custGeom>
              <a:avLst/>
              <a:gdLst>
                <a:gd name="connsiteX0" fmla="*/ 157427 w 421134"/>
                <a:gd name="connsiteY0" fmla="*/ 0 h 377911"/>
                <a:gd name="connsiteX1" fmla="*/ 0 w 421134"/>
                <a:gd name="connsiteY1" fmla="*/ 157427 h 377911"/>
                <a:gd name="connsiteX2" fmla="*/ 14764 w 421134"/>
                <a:gd name="connsiteY2" fmla="*/ 224069 h 377911"/>
                <a:gd name="connsiteX3" fmla="*/ 456 w 421134"/>
                <a:gd name="connsiteY3" fmla="*/ 290029 h 377911"/>
                <a:gd name="connsiteX4" fmla="*/ 24662 w 421134"/>
                <a:gd name="connsiteY4" fmla="*/ 314592 h 377911"/>
                <a:gd name="connsiteX5" fmla="*/ 92597 w 421134"/>
                <a:gd name="connsiteY5" fmla="*/ 300923 h 377911"/>
                <a:gd name="connsiteX6" fmla="*/ 157427 w 421134"/>
                <a:gd name="connsiteY6" fmla="*/ 314854 h 377911"/>
                <a:gd name="connsiteX7" fmla="*/ 314854 w 421134"/>
                <a:gd name="connsiteY7" fmla="*/ 157427 h 377911"/>
                <a:gd name="connsiteX8" fmla="*/ 157427 w 421134"/>
                <a:gd name="connsiteY8" fmla="*/ 0 h 377911"/>
                <a:gd name="connsiteX9" fmla="*/ 156628 w 421134"/>
                <a:gd name="connsiteY9" fmla="*/ 335836 h 377911"/>
                <a:gd name="connsiteX10" fmla="*/ 263672 w 421134"/>
                <a:gd name="connsiteY10" fmla="*/ 377829 h 377911"/>
                <a:gd name="connsiteX11" fmla="*/ 328488 w 421134"/>
                <a:gd name="connsiteY11" fmla="*/ 363904 h 377911"/>
                <a:gd name="connsiteX12" fmla="*/ 389643 w 421134"/>
                <a:gd name="connsiteY12" fmla="*/ 377340 h 377911"/>
                <a:gd name="connsiteX13" fmla="*/ 420444 w 421134"/>
                <a:gd name="connsiteY13" fmla="*/ 345868 h 377911"/>
                <a:gd name="connsiteX14" fmla="*/ 406343 w 421134"/>
                <a:gd name="connsiteY14" fmla="*/ 287025 h 377911"/>
                <a:gd name="connsiteX15" fmla="*/ 421099 w 421134"/>
                <a:gd name="connsiteY15" fmla="*/ 220402 h 377911"/>
                <a:gd name="connsiteX16" fmla="*/ 315169 w 421134"/>
                <a:gd name="connsiteY16" fmla="*/ 71590 h 377911"/>
                <a:gd name="connsiteX17" fmla="*/ 331953 w 421134"/>
                <a:gd name="connsiteY17" fmla="*/ 114559 h 377911"/>
                <a:gd name="connsiteX18" fmla="*/ 389613 w 421134"/>
                <a:gd name="connsiteY18" fmla="*/ 220402 h 377911"/>
                <a:gd name="connsiteX19" fmla="*/ 375674 w 421134"/>
                <a:gd name="connsiteY19" fmla="*/ 278058 h 377911"/>
                <a:gd name="connsiteX20" fmla="*/ 372935 w 421134"/>
                <a:gd name="connsiteY20" fmla="*/ 283369 h 377911"/>
                <a:gd name="connsiteX21" fmla="*/ 374408 w 421134"/>
                <a:gd name="connsiteY21" fmla="*/ 289158 h 377911"/>
                <a:gd name="connsiteX22" fmla="*/ 387873 w 421134"/>
                <a:gd name="connsiteY22" fmla="*/ 344795 h 377911"/>
                <a:gd name="connsiteX23" fmla="*/ 330377 w 421134"/>
                <a:gd name="connsiteY23" fmla="*/ 331999 h 377911"/>
                <a:gd name="connsiteX24" fmla="*/ 324825 w 421134"/>
                <a:gd name="connsiteY24" fmla="*/ 330679 h 377911"/>
                <a:gd name="connsiteX25" fmla="*/ 319716 w 421134"/>
                <a:gd name="connsiteY25" fmla="*/ 333221 h 377911"/>
                <a:gd name="connsiteX26" fmla="*/ 263672 w 421134"/>
                <a:gd name="connsiteY26" fmla="*/ 346344 h 377911"/>
                <a:gd name="connsiteX27" fmla="*/ 202403 w 421134"/>
                <a:gd name="connsiteY27" fmla="*/ 330463 h 377911"/>
                <a:gd name="connsiteX28" fmla="*/ 158721 w 421134"/>
                <a:gd name="connsiteY28" fmla="*/ 335849 h 377911"/>
                <a:gd name="connsiteX29" fmla="*/ 156628 w 421134"/>
                <a:gd name="connsiteY29" fmla="*/ 335836 h 37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1134" h="377911">
                  <a:moveTo>
                    <a:pt x="157427" y="0"/>
                  </a:moveTo>
                  <a:cubicBezTo>
                    <a:pt x="70482" y="0"/>
                    <a:pt x="0" y="70482"/>
                    <a:pt x="0" y="157427"/>
                  </a:cubicBezTo>
                  <a:cubicBezTo>
                    <a:pt x="0" y="181220"/>
                    <a:pt x="5288" y="203816"/>
                    <a:pt x="14764" y="224069"/>
                  </a:cubicBezTo>
                  <a:cubicBezTo>
                    <a:pt x="8422" y="249784"/>
                    <a:pt x="2929" y="277250"/>
                    <a:pt x="456" y="290029"/>
                  </a:cubicBezTo>
                  <a:cubicBezTo>
                    <a:pt x="-2342" y="304491"/>
                    <a:pt x="10229" y="317161"/>
                    <a:pt x="24662" y="314592"/>
                  </a:cubicBezTo>
                  <a:cubicBezTo>
                    <a:pt x="37746" y="312262"/>
                    <a:pt x="66186" y="307019"/>
                    <a:pt x="92597" y="300923"/>
                  </a:cubicBezTo>
                  <a:cubicBezTo>
                    <a:pt x="112385" y="309875"/>
                    <a:pt x="134344" y="314854"/>
                    <a:pt x="157427" y="314854"/>
                  </a:cubicBezTo>
                  <a:cubicBezTo>
                    <a:pt x="244371" y="314854"/>
                    <a:pt x="314854" y="244371"/>
                    <a:pt x="314854" y="157427"/>
                  </a:cubicBezTo>
                  <a:cubicBezTo>
                    <a:pt x="314854" y="70482"/>
                    <a:pt x="244371" y="0"/>
                    <a:pt x="157427" y="0"/>
                  </a:cubicBezTo>
                  <a:close/>
                  <a:moveTo>
                    <a:pt x="156628" y="335836"/>
                  </a:moveTo>
                  <a:cubicBezTo>
                    <a:pt x="184717" y="361896"/>
                    <a:pt x="222333" y="377829"/>
                    <a:pt x="263672" y="377829"/>
                  </a:cubicBezTo>
                  <a:cubicBezTo>
                    <a:pt x="286750" y="377829"/>
                    <a:pt x="308704" y="372853"/>
                    <a:pt x="328488" y="363904"/>
                  </a:cubicBezTo>
                  <a:cubicBezTo>
                    <a:pt x="350397" y="369032"/>
                    <a:pt x="374379" y="374150"/>
                    <a:pt x="389643" y="377340"/>
                  </a:cubicBezTo>
                  <a:cubicBezTo>
                    <a:pt x="408375" y="381255"/>
                    <a:pt x="424734" y="364442"/>
                    <a:pt x="420444" y="345868"/>
                  </a:cubicBezTo>
                  <a:cubicBezTo>
                    <a:pt x="417033" y="331103"/>
                    <a:pt x="411655" y="308184"/>
                    <a:pt x="406343" y="287025"/>
                  </a:cubicBezTo>
                  <a:cubicBezTo>
                    <a:pt x="415813" y="266776"/>
                    <a:pt x="421099" y="244186"/>
                    <a:pt x="421099" y="220402"/>
                  </a:cubicBezTo>
                  <a:cubicBezTo>
                    <a:pt x="421099" y="151491"/>
                    <a:pt x="376824" y="92923"/>
                    <a:pt x="315169" y="71590"/>
                  </a:cubicBezTo>
                  <a:cubicBezTo>
                    <a:pt x="322522" y="84962"/>
                    <a:pt x="328210" y="99378"/>
                    <a:pt x="331953" y="114559"/>
                  </a:cubicBezTo>
                  <a:cubicBezTo>
                    <a:pt x="366650" y="136989"/>
                    <a:pt x="389613" y="176014"/>
                    <a:pt x="389613" y="220402"/>
                  </a:cubicBezTo>
                  <a:cubicBezTo>
                    <a:pt x="389613" y="241212"/>
                    <a:pt x="384578" y="260800"/>
                    <a:pt x="375674" y="278058"/>
                  </a:cubicBezTo>
                  <a:lnTo>
                    <a:pt x="372935" y="283369"/>
                  </a:lnTo>
                  <a:lnTo>
                    <a:pt x="374408" y="289158"/>
                  </a:lnTo>
                  <a:cubicBezTo>
                    <a:pt x="379190" y="307955"/>
                    <a:pt x="384200" y="329040"/>
                    <a:pt x="387873" y="344795"/>
                  </a:cubicBezTo>
                  <a:cubicBezTo>
                    <a:pt x="371625" y="341359"/>
                    <a:pt x="349721" y="336605"/>
                    <a:pt x="330377" y="331999"/>
                  </a:cubicBezTo>
                  <a:lnTo>
                    <a:pt x="324825" y="330679"/>
                  </a:lnTo>
                  <a:lnTo>
                    <a:pt x="319716" y="333221"/>
                  </a:lnTo>
                  <a:cubicBezTo>
                    <a:pt x="302854" y="341615"/>
                    <a:pt x="283837" y="346344"/>
                    <a:pt x="263672" y="346344"/>
                  </a:cubicBezTo>
                  <a:cubicBezTo>
                    <a:pt x="241432" y="346344"/>
                    <a:pt x="220539" y="340578"/>
                    <a:pt x="202403" y="330463"/>
                  </a:cubicBezTo>
                  <a:cubicBezTo>
                    <a:pt x="188426" y="333981"/>
                    <a:pt x="173791" y="335849"/>
                    <a:pt x="158721" y="335849"/>
                  </a:cubicBezTo>
                  <a:cubicBezTo>
                    <a:pt x="158022" y="335849"/>
                    <a:pt x="157325" y="335845"/>
                    <a:pt x="156628" y="33583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90CF938-66B3-B009-26AB-B7BE67813C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157505" y="1954457"/>
            <a:ext cx="516266" cy="516266"/>
            <a:chOff x="7042091" y="1884989"/>
            <a:chExt cx="829309" cy="829309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B9C50D8-DE5E-C734-6250-7516BCFC19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091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1" name="Graphic 20" descr="Icon of a gear">
              <a:extLst>
                <a:ext uri="{FF2B5EF4-FFF2-40B4-BE49-F238E27FC236}">
                  <a16:creationId xmlns:a16="http://schemas.microsoft.com/office/drawing/2014/main" id="{6E82B47E-7C60-0B78-8394-4513A2A02864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85433" y="2121229"/>
              <a:ext cx="342626" cy="356830"/>
            </a:xfrm>
            <a:custGeom>
              <a:avLst/>
              <a:gdLst>
                <a:gd name="connsiteX0" fmla="*/ 213265 w 426043"/>
                <a:gd name="connsiteY0" fmla="*/ 0 h 443705"/>
                <a:gd name="connsiteX1" fmla="*/ 262903 w 426043"/>
                <a:gd name="connsiteY1" fmla="*/ 5758 h 443705"/>
                <a:gd name="connsiteX2" fmla="*/ 276148 w 426043"/>
                <a:gd name="connsiteY2" fmla="*/ 20523 h 443705"/>
                <a:gd name="connsiteX3" fmla="*/ 280021 w 426043"/>
                <a:gd name="connsiteY3" fmla="*/ 55266 h 443705"/>
                <a:gd name="connsiteX4" fmla="*/ 311299 w 426043"/>
                <a:gd name="connsiteY4" fmla="*/ 83316 h 443705"/>
                <a:gd name="connsiteX5" fmla="*/ 323873 w 426043"/>
                <a:gd name="connsiteY5" fmla="*/ 80660 h 443705"/>
                <a:gd name="connsiteX6" fmla="*/ 355742 w 426043"/>
                <a:gd name="connsiteY6" fmla="*/ 66660 h 443705"/>
                <a:gd name="connsiteX7" fmla="*/ 375063 w 426043"/>
                <a:gd name="connsiteY7" fmla="*/ 70620 h 443705"/>
                <a:gd name="connsiteX8" fmla="*/ 425231 w 426043"/>
                <a:gd name="connsiteY8" fmla="*/ 156903 h 443705"/>
                <a:gd name="connsiteX9" fmla="*/ 419058 w 426043"/>
                <a:gd name="connsiteY9" fmla="*/ 175696 h 443705"/>
                <a:gd name="connsiteX10" fmla="*/ 390809 w 426043"/>
                <a:gd name="connsiteY10" fmla="*/ 196519 h 443705"/>
                <a:gd name="connsiteX11" fmla="*/ 377991 w 426043"/>
                <a:gd name="connsiteY11" fmla="*/ 221842 h 443705"/>
                <a:gd name="connsiteX12" fmla="*/ 390827 w 426043"/>
                <a:gd name="connsiteY12" fmla="*/ 247176 h 443705"/>
                <a:gd name="connsiteX13" fmla="*/ 419099 w 426043"/>
                <a:gd name="connsiteY13" fmla="*/ 268005 h 443705"/>
                <a:gd name="connsiteX14" fmla="*/ 425277 w 426043"/>
                <a:gd name="connsiteY14" fmla="*/ 286800 h 443705"/>
                <a:gd name="connsiteX15" fmla="*/ 375136 w 426043"/>
                <a:gd name="connsiteY15" fmla="*/ 373080 h 443705"/>
                <a:gd name="connsiteX16" fmla="*/ 355826 w 426043"/>
                <a:gd name="connsiteY16" fmla="*/ 377050 h 443705"/>
                <a:gd name="connsiteX17" fmla="*/ 323827 w 426043"/>
                <a:gd name="connsiteY17" fmla="*/ 363031 h 443705"/>
                <a:gd name="connsiteX18" fmla="*/ 295505 w 426043"/>
                <a:gd name="connsiteY18" fmla="*/ 364613 h 443705"/>
                <a:gd name="connsiteX19" fmla="*/ 279998 w 426043"/>
                <a:gd name="connsiteY19" fmla="*/ 388361 h 443705"/>
                <a:gd name="connsiteX20" fmla="*/ 276150 w 426043"/>
                <a:gd name="connsiteY20" fmla="*/ 423100 h 443705"/>
                <a:gd name="connsiteX21" fmla="*/ 263137 w 426043"/>
                <a:gd name="connsiteY21" fmla="*/ 437824 h 443705"/>
                <a:gd name="connsiteX22" fmla="*/ 162883 w 426043"/>
                <a:gd name="connsiteY22" fmla="*/ 437824 h 443705"/>
                <a:gd name="connsiteX23" fmla="*/ 149871 w 426043"/>
                <a:gd name="connsiteY23" fmla="*/ 423100 h 443705"/>
                <a:gd name="connsiteX24" fmla="*/ 146030 w 426043"/>
                <a:gd name="connsiteY24" fmla="*/ 388414 h 443705"/>
                <a:gd name="connsiteX25" fmla="*/ 130490 w 426043"/>
                <a:gd name="connsiteY25" fmla="*/ 364727 h 443705"/>
                <a:gd name="connsiteX26" fmla="*/ 102224 w 426043"/>
                <a:gd name="connsiteY26" fmla="*/ 363143 h 443705"/>
                <a:gd name="connsiteX27" fmla="*/ 70218 w 426043"/>
                <a:gd name="connsiteY27" fmla="*/ 377164 h 443705"/>
                <a:gd name="connsiteX28" fmla="*/ 50904 w 426043"/>
                <a:gd name="connsiteY28" fmla="*/ 373189 h 443705"/>
                <a:gd name="connsiteX29" fmla="*/ 763 w 426043"/>
                <a:gd name="connsiteY29" fmla="*/ 286812 h 443705"/>
                <a:gd name="connsiteX30" fmla="*/ 6945 w 426043"/>
                <a:gd name="connsiteY30" fmla="*/ 268028 h 443705"/>
                <a:gd name="connsiteX31" fmla="*/ 35236 w 426043"/>
                <a:gd name="connsiteY31" fmla="*/ 247185 h 443705"/>
                <a:gd name="connsiteX32" fmla="*/ 48053 w 426043"/>
                <a:gd name="connsiteY32" fmla="*/ 221865 h 443705"/>
                <a:gd name="connsiteX33" fmla="*/ 35225 w 426043"/>
                <a:gd name="connsiteY33" fmla="*/ 196535 h 443705"/>
                <a:gd name="connsiteX34" fmla="*/ 6952 w 426043"/>
                <a:gd name="connsiteY34" fmla="*/ 175727 h 443705"/>
                <a:gd name="connsiteX35" fmla="*/ 767 w 426043"/>
                <a:gd name="connsiteY35" fmla="*/ 156926 h 443705"/>
                <a:gd name="connsiteX36" fmla="*/ 50935 w 426043"/>
                <a:gd name="connsiteY36" fmla="*/ 70643 h 443705"/>
                <a:gd name="connsiteX37" fmla="*/ 70256 w 426043"/>
                <a:gd name="connsiteY37" fmla="*/ 66682 h 443705"/>
                <a:gd name="connsiteX38" fmla="*/ 102120 w 426043"/>
                <a:gd name="connsiteY38" fmla="*/ 80680 h 443705"/>
                <a:gd name="connsiteX39" fmla="*/ 130521 w 426043"/>
                <a:gd name="connsiteY39" fmla="*/ 79018 h 443705"/>
                <a:gd name="connsiteX40" fmla="*/ 146048 w 426043"/>
                <a:gd name="connsiteY40" fmla="*/ 55239 h 443705"/>
                <a:gd name="connsiteX41" fmla="*/ 149918 w 426043"/>
                <a:gd name="connsiteY41" fmla="*/ 20523 h 443705"/>
                <a:gd name="connsiteX42" fmla="*/ 163174 w 426043"/>
                <a:gd name="connsiteY42" fmla="*/ 5755 h 443705"/>
                <a:gd name="connsiteX43" fmla="*/ 213265 w 426043"/>
                <a:gd name="connsiteY43" fmla="*/ 0 h 443705"/>
                <a:gd name="connsiteX44" fmla="*/ 212980 w 426043"/>
                <a:gd name="connsiteY44" fmla="*/ 153590 h 443705"/>
                <a:gd name="connsiteX45" fmla="*/ 144718 w 426043"/>
                <a:gd name="connsiteY45" fmla="*/ 221853 h 443705"/>
                <a:gd name="connsiteX46" fmla="*/ 212980 w 426043"/>
                <a:gd name="connsiteY46" fmla="*/ 290116 h 443705"/>
                <a:gd name="connsiteX47" fmla="*/ 281243 w 426043"/>
                <a:gd name="connsiteY47" fmla="*/ 221853 h 443705"/>
                <a:gd name="connsiteX48" fmla="*/ 212980 w 426043"/>
                <a:gd name="connsiteY48" fmla="*/ 153590 h 443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6043" h="443705">
                  <a:moveTo>
                    <a:pt x="213265" y="0"/>
                  </a:moveTo>
                  <a:cubicBezTo>
                    <a:pt x="229966" y="193"/>
                    <a:pt x="246602" y="2122"/>
                    <a:pt x="262903" y="5758"/>
                  </a:cubicBezTo>
                  <a:cubicBezTo>
                    <a:pt x="270018" y="7345"/>
                    <a:pt x="275340" y="13277"/>
                    <a:pt x="276148" y="20523"/>
                  </a:cubicBezTo>
                  <a:lnTo>
                    <a:pt x="280021" y="55266"/>
                  </a:lnTo>
                  <a:cubicBezTo>
                    <a:pt x="281775" y="71217"/>
                    <a:pt x="295243" y="83299"/>
                    <a:pt x="311299" y="83316"/>
                  </a:cubicBezTo>
                  <a:cubicBezTo>
                    <a:pt x="315615" y="83323"/>
                    <a:pt x="319884" y="82424"/>
                    <a:pt x="323873" y="80660"/>
                  </a:cubicBezTo>
                  <a:lnTo>
                    <a:pt x="355742" y="66660"/>
                  </a:lnTo>
                  <a:cubicBezTo>
                    <a:pt x="362370" y="63748"/>
                    <a:pt x="370116" y="65335"/>
                    <a:pt x="375063" y="70620"/>
                  </a:cubicBezTo>
                  <a:cubicBezTo>
                    <a:pt x="398094" y="95218"/>
                    <a:pt x="415247" y="124719"/>
                    <a:pt x="425231" y="156903"/>
                  </a:cubicBezTo>
                  <a:cubicBezTo>
                    <a:pt x="427384" y="163843"/>
                    <a:pt x="424906" y="171385"/>
                    <a:pt x="419058" y="175696"/>
                  </a:cubicBezTo>
                  <a:lnTo>
                    <a:pt x="390809" y="196519"/>
                  </a:lnTo>
                  <a:cubicBezTo>
                    <a:pt x="382749" y="202439"/>
                    <a:pt x="377991" y="211841"/>
                    <a:pt x="377991" y="221842"/>
                  </a:cubicBezTo>
                  <a:cubicBezTo>
                    <a:pt x="377991" y="231840"/>
                    <a:pt x="382749" y="241242"/>
                    <a:pt x="390827" y="247176"/>
                  </a:cubicBezTo>
                  <a:lnTo>
                    <a:pt x="419099" y="268005"/>
                  </a:lnTo>
                  <a:cubicBezTo>
                    <a:pt x="424949" y="272315"/>
                    <a:pt x="427429" y="279858"/>
                    <a:pt x="425277" y="286800"/>
                  </a:cubicBezTo>
                  <a:cubicBezTo>
                    <a:pt x="415297" y="318979"/>
                    <a:pt x="398154" y="348478"/>
                    <a:pt x="375136" y="373080"/>
                  </a:cubicBezTo>
                  <a:cubicBezTo>
                    <a:pt x="370193" y="378363"/>
                    <a:pt x="362455" y="379956"/>
                    <a:pt x="355826" y="377050"/>
                  </a:cubicBezTo>
                  <a:lnTo>
                    <a:pt x="323827" y="363031"/>
                  </a:lnTo>
                  <a:cubicBezTo>
                    <a:pt x="314671" y="359024"/>
                    <a:pt x="304158" y="359611"/>
                    <a:pt x="295505" y="364613"/>
                  </a:cubicBezTo>
                  <a:cubicBezTo>
                    <a:pt x="286854" y="369612"/>
                    <a:pt x="281097" y="378429"/>
                    <a:pt x="279998" y="388361"/>
                  </a:cubicBezTo>
                  <a:lnTo>
                    <a:pt x="276150" y="423100"/>
                  </a:lnTo>
                  <a:cubicBezTo>
                    <a:pt x="275356" y="430263"/>
                    <a:pt x="270150" y="436156"/>
                    <a:pt x="263137" y="437824"/>
                  </a:cubicBezTo>
                  <a:cubicBezTo>
                    <a:pt x="230180" y="445665"/>
                    <a:pt x="195842" y="445665"/>
                    <a:pt x="162883" y="437824"/>
                  </a:cubicBezTo>
                  <a:cubicBezTo>
                    <a:pt x="155872" y="436156"/>
                    <a:pt x="150665" y="430263"/>
                    <a:pt x="149871" y="423100"/>
                  </a:cubicBezTo>
                  <a:lnTo>
                    <a:pt x="146030" y="388414"/>
                  </a:lnTo>
                  <a:cubicBezTo>
                    <a:pt x="144901" y="378500"/>
                    <a:pt x="139135" y="369710"/>
                    <a:pt x="130490" y="364727"/>
                  </a:cubicBezTo>
                  <a:cubicBezTo>
                    <a:pt x="121845" y="359743"/>
                    <a:pt x="111349" y="359159"/>
                    <a:pt x="102224" y="363143"/>
                  </a:cubicBezTo>
                  <a:lnTo>
                    <a:pt x="70218" y="377164"/>
                  </a:lnTo>
                  <a:cubicBezTo>
                    <a:pt x="63588" y="380070"/>
                    <a:pt x="55847" y="378477"/>
                    <a:pt x="50904" y="373189"/>
                  </a:cubicBezTo>
                  <a:cubicBezTo>
                    <a:pt x="27873" y="348560"/>
                    <a:pt x="10730" y="319025"/>
                    <a:pt x="763" y="286812"/>
                  </a:cubicBezTo>
                  <a:cubicBezTo>
                    <a:pt x="-1383" y="279874"/>
                    <a:pt x="1097" y="272336"/>
                    <a:pt x="6945" y="268028"/>
                  </a:cubicBezTo>
                  <a:lnTo>
                    <a:pt x="35236" y="247185"/>
                  </a:lnTo>
                  <a:cubicBezTo>
                    <a:pt x="43294" y="241265"/>
                    <a:pt x="48053" y="231863"/>
                    <a:pt x="48053" y="221865"/>
                  </a:cubicBezTo>
                  <a:cubicBezTo>
                    <a:pt x="48053" y="211864"/>
                    <a:pt x="43294" y="202462"/>
                    <a:pt x="35225" y="196535"/>
                  </a:cubicBezTo>
                  <a:lnTo>
                    <a:pt x="6952" y="175727"/>
                  </a:lnTo>
                  <a:cubicBezTo>
                    <a:pt x="1096" y="171417"/>
                    <a:pt x="-1387" y="163871"/>
                    <a:pt x="767" y="156926"/>
                  </a:cubicBezTo>
                  <a:cubicBezTo>
                    <a:pt x="10751" y="124742"/>
                    <a:pt x="27903" y="95241"/>
                    <a:pt x="50935" y="70643"/>
                  </a:cubicBezTo>
                  <a:cubicBezTo>
                    <a:pt x="55883" y="65358"/>
                    <a:pt x="63627" y="63771"/>
                    <a:pt x="70256" y="66682"/>
                  </a:cubicBezTo>
                  <a:lnTo>
                    <a:pt x="102120" y="80680"/>
                  </a:lnTo>
                  <a:cubicBezTo>
                    <a:pt x="111289" y="84704"/>
                    <a:pt x="121829" y="84096"/>
                    <a:pt x="130521" y="79018"/>
                  </a:cubicBezTo>
                  <a:cubicBezTo>
                    <a:pt x="139175" y="73999"/>
                    <a:pt x="144936" y="65173"/>
                    <a:pt x="146048" y="55239"/>
                  </a:cubicBezTo>
                  <a:lnTo>
                    <a:pt x="149918" y="20523"/>
                  </a:lnTo>
                  <a:cubicBezTo>
                    <a:pt x="150726" y="13274"/>
                    <a:pt x="156053" y="7339"/>
                    <a:pt x="163174" y="5755"/>
                  </a:cubicBezTo>
                  <a:cubicBezTo>
                    <a:pt x="179495" y="2126"/>
                    <a:pt x="196149" y="197"/>
                    <a:pt x="213265" y="0"/>
                  </a:cubicBezTo>
                  <a:close/>
                  <a:moveTo>
                    <a:pt x="212980" y="153590"/>
                  </a:moveTo>
                  <a:cubicBezTo>
                    <a:pt x="175279" y="153590"/>
                    <a:pt x="144718" y="184152"/>
                    <a:pt x="144718" y="221853"/>
                  </a:cubicBezTo>
                  <a:cubicBezTo>
                    <a:pt x="144718" y="259552"/>
                    <a:pt x="175279" y="290116"/>
                    <a:pt x="212980" y="290116"/>
                  </a:cubicBezTo>
                  <a:cubicBezTo>
                    <a:pt x="250679" y="290116"/>
                    <a:pt x="281243" y="259552"/>
                    <a:pt x="281243" y="221853"/>
                  </a:cubicBezTo>
                  <a:cubicBezTo>
                    <a:pt x="281243" y="184152"/>
                    <a:pt x="250679" y="153590"/>
                    <a:pt x="212980" y="15359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B09BA1D-43AB-A093-8A13-1E9647DA38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796777" y="1954457"/>
            <a:ext cx="516266" cy="516266"/>
            <a:chOff x="9763581" y="1884989"/>
            <a:chExt cx="829309" cy="82930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D08AD41-69E0-AC8E-AF56-3F94CA85D1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9763581" y="1884989"/>
              <a:ext cx="829309" cy="829309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16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52" name="Graphic 11" descr="Icon of a lightbulb">
              <a:extLst>
                <a:ext uri="{FF2B5EF4-FFF2-40B4-BE49-F238E27FC236}">
                  <a16:creationId xmlns:a16="http://schemas.microsoft.com/office/drawing/2014/main" id="{0AE870F5-8448-EA43-336B-047EDA09510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45568" y="2116667"/>
              <a:ext cx="265336" cy="365954"/>
            </a:xfrm>
            <a:custGeom>
              <a:avLst/>
              <a:gdLst>
                <a:gd name="connsiteX0" fmla="*/ 245472 w 329935"/>
                <a:gd name="connsiteY0" fmla="*/ 386776 h 455051"/>
                <a:gd name="connsiteX1" fmla="*/ 238857 w 329935"/>
                <a:gd name="connsiteY1" fmla="*/ 415412 h 455051"/>
                <a:gd name="connsiteX2" fmla="*/ 192921 w 329935"/>
                <a:gd name="connsiteY2" fmla="*/ 454902 h 455051"/>
                <a:gd name="connsiteX3" fmla="*/ 188982 w 329935"/>
                <a:gd name="connsiteY3" fmla="*/ 455052 h 455051"/>
                <a:gd name="connsiteX4" fmla="*/ 140932 w 329935"/>
                <a:gd name="connsiteY4" fmla="*/ 455052 h 455051"/>
                <a:gd name="connsiteX5" fmla="*/ 92081 w 329935"/>
                <a:gd name="connsiteY5" fmla="*/ 419182 h 455051"/>
                <a:gd name="connsiteX6" fmla="*/ 91047 w 329935"/>
                <a:gd name="connsiteY6" fmla="*/ 415375 h 455051"/>
                <a:gd name="connsiteX7" fmla="*/ 84441 w 329935"/>
                <a:gd name="connsiteY7" fmla="*/ 386776 h 455051"/>
                <a:gd name="connsiteX8" fmla="*/ 245472 w 329935"/>
                <a:gd name="connsiteY8" fmla="*/ 386776 h 455051"/>
                <a:gd name="connsiteX9" fmla="*/ 164968 w 329935"/>
                <a:gd name="connsiteY9" fmla="*/ 0 h 455051"/>
                <a:gd name="connsiteX10" fmla="*/ 329935 w 329935"/>
                <a:gd name="connsiteY10" fmla="*/ 164968 h 455051"/>
                <a:gd name="connsiteX11" fmla="*/ 267011 w 329935"/>
                <a:gd name="connsiteY11" fmla="*/ 297868 h 455051"/>
                <a:gd name="connsiteX12" fmla="*/ 265398 w 329935"/>
                <a:gd name="connsiteY12" fmla="*/ 300701 h 455051"/>
                <a:gd name="connsiteX13" fmla="*/ 253390 w 329935"/>
                <a:gd name="connsiteY13" fmla="*/ 352645 h 455051"/>
                <a:gd name="connsiteX14" fmla="*/ 182033 w 329935"/>
                <a:gd name="connsiteY14" fmla="*/ 352645 h 455051"/>
                <a:gd name="connsiteX15" fmla="*/ 182033 w 329935"/>
                <a:gd name="connsiteY15" fmla="*/ 199084 h 455051"/>
                <a:gd name="connsiteX16" fmla="*/ 164968 w 329935"/>
                <a:gd name="connsiteY16" fmla="*/ 182018 h 455051"/>
                <a:gd name="connsiteX17" fmla="*/ 147902 w 329935"/>
                <a:gd name="connsiteY17" fmla="*/ 199084 h 455051"/>
                <a:gd name="connsiteX18" fmla="*/ 147902 w 329935"/>
                <a:gd name="connsiteY18" fmla="*/ 352645 h 455051"/>
                <a:gd name="connsiteX19" fmla="*/ 76545 w 329935"/>
                <a:gd name="connsiteY19" fmla="*/ 352645 h 455051"/>
                <a:gd name="connsiteX20" fmla="*/ 64577 w 329935"/>
                <a:gd name="connsiteY20" fmla="*/ 300706 h 455051"/>
                <a:gd name="connsiteX21" fmla="*/ 62961 w 329935"/>
                <a:gd name="connsiteY21" fmla="*/ 297868 h 455051"/>
                <a:gd name="connsiteX22" fmla="*/ 0 w 329935"/>
                <a:gd name="connsiteY22" fmla="*/ 164968 h 455051"/>
                <a:gd name="connsiteX23" fmla="*/ 164968 w 329935"/>
                <a:gd name="connsiteY23" fmla="*/ 0 h 455051"/>
                <a:gd name="connsiteX24" fmla="*/ 147902 w 329935"/>
                <a:gd name="connsiteY24" fmla="*/ 108077 h 455051"/>
                <a:gd name="connsiteX25" fmla="*/ 147902 w 329935"/>
                <a:gd name="connsiteY25" fmla="*/ 142209 h 455051"/>
                <a:gd name="connsiteX26" fmla="*/ 164968 w 329935"/>
                <a:gd name="connsiteY26" fmla="*/ 159274 h 455051"/>
                <a:gd name="connsiteX27" fmla="*/ 182033 w 329935"/>
                <a:gd name="connsiteY27" fmla="*/ 142209 h 455051"/>
                <a:gd name="connsiteX28" fmla="*/ 182033 w 329935"/>
                <a:gd name="connsiteY28" fmla="*/ 108077 h 455051"/>
                <a:gd name="connsiteX29" fmla="*/ 164968 w 329935"/>
                <a:gd name="connsiteY29" fmla="*/ 91011 h 455051"/>
                <a:gd name="connsiteX30" fmla="*/ 147902 w 329935"/>
                <a:gd name="connsiteY30" fmla="*/ 108077 h 455051"/>
                <a:gd name="connsiteX31" fmla="*/ 262362 w 329935"/>
                <a:gd name="connsiteY31" fmla="*/ 141419 h 455051"/>
                <a:gd name="connsiteX32" fmla="*/ 238229 w 329935"/>
                <a:gd name="connsiteY32" fmla="*/ 141419 h 455051"/>
                <a:gd name="connsiteX33" fmla="*/ 214094 w 329935"/>
                <a:gd name="connsiteY33" fmla="*/ 165554 h 455051"/>
                <a:gd name="connsiteX34" fmla="*/ 214094 w 329935"/>
                <a:gd name="connsiteY34" fmla="*/ 189688 h 455051"/>
                <a:gd name="connsiteX35" fmla="*/ 238229 w 329935"/>
                <a:gd name="connsiteY35" fmla="*/ 189688 h 455051"/>
                <a:gd name="connsiteX36" fmla="*/ 262362 w 329935"/>
                <a:gd name="connsiteY36" fmla="*/ 165554 h 455051"/>
                <a:gd name="connsiteX37" fmla="*/ 262362 w 329935"/>
                <a:gd name="connsiteY37" fmla="*/ 141419 h 455051"/>
                <a:gd name="connsiteX38" fmla="*/ 91707 w 329935"/>
                <a:gd name="connsiteY38" fmla="*/ 141419 h 455051"/>
                <a:gd name="connsiteX39" fmla="*/ 67572 w 329935"/>
                <a:gd name="connsiteY39" fmla="*/ 141419 h 455051"/>
                <a:gd name="connsiteX40" fmla="*/ 67572 w 329935"/>
                <a:gd name="connsiteY40" fmla="*/ 165554 h 455051"/>
                <a:gd name="connsiteX41" fmla="*/ 91707 w 329935"/>
                <a:gd name="connsiteY41" fmla="*/ 189688 h 455051"/>
                <a:gd name="connsiteX42" fmla="*/ 115841 w 329935"/>
                <a:gd name="connsiteY42" fmla="*/ 189688 h 455051"/>
                <a:gd name="connsiteX43" fmla="*/ 115841 w 329935"/>
                <a:gd name="connsiteY43" fmla="*/ 165554 h 455051"/>
                <a:gd name="connsiteX44" fmla="*/ 91707 w 329935"/>
                <a:gd name="connsiteY44" fmla="*/ 141419 h 45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29935" h="455051">
                  <a:moveTo>
                    <a:pt x="245472" y="386776"/>
                  </a:moveTo>
                  <a:lnTo>
                    <a:pt x="238857" y="415412"/>
                  </a:lnTo>
                  <a:cubicBezTo>
                    <a:pt x="233779" y="437331"/>
                    <a:pt x="215056" y="453204"/>
                    <a:pt x="192921" y="454902"/>
                  </a:cubicBezTo>
                  <a:lnTo>
                    <a:pt x="188982" y="455052"/>
                  </a:lnTo>
                  <a:lnTo>
                    <a:pt x="140932" y="455052"/>
                  </a:lnTo>
                  <a:cubicBezTo>
                    <a:pt x="118419" y="455052"/>
                    <a:pt x="98719" y="440378"/>
                    <a:pt x="92081" y="419182"/>
                  </a:cubicBezTo>
                  <a:lnTo>
                    <a:pt x="91047" y="415375"/>
                  </a:lnTo>
                  <a:lnTo>
                    <a:pt x="84441" y="386776"/>
                  </a:lnTo>
                  <a:lnTo>
                    <a:pt x="245472" y="386776"/>
                  </a:lnTo>
                  <a:close/>
                  <a:moveTo>
                    <a:pt x="164968" y="0"/>
                  </a:moveTo>
                  <a:cubicBezTo>
                    <a:pt x="256078" y="0"/>
                    <a:pt x="329935" y="73858"/>
                    <a:pt x="329935" y="164968"/>
                  </a:cubicBezTo>
                  <a:cubicBezTo>
                    <a:pt x="329935" y="213582"/>
                    <a:pt x="308647" y="258108"/>
                    <a:pt x="267011" y="297868"/>
                  </a:cubicBezTo>
                  <a:cubicBezTo>
                    <a:pt x="266208" y="298635"/>
                    <a:pt x="265648" y="299621"/>
                    <a:pt x="265398" y="300701"/>
                  </a:cubicBezTo>
                  <a:lnTo>
                    <a:pt x="253390" y="352645"/>
                  </a:lnTo>
                  <a:lnTo>
                    <a:pt x="182033" y="352645"/>
                  </a:lnTo>
                  <a:lnTo>
                    <a:pt x="182033" y="199084"/>
                  </a:lnTo>
                  <a:cubicBezTo>
                    <a:pt x="182033" y="189659"/>
                    <a:pt x="174392" y="182018"/>
                    <a:pt x="164968" y="182018"/>
                  </a:cubicBezTo>
                  <a:cubicBezTo>
                    <a:pt x="155543" y="182018"/>
                    <a:pt x="147902" y="189659"/>
                    <a:pt x="147902" y="199084"/>
                  </a:cubicBezTo>
                  <a:lnTo>
                    <a:pt x="147902" y="352645"/>
                  </a:lnTo>
                  <a:lnTo>
                    <a:pt x="76545" y="352645"/>
                  </a:lnTo>
                  <a:lnTo>
                    <a:pt x="64577" y="300706"/>
                  </a:lnTo>
                  <a:cubicBezTo>
                    <a:pt x="64326" y="299623"/>
                    <a:pt x="63765" y="298638"/>
                    <a:pt x="62961" y="297868"/>
                  </a:cubicBezTo>
                  <a:cubicBezTo>
                    <a:pt x="21302" y="258108"/>
                    <a:pt x="0" y="213582"/>
                    <a:pt x="0" y="164968"/>
                  </a:cubicBezTo>
                  <a:cubicBezTo>
                    <a:pt x="0" y="73858"/>
                    <a:pt x="73858" y="0"/>
                    <a:pt x="164968" y="0"/>
                  </a:cubicBezTo>
                  <a:close/>
                  <a:moveTo>
                    <a:pt x="147902" y="108077"/>
                  </a:moveTo>
                  <a:lnTo>
                    <a:pt x="147902" y="142209"/>
                  </a:lnTo>
                  <a:cubicBezTo>
                    <a:pt x="147902" y="151634"/>
                    <a:pt x="155543" y="159274"/>
                    <a:pt x="164968" y="159274"/>
                  </a:cubicBezTo>
                  <a:cubicBezTo>
                    <a:pt x="174392" y="159274"/>
                    <a:pt x="182033" y="151634"/>
                    <a:pt x="182033" y="142209"/>
                  </a:cubicBezTo>
                  <a:lnTo>
                    <a:pt x="182033" y="108077"/>
                  </a:lnTo>
                  <a:cubicBezTo>
                    <a:pt x="182033" y="98652"/>
                    <a:pt x="174392" y="91011"/>
                    <a:pt x="164968" y="91011"/>
                  </a:cubicBezTo>
                  <a:cubicBezTo>
                    <a:pt x="155543" y="91011"/>
                    <a:pt x="147902" y="98652"/>
                    <a:pt x="147902" y="108077"/>
                  </a:cubicBezTo>
                  <a:close/>
                  <a:moveTo>
                    <a:pt x="262362" y="141419"/>
                  </a:moveTo>
                  <a:cubicBezTo>
                    <a:pt x="255698" y="134755"/>
                    <a:pt x="244894" y="134755"/>
                    <a:pt x="238229" y="141419"/>
                  </a:cubicBezTo>
                  <a:lnTo>
                    <a:pt x="214094" y="165554"/>
                  </a:lnTo>
                  <a:cubicBezTo>
                    <a:pt x="207429" y="172219"/>
                    <a:pt x="207429" y="183024"/>
                    <a:pt x="214094" y="189688"/>
                  </a:cubicBezTo>
                  <a:cubicBezTo>
                    <a:pt x="220759" y="196353"/>
                    <a:pt x="231565" y="196353"/>
                    <a:pt x="238229" y="189688"/>
                  </a:cubicBezTo>
                  <a:lnTo>
                    <a:pt x="262362" y="165554"/>
                  </a:lnTo>
                  <a:cubicBezTo>
                    <a:pt x="269027" y="158889"/>
                    <a:pt x="269027" y="148084"/>
                    <a:pt x="262362" y="141419"/>
                  </a:cubicBezTo>
                  <a:close/>
                  <a:moveTo>
                    <a:pt x="91707" y="141419"/>
                  </a:moveTo>
                  <a:cubicBezTo>
                    <a:pt x="85042" y="134755"/>
                    <a:pt x="74237" y="134755"/>
                    <a:pt x="67572" y="141419"/>
                  </a:cubicBezTo>
                  <a:cubicBezTo>
                    <a:pt x="60908" y="148084"/>
                    <a:pt x="60908" y="158889"/>
                    <a:pt x="67572" y="165554"/>
                  </a:cubicBezTo>
                  <a:lnTo>
                    <a:pt x="91707" y="189688"/>
                  </a:lnTo>
                  <a:cubicBezTo>
                    <a:pt x="98372" y="196353"/>
                    <a:pt x="109177" y="196353"/>
                    <a:pt x="115841" y="189688"/>
                  </a:cubicBezTo>
                  <a:cubicBezTo>
                    <a:pt x="122506" y="183024"/>
                    <a:pt x="122506" y="172219"/>
                    <a:pt x="115841" y="165554"/>
                  </a:cubicBezTo>
                  <a:lnTo>
                    <a:pt x="91707" y="14141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  <a:effectLst>
              <a:outerShdw blurRad="50800" dist="25400" dir="5400000" algn="t" rotWithShape="0">
                <a:srgbClr val="F7F7F8">
                  <a:lumMod val="65000"/>
                  <a:alpha val="40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8B073761-6D83-131A-3393-36241F21B286}"/>
              </a:ext>
            </a:extLst>
          </p:cNvPr>
          <p:cNvSpPr txBox="1"/>
          <p:nvPr/>
        </p:nvSpPr>
        <p:spPr>
          <a:xfrm>
            <a:off x="934557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Enrich employee experience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71FBC1-0426-3DCE-04B6-FA9CA4D01C15}"/>
              </a:ext>
            </a:extLst>
          </p:cNvPr>
          <p:cNvSpPr txBox="1"/>
          <p:nvPr/>
        </p:nvSpPr>
        <p:spPr>
          <a:xfrm>
            <a:off x="3573829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Reinvent customer engageme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F5F4EC5-D3DC-E150-2CEC-22753B1597BB}"/>
              </a:ext>
            </a:extLst>
          </p:cNvPr>
          <p:cNvSpPr txBox="1"/>
          <p:nvPr/>
        </p:nvSpPr>
        <p:spPr>
          <a:xfrm>
            <a:off x="6213101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Reshape business process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E1B17EC-EDBF-BF0D-08AA-391634C2FC48}"/>
              </a:ext>
            </a:extLst>
          </p:cNvPr>
          <p:cNvSpPr txBox="1"/>
          <p:nvPr/>
        </p:nvSpPr>
        <p:spPr>
          <a:xfrm>
            <a:off x="8852375" y="2542325"/>
            <a:ext cx="2405070" cy="56323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Bend the curve</a:t>
            </a:r>
            <a:b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1700">
                <a:ln w="3175">
                  <a:noFill/>
                </a:ln>
                <a:latin typeface="+mj-lt"/>
                <a:cs typeface="Segoe Sans Text Light" pitchFamily="2" charset="0"/>
              </a:rPr>
              <a:t>on innov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95BA91-CCD6-A99D-8CD3-0D8FD34B30D8}"/>
              </a:ext>
            </a:extLst>
          </p:cNvPr>
          <p:cNvSpPr txBox="1">
            <a:spLocks/>
          </p:cNvSpPr>
          <p:nvPr/>
        </p:nvSpPr>
        <p:spPr>
          <a:xfrm>
            <a:off x="1140015" y="3561117"/>
            <a:ext cx="1994154" cy="13336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enhancing market research and analytics</a:t>
            </a:r>
          </a:p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empowering advisory and sales ro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7B0EB8-CDBE-E286-4E24-1864A2FE3F2A}"/>
              </a:ext>
            </a:extLst>
          </p:cNvPr>
          <p:cNvSpPr txBox="1">
            <a:spLocks/>
          </p:cNvSpPr>
          <p:nvPr/>
        </p:nvSpPr>
        <p:spPr>
          <a:xfrm>
            <a:off x="3779288" y="3561117"/>
            <a:ext cx="1994154" cy="98488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>
              <a:spcAft>
                <a:spcPts val="800"/>
              </a:spcAft>
              <a:defRPr/>
            </a:pPr>
            <a:r>
              <a:rPr lang="en-US" sz="1600"/>
              <a:t>By personalizing and augmenting the client experience across all digital channe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08161F-0EE1-C66D-95DE-C8D7180DCDE2}"/>
              </a:ext>
            </a:extLst>
          </p:cNvPr>
          <p:cNvSpPr txBox="1">
            <a:spLocks/>
          </p:cNvSpPr>
          <p:nvPr/>
        </p:nvSpPr>
        <p:spPr>
          <a:xfrm>
            <a:off x="6341381" y="3561117"/>
            <a:ext cx="2148514" cy="13336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automating operations</a:t>
            </a:r>
          </a:p>
          <a:p>
            <a:pPr lvl="0" algn="ctr" defTabSz="932472" fontAlgn="base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improving risk </a:t>
            </a:r>
            <a:br>
              <a:rPr lang="en-US" sz="1600"/>
            </a:br>
            <a:r>
              <a:rPr lang="en-US" sz="1600"/>
              <a:t>and compliance manag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8E415B-06F2-FA49-0C61-0D0BB10D0C27}"/>
              </a:ext>
            </a:extLst>
          </p:cNvPr>
          <p:cNvSpPr txBox="1">
            <a:spLocks/>
          </p:cNvSpPr>
          <p:nvPr/>
        </p:nvSpPr>
        <p:spPr>
          <a:xfrm>
            <a:off x="9073173" y="3561117"/>
            <a:ext cx="1963474" cy="98488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 algn="ctr" defTabSz="932472">
              <a:spcBef>
                <a:spcPct val="0"/>
              </a:spcBef>
              <a:spcAft>
                <a:spcPts val="800"/>
              </a:spcAft>
              <a:defRPr/>
            </a:pPr>
            <a:r>
              <a:rPr lang="en-US" sz="1600"/>
              <a:t>By transforming business models </a:t>
            </a:r>
            <a:br>
              <a:rPr lang="en-US" sz="1600"/>
            </a:br>
            <a:r>
              <a:rPr lang="en-US" sz="1600"/>
              <a:t>to create market differenti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878FF5-616A-8695-1C74-2EFD19A97D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3456728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2E26F80-BD55-0A8F-E871-D70DA28707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096000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85FAF75-07BD-E9FB-7E58-C9C2E7BDC6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735272" y="3420025"/>
            <a:ext cx="0" cy="1645382"/>
          </a:xfrm>
          <a:prstGeom prst="line">
            <a:avLst/>
          </a:prstGeom>
          <a:ln w="19050" cap="rnd">
            <a:solidFill>
              <a:schemeClr val="tx1">
                <a:alpha val="4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3" name="TextBox 12">
            <a:extLst>
              <a:ext uri="{FF2B5EF4-FFF2-40B4-BE49-F238E27FC236}">
                <a16:creationId xmlns:a16="http://schemas.microsoft.com/office/drawing/2014/main" id="{E51EF156-A652-7BD5-A975-C649A9126156}"/>
              </a:ext>
            </a:extLst>
          </p:cNvPr>
          <p:cNvSpPr txBox="1"/>
          <p:nvPr/>
        </p:nvSpPr>
        <p:spPr>
          <a:xfrm>
            <a:off x="3861272" y="5182460"/>
            <a:ext cx="4472500" cy="338554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algn="ctr" defTabSz="932742" fontAlgn="base">
              <a:spcBef>
                <a:spcPct val="0"/>
              </a:spcBef>
              <a:spcAft>
                <a:spcPct val="0"/>
              </a:spcAft>
              <a:buSzPct val="90000"/>
              <a:defRPr/>
            </a:pPr>
            <a:r>
              <a:rPr lang="en-US" sz="1600" b="1">
                <a:ln w="3175">
                  <a:noFill/>
                </a:ln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cs typeface="Segoe UI" pitchFamily="34" charset="0"/>
              </a:rPr>
              <a:t>Establish a secure and compliant foundation</a:t>
            </a:r>
          </a:p>
        </p:txBody>
      </p:sp>
      <p:sp>
        <p:nvSpPr>
          <p:cNvPr id="22" name="Rectangle: Rounded Corners 7">
            <a:extLst>
              <a:ext uri="{FF2B5EF4-FFF2-40B4-BE49-F238E27FC236}">
                <a16:creationId xmlns:a16="http://schemas.microsoft.com/office/drawing/2014/main" id="{84ED282D-0EC6-70CC-825C-4531014D52E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12690" y="5727664"/>
            <a:ext cx="10580239" cy="451342"/>
          </a:xfrm>
          <a:prstGeom prst="roundRect">
            <a:avLst>
              <a:gd name="adj" fmla="val 43332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Next step: schedule an agentic workshop</a:t>
            </a:r>
          </a:p>
        </p:txBody>
      </p:sp>
      <p:sp>
        <p:nvSpPr>
          <p:cNvPr id="28" name="Graphic 26">
            <a:extLst>
              <a:ext uri="{FF2B5EF4-FFF2-40B4-BE49-F238E27FC236}">
                <a16:creationId xmlns:a16="http://schemas.microsoft.com/office/drawing/2014/main" id="{0C7E50B7-0818-43F5-9772-EEE251F228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31659" y="5852155"/>
            <a:ext cx="202361" cy="202361"/>
          </a:xfrm>
          <a:custGeom>
            <a:avLst/>
            <a:gdLst>
              <a:gd name="connsiteX0" fmla="*/ 140217 w 280434"/>
              <a:gd name="connsiteY0" fmla="*/ 0 h 280434"/>
              <a:gd name="connsiteX1" fmla="*/ 280434 w 280434"/>
              <a:gd name="connsiteY1" fmla="*/ 140217 h 280434"/>
              <a:gd name="connsiteX2" fmla="*/ 140217 w 280434"/>
              <a:gd name="connsiteY2" fmla="*/ 280434 h 280434"/>
              <a:gd name="connsiteX3" fmla="*/ 0 w 280434"/>
              <a:gd name="connsiteY3" fmla="*/ 140217 h 280434"/>
              <a:gd name="connsiteX4" fmla="*/ 140217 w 280434"/>
              <a:gd name="connsiteY4" fmla="*/ 0 h 280434"/>
              <a:gd name="connsiteX5" fmla="*/ 151168 w 280434"/>
              <a:gd name="connsiteY5" fmla="*/ 76685 h 280434"/>
              <a:gd name="connsiteX6" fmla="*/ 149990 w 280434"/>
              <a:gd name="connsiteY6" fmla="*/ 75661 h 280434"/>
              <a:gd name="connsiteX7" fmla="*/ 137609 w 280434"/>
              <a:gd name="connsiteY7" fmla="*/ 75563 h 280434"/>
              <a:gd name="connsiteX8" fmla="*/ 136291 w 280434"/>
              <a:gd name="connsiteY8" fmla="*/ 76685 h 280434"/>
              <a:gd name="connsiteX9" fmla="*/ 135281 w 280434"/>
              <a:gd name="connsiteY9" fmla="*/ 77863 h 280434"/>
              <a:gd name="connsiteX10" fmla="*/ 135183 w 280434"/>
              <a:gd name="connsiteY10" fmla="*/ 90244 h 280434"/>
              <a:gd name="connsiteX11" fmla="*/ 136305 w 280434"/>
              <a:gd name="connsiteY11" fmla="*/ 91562 h 280434"/>
              <a:gd name="connsiteX12" fmla="*/ 174430 w 280434"/>
              <a:gd name="connsiteY12" fmla="*/ 129701 h 280434"/>
              <a:gd name="connsiteX13" fmla="*/ 80625 w 280434"/>
              <a:gd name="connsiteY13" fmla="*/ 129701 h 280434"/>
              <a:gd name="connsiteX14" fmla="*/ 79195 w 280434"/>
              <a:gd name="connsiteY14" fmla="*/ 129785 h 280434"/>
              <a:gd name="connsiteX15" fmla="*/ 70207 w 280434"/>
              <a:gd name="connsiteY15" fmla="*/ 138787 h 280434"/>
              <a:gd name="connsiteX16" fmla="*/ 70109 w 280434"/>
              <a:gd name="connsiteY16" fmla="*/ 140203 h 280434"/>
              <a:gd name="connsiteX17" fmla="*/ 70207 w 280434"/>
              <a:gd name="connsiteY17" fmla="*/ 141633 h 280434"/>
              <a:gd name="connsiteX18" fmla="*/ 79195 w 280434"/>
              <a:gd name="connsiteY18" fmla="*/ 150621 h 280434"/>
              <a:gd name="connsiteX19" fmla="*/ 80625 w 280434"/>
              <a:gd name="connsiteY19" fmla="*/ 150719 h 280434"/>
              <a:gd name="connsiteX20" fmla="*/ 174430 w 280434"/>
              <a:gd name="connsiteY20" fmla="*/ 150719 h 280434"/>
              <a:gd name="connsiteX21" fmla="*/ 136291 w 280434"/>
              <a:gd name="connsiteY21" fmla="*/ 188858 h 280434"/>
              <a:gd name="connsiteX22" fmla="*/ 135267 w 280434"/>
              <a:gd name="connsiteY22" fmla="*/ 190050 h 280434"/>
              <a:gd name="connsiteX23" fmla="*/ 137371 w 280434"/>
              <a:gd name="connsiteY23" fmla="*/ 204773 h 280434"/>
              <a:gd name="connsiteX24" fmla="*/ 149990 w 280434"/>
              <a:gd name="connsiteY24" fmla="*/ 204773 h 280434"/>
              <a:gd name="connsiteX25" fmla="*/ 151154 w 280434"/>
              <a:gd name="connsiteY25" fmla="*/ 203749 h 280434"/>
              <a:gd name="connsiteX26" fmla="*/ 207269 w 280434"/>
              <a:gd name="connsiteY26" fmla="*/ 147663 h 280434"/>
              <a:gd name="connsiteX27" fmla="*/ 208278 w 280434"/>
              <a:gd name="connsiteY27" fmla="*/ 146471 h 280434"/>
              <a:gd name="connsiteX28" fmla="*/ 208391 w 280434"/>
              <a:gd name="connsiteY28" fmla="*/ 134104 h 280434"/>
              <a:gd name="connsiteX29" fmla="*/ 207269 w 280434"/>
              <a:gd name="connsiteY29" fmla="*/ 132786 h 280434"/>
              <a:gd name="connsiteX30" fmla="*/ 151182 w 280434"/>
              <a:gd name="connsiteY30" fmla="*/ 76685 h 280434"/>
              <a:gd name="connsiteX31" fmla="*/ 149990 w 280434"/>
              <a:gd name="connsiteY31" fmla="*/ 75661 h 280434"/>
              <a:gd name="connsiteX32" fmla="*/ 151168 w 280434"/>
              <a:gd name="connsiteY32" fmla="*/ 76685 h 280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0434" h="280434">
                <a:moveTo>
                  <a:pt x="140217" y="0"/>
                </a:moveTo>
                <a:cubicBezTo>
                  <a:pt x="217673" y="0"/>
                  <a:pt x="280434" y="62775"/>
                  <a:pt x="280434" y="140217"/>
                </a:cubicBezTo>
                <a:cubicBezTo>
                  <a:pt x="280434" y="217659"/>
                  <a:pt x="217673" y="280434"/>
                  <a:pt x="140217" y="280434"/>
                </a:cubicBezTo>
                <a:cubicBezTo>
                  <a:pt x="62789" y="280434"/>
                  <a:pt x="0" y="217659"/>
                  <a:pt x="0" y="140217"/>
                </a:cubicBezTo>
                <a:cubicBezTo>
                  <a:pt x="0" y="62775"/>
                  <a:pt x="62789" y="0"/>
                  <a:pt x="140217" y="0"/>
                </a:cubicBezTo>
                <a:close/>
                <a:moveTo>
                  <a:pt x="151168" y="76685"/>
                </a:moveTo>
                <a:lnTo>
                  <a:pt x="149990" y="75661"/>
                </a:lnTo>
                <a:cubicBezTo>
                  <a:pt x="146322" y="72945"/>
                  <a:pt x="141321" y="72905"/>
                  <a:pt x="137609" y="75563"/>
                </a:cubicBezTo>
                <a:lnTo>
                  <a:pt x="136291" y="76685"/>
                </a:lnTo>
                <a:lnTo>
                  <a:pt x="135281" y="77863"/>
                </a:lnTo>
                <a:cubicBezTo>
                  <a:pt x="132565" y="81531"/>
                  <a:pt x="132526" y="86533"/>
                  <a:pt x="135183" y="90244"/>
                </a:cubicBezTo>
                <a:lnTo>
                  <a:pt x="136305" y="91562"/>
                </a:lnTo>
                <a:lnTo>
                  <a:pt x="174430" y="129701"/>
                </a:lnTo>
                <a:lnTo>
                  <a:pt x="80625" y="129701"/>
                </a:lnTo>
                <a:lnTo>
                  <a:pt x="79195" y="129785"/>
                </a:lnTo>
                <a:cubicBezTo>
                  <a:pt x="74518" y="130429"/>
                  <a:pt x="70842" y="134109"/>
                  <a:pt x="70207" y="138787"/>
                </a:cubicBezTo>
                <a:lnTo>
                  <a:pt x="70109" y="140203"/>
                </a:lnTo>
                <a:lnTo>
                  <a:pt x="70207" y="141633"/>
                </a:lnTo>
                <a:cubicBezTo>
                  <a:pt x="70848" y="146305"/>
                  <a:pt x="74522" y="149979"/>
                  <a:pt x="79195" y="150621"/>
                </a:cubicBezTo>
                <a:lnTo>
                  <a:pt x="80625" y="150719"/>
                </a:lnTo>
                <a:lnTo>
                  <a:pt x="174430" y="150719"/>
                </a:lnTo>
                <a:lnTo>
                  <a:pt x="136291" y="188858"/>
                </a:lnTo>
                <a:lnTo>
                  <a:pt x="135267" y="190050"/>
                </a:lnTo>
                <a:cubicBezTo>
                  <a:pt x="131783" y="194697"/>
                  <a:pt x="132724" y="201289"/>
                  <a:pt x="137371" y="204773"/>
                </a:cubicBezTo>
                <a:cubicBezTo>
                  <a:pt x="141110" y="207577"/>
                  <a:pt x="146251" y="207577"/>
                  <a:pt x="149990" y="204773"/>
                </a:cubicBezTo>
                <a:lnTo>
                  <a:pt x="151154" y="203749"/>
                </a:lnTo>
                <a:lnTo>
                  <a:pt x="207269" y="147663"/>
                </a:lnTo>
                <a:lnTo>
                  <a:pt x="208278" y="146471"/>
                </a:lnTo>
                <a:cubicBezTo>
                  <a:pt x="210992" y="142808"/>
                  <a:pt x="211038" y="137815"/>
                  <a:pt x="208391" y="134104"/>
                </a:cubicBezTo>
                <a:lnTo>
                  <a:pt x="207269" y="132786"/>
                </a:lnTo>
                <a:lnTo>
                  <a:pt x="151182" y="76685"/>
                </a:lnTo>
                <a:lnTo>
                  <a:pt x="149990" y="75661"/>
                </a:lnTo>
                <a:lnTo>
                  <a:pt x="151168" y="76685"/>
                </a:lnTo>
                <a:close/>
              </a:path>
            </a:pathLst>
          </a:custGeom>
          <a:solidFill>
            <a:schemeClr val="tx1"/>
          </a:solidFill>
          <a:ln w="1389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3524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16667E-6 0 L -4.166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45833E-6 0 L -1.45833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45833E-6 -4.44444E-6 L 1.45833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375E-6 -4.44444E-6 L 4.375E-6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4" grpId="0"/>
      <p:bldP spid="4" grpId="1"/>
      <p:bldP spid="5" grpId="0"/>
      <p:bldP spid="5" grpId="1"/>
      <p:bldP spid="6" grpId="0"/>
      <p:bldP spid="6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4200" y="1440894"/>
            <a:ext cx="5671634" cy="2092881"/>
          </a:xfrm>
        </p:spPr>
        <p:txBody>
          <a:bodyPr/>
          <a:lstStyle/>
          <a:p>
            <a:r>
              <a:rPr lang="en-US">
                <a:latin typeface="+mj-lt"/>
                <a:cs typeface="Segoe Sans Display Semibold"/>
              </a:rPr>
              <a:t>Pioneering the future of financial services with AI:</a:t>
            </a:r>
            <a:br>
              <a:rPr lang="en-US">
                <a:latin typeface="+mj-lt"/>
              </a:rPr>
            </a:br>
            <a:r>
              <a:rPr lang="en-US" sz="2800">
                <a:solidFill>
                  <a:schemeClr val="tx1"/>
                </a:solidFill>
                <a:latin typeface="+mj-lt"/>
                <a:cs typeface="Segoe Sans Display Semibold"/>
              </a:rPr>
              <a:t>Innovations transforming finance through intelligent technology</a:t>
            </a:r>
            <a:endParaRPr lang="en-US">
              <a:solidFill>
                <a:schemeClr val="tx1"/>
              </a:solidFill>
              <a:latin typeface="+mj-lt"/>
              <a:cs typeface="Segoe Sans Display Semi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200" y="3962400"/>
            <a:ext cx="4479925" cy="276999"/>
          </a:xfrm>
        </p:spPr>
        <p:txBody>
          <a:bodyPr/>
          <a:lstStyle/>
          <a:p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7498445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282E86-E408-589C-43C1-7EA21A8FC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DDCEB-87B7-967E-6623-B33E2D589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9" y="2875002"/>
            <a:ext cx="6742858" cy="1107996"/>
          </a:xfrm>
        </p:spPr>
        <p:txBody>
          <a:bodyPr wrap="square">
            <a:spAutoFit/>
          </a:bodyPr>
          <a:lstStyle/>
          <a:p>
            <a:r>
              <a:rPr lang="en-US">
                <a:latin typeface="+mj-lt"/>
              </a:rPr>
              <a:t>Intelligence on tap: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AI as an on-demand resource</a:t>
            </a:r>
          </a:p>
        </p:txBody>
      </p:sp>
    </p:spTree>
    <p:extLst>
      <p:ext uri="{BB962C8B-B14F-4D97-AF65-F5344CB8AC3E}">
        <p14:creationId xmlns:p14="http://schemas.microsoft.com/office/powerpoint/2010/main" val="91951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9D7569-E393-9AEC-E8FB-3BC8ED359D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EF1578FC-3033-4CB6-4181-A2A5E35F8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1" y="2382560"/>
            <a:ext cx="4340200" cy="1107996"/>
          </a:xfrm>
        </p:spPr>
        <p:txBody>
          <a:bodyPr wrap="square">
            <a:spAutoFit/>
          </a:bodyPr>
          <a:lstStyle/>
          <a:p>
            <a:r>
              <a:rPr lang="en-US"/>
              <a:t>Human labor is reaching its limits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1FE05D44-9C7A-9FDB-9A60-E0DB5E1DFF73}"/>
              </a:ext>
            </a:extLst>
          </p:cNvPr>
          <p:cNvSpPr txBox="1">
            <a:spLocks/>
          </p:cNvSpPr>
          <p:nvPr/>
        </p:nvSpPr>
        <p:spPr>
          <a:xfrm>
            <a:off x="588261" y="3620014"/>
            <a:ext cx="3627278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CA" sz="2800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Capacity gap in financial service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AD6F06-4463-A5A4-3C8A-44DD244F71F0}"/>
              </a:ext>
            </a:extLst>
          </p:cNvPr>
          <p:cNvSpPr txBox="1"/>
          <p:nvPr/>
        </p:nvSpPr>
        <p:spPr>
          <a:xfrm>
            <a:off x="588261" y="5975845"/>
            <a:ext cx="3810000" cy="369332"/>
          </a:xfrm>
          <a:prstGeom prst="rect">
            <a:avLst/>
          </a:prstGeom>
          <a:noFill/>
        </p:spPr>
        <p:txBody>
          <a:bodyPr wrap="square" lIns="0" rIns="0" anchor="b">
            <a:spAutoFit/>
          </a:bodyPr>
          <a:lstStyle/>
          <a:p>
            <a:pPr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000">
                <a:ln w="3175">
                  <a:noFill/>
                </a:ln>
                <a:solidFill>
                  <a:schemeClr val="accent6">
                    <a:lumMod val="75000"/>
                  </a:schemeClr>
                </a:solidFill>
                <a:cs typeface="Segoe Sans Text Light" pitchFamily="2" charset="0"/>
              </a:rPr>
              <a:t>Data cut: “Financial Services professionals”</a:t>
            </a:r>
            <a:br>
              <a:rPr lang="en-US" sz="1000">
                <a:ln w="3175">
                  <a:noFill/>
                </a:ln>
                <a:solidFill>
                  <a:schemeClr val="accent6">
                    <a:lumMod val="75000"/>
                  </a:schemeClr>
                </a:solidFill>
                <a:cs typeface="Segoe Sans Text Light" pitchFamily="2" charset="0"/>
              </a:rPr>
            </a:br>
            <a:r>
              <a:rPr lang="en-US" sz="1000">
                <a:ln w="3175">
                  <a:noFill/>
                </a:ln>
                <a:solidFill>
                  <a:schemeClr val="accent6">
                    <a:lumMod val="75000"/>
                  </a:schemeClr>
                </a:solidFill>
                <a:cs typeface="Segoe Sans Text Light" pitchFamily="2" charset="0"/>
              </a:rPr>
              <a:t>Source: Microsoft Work Trend Index Survey 2025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5CADA70-B7D2-52B9-470B-AB61EC526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096000" y="1993928"/>
            <a:ext cx="2346862" cy="3609424"/>
          </a:xfrm>
          <a:prstGeom prst="roundRect">
            <a:avLst>
              <a:gd name="adj" fmla="val 1534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/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</a:pPr>
            <a:endParaRPr lang="en-US" sz="2400" b="1" err="1">
              <a:ln w="3175">
                <a:noFill/>
              </a:ln>
              <a:gradFill>
                <a:gsLst>
                  <a:gs pos="92661">
                    <a:srgbClr val="FFFFFF"/>
                  </a:gs>
                  <a:gs pos="78000">
                    <a:srgbClr val="FFFFFF"/>
                  </a:gs>
                </a:gsLst>
                <a:path path="circle">
                  <a:fillToRect l="100000" b="100000"/>
                </a:path>
              </a:gradFill>
              <a:latin typeface="+mj-lt"/>
              <a:cs typeface="Segoe UI" pitchFamily="34" charset="0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67CAF08A-C4B7-2AC7-A061-E764700005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852647" y="3168078"/>
            <a:ext cx="2346862" cy="2435274"/>
          </a:xfrm>
          <a:prstGeom prst="roundRect">
            <a:avLst>
              <a:gd name="adj" fmla="val 1534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/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</a:pPr>
            <a:endParaRPr lang="en-US" sz="2400" b="1" err="1">
              <a:ln w="3175">
                <a:noFill/>
              </a:ln>
              <a:gradFill>
                <a:gsLst>
                  <a:gs pos="92661">
                    <a:srgbClr val="FFFFFF"/>
                  </a:gs>
                  <a:gs pos="78000">
                    <a:srgbClr val="FFFFFF"/>
                  </a:gs>
                </a:gsLst>
                <a:path path="circle">
                  <a:fillToRect l="100000" b="100000"/>
                </a:path>
              </a:gradFill>
              <a:latin typeface="+mj-lt"/>
              <a:cs typeface="Segoe UI" pitchFamily="34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4576F57-77F1-F5D6-E76A-47AE10648C05}"/>
              </a:ext>
            </a:extLst>
          </p:cNvPr>
          <p:cNvSpPr txBox="1">
            <a:spLocks/>
          </p:cNvSpPr>
          <p:nvPr/>
        </p:nvSpPr>
        <p:spPr>
          <a:xfrm>
            <a:off x="6267119" y="2190315"/>
            <a:ext cx="2004624" cy="101566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6000"/>
              <a:t>83%</a:t>
            </a:r>
            <a:endParaRPr lang="en-CA" sz="6000" b="1">
              <a:gradFill flip="none" rotWithShape="1">
                <a:gsLst>
                  <a:gs pos="98000">
                    <a:srgbClr val="41AFA1"/>
                  </a:gs>
                  <a:gs pos="0">
                    <a:srgbClr val="46A0DE"/>
                  </a:gs>
                </a:gsLst>
                <a:path path="circle">
                  <a:fillToRect l="100000" t="100000"/>
                </a:path>
                <a:tileRect r="-100000" b="-100000"/>
              </a:gra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C23375-449F-287A-80B3-5E34A3A0120E}"/>
              </a:ext>
            </a:extLst>
          </p:cNvPr>
          <p:cNvSpPr txBox="1"/>
          <p:nvPr/>
        </p:nvSpPr>
        <p:spPr>
          <a:xfrm>
            <a:off x="6267119" y="3125296"/>
            <a:ext cx="200462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914367">
              <a:defRPr/>
            </a:pPr>
            <a:r>
              <a:rPr lang="en-US" sz="1600"/>
              <a:t>of </a:t>
            </a:r>
            <a:r>
              <a:rPr lang="en-US" sz="1600">
                <a:latin typeface="+mj-lt"/>
              </a:rPr>
              <a:t>global workers </a:t>
            </a:r>
            <a:r>
              <a:rPr lang="en-US" sz="1600"/>
              <a:t>agreed they lacked enough time/</a:t>
            </a:r>
            <a:br>
              <a:rPr lang="en-US" sz="1600"/>
            </a:br>
            <a:r>
              <a:rPr lang="en-US" sz="1600"/>
              <a:t>energy to do their work</a:t>
            </a: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2E0364CF-2AF6-9A9C-05DB-40B6E6027C24}"/>
              </a:ext>
            </a:extLst>
          </p:cNvPr>
          <p:cNvSpPr txBox="1">
            <a:spLocks/>
          </p:cNvSpPr>
          <p:nvPr/>
        </p:nvSpPr>
        <p:spPr>
          <a:xfrm>
            <a:off x="9023766" y="3433072"/>
            <a:ext cx="2004624" cy="101566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CA" sz="6000"/>
              <a:t>56%</a:t>
            </a:r>
            <a:endParaRPr lang="en-CA" sz="6000" b="1">
              <a:gradFill flip="none" rotWithShape="1">
                <a:gsLst>
                  <a:gs pos="98000">
                    <a:srgbClr val="41AFA1"/>
                  </a:gs>
                  <a:gs pos="0">
                    <a:srgbClr val="46A0DE"/>
                  </a:gs>
                </a:gsLst>
                <a:path path="circle">
                  <a:fillToRect l="100000" t="100000"/>
                </a:path>
                <a:tileRect r="-100000" b="-100000"/>
              </a:gra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31459B5-B11A-C0C4-0B7B-6845DA488739}"/>
              </a:ext>
            </a:extLst>
          </p:cNvPr>
          <p:cNvSpPr txBox="1"/>
          <p:nvPr/>
        </p:nvSpPr>
        <p:spPr>
          <a:xfrm>
            <a:off x="9023766" y="4368053"/>
            <a:ext cx="200462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f </a:t>
            </a:r>
            <a:r>
              <a:rPr lang="en-US" sz="1600">
                <a:latin typeface="+mj-lt"/>
              </a:rPr>
              <a:t>leader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agreed productivity must increas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6271A550-9C7C-3DC4-F055-0D96680E4D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096000" y="1254648"/>
            <a:ext cx="2346862" cy="4348704"/>
          </a:xfrm>
          <a:prstGeom prst="roundRect">
            <a:avLst>
              <a:gd name="adj" fmla="val 15346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 err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382086FA-9CAF-2E56-13D5-8376A57982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852647" y="1254648"/>
            <a:ext cx="2346862" cy="4348704"/>
          </a:xfrm>
          <a:prstGeom prst="roundRect">
            <a:avLst>
              <a:gd name="adj" fmla="val 15346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 err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1480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8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4" grpId="0" animBg="1"/>
      <p:bldP spid="9" grpId="0"/>
      <p:bldP spid="18" grpId="0"/>
      <p:bldP spid="26" grpId="0"/>
      <p:bldP spid="2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3D5CD-EC5C-B033-3BB5-0504970624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A0836B3-3B65-B21A-3866-B8048D0B0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4804008" cy="1107996"/>
          </a:xfrm>
        </p:spPr>
        <p:txBody>
          <a:bodyPr/>
          <a:lstStyle/>
          <a:p>
            <a:r>
              <a:rPr lang="en-US"/>
              <a:t>Intelligence on tap</a:t>
            </a:r>
            <a:br>
              <a:rPr lang="en-US"/>
            </a:br>
            <a:r>
              <a:rPr lang="en-US"/>
              <a:t>will fill the capacity gap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EF602B0-CBA7-917A-4427-476EDA856C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550330" y="2771069"/>
            <a:ext cx="1580048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mployees are 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ln w="3175">
                  <a:noFill/>
                </a:ln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cs typeface="Segoe UI" pitchFamily="34" charset="0"/>
              </a:rPr>
              <a:t>at capacity... </a:t>
            </a:r>
          </a:p>
        </p:txBody>
      </p:sp>
      <p:grpSp>
        <p:nvGrpSpPr>
          <p:cNvPr id="2" name="Group 1" descr="Graphic: a full cup.">
            <a:extLst>
              <a:ext uri="{FF2B5EF4-FFF2-40B4-BE49-F238E27FC236}">
                <a16:creationId xmlns:a16="http://schemas.microsoft.com/office/drawing/2014/main" id="{D2E90D92-36F4-4800-79DE-F0568097A263}"/>
              </a:ext>
            </a:extLst>
          </p:cNvPr>
          <p:cNvGrpSpPr/>
          <p:nvPr/>
        </p:nvGrpSpPr>
        <p:grpSpPr>
          <a:xfrm>
            <a:off x="1448978" y="3669655"/>
            <a:ext cx="1781990" cy="2558154"/>
            <a:chOff x="1448978" y="3669655"/>
            <a:chExt cx="1781990" cy="2558154"/>
          </a:xfrm>
        </p:grpSpPr>
        <p:sp>
          <p:nvSpPr>
            <p:cNvPr id="13" name="Freeform: Shape 3">
              <a:extLst>
                <a:ext uri="{FF2B5EF4-FFF2-40B4-BE49-F238E27FC236}">
                  <a16:creationId xmlns:a16="http://schemas.microsoft.com/office/drawing/2014/main" id="{AB567631-F004-E494-CF87-68CF39EFF8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48978" y="4204002"/>
              <a:ext cx="1781010" cy="2023807"/>
            </a:xfrm>
            <a:custGeom>
              <a:avLst/>
              <a:gdLst>
                <a:gd name="connsiteX0" fmla="*/ 0 w 1781010"/>
                <a:gd name="connsiteY0" fmla="*/ 0 h 2023807"/>
                <a:gd name="connsiteX1" fmla="*/ 80136 w 1781010"/>
                <a:gd name="connsiteY1" fmla="*/ 1375447 h 2023807"/>
                <a:gd name="connsiteX2" fmla="*/ 890505 w 1781010"/>
                <a:gd name="connsiteY2" fmla="*/ 2023808 h 2023807"/>
                <a:gd name="connsiteX3" fmla="*/ 1700875 w 1781010"/>
                <a:gd name="connsiteY3" fmla="*/ 1375447 h 2023807"/>
                <a:gd name="connsiteX4" fmla="*/ 1781011 w 1781010"/>
                <a:gd name="connsiteY4" fmla="*/ 0 h 202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1010" h="2023807">
                  <a:moveTo>
                    <a:pt x="0" y="0"/>
                  </a:moveTo>
                  <a:lnTo>
                    <a:pt x="80136" y="1375447"/>
                  </a:lnTo>
                  <a:cubicBezTo>
                    <a:pt x="80136" y="1733451"/>
                    <a:pt x="442918" y="2023808"/>
                    <a:pt x="890505" y="2023808"/>
                  </a:cubicBezTo>
                  <a:cubicBezTo>
                    <a:pt x="1338093" y="2023808"/>
                    <a:pt x="1700875" y="1733560"/>
                    <a:pt x="1700875" y="1375447"/>
                  </a:cubicBezTo>
                  <a:lnTo>
                    <a:pt x="1781011" y="0"/>
                  </a:lnTo>
                </a:path>
              </a:pathLst>
            </a:custGeom>
            <a:noFill/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15" name="Freeform: Shape 5">
              <a:extLst>
                <a:ext uri="{FF2B5EF4-FFF2-40B4-BE49-F238E27FC236}">
                  <a16:creationId xmlns:a16="http://schemas.microsoft.com/office/drawing/2014/main" id="{284C7BB5-5062-0992-43DE-012C748231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648917" y="4535838"/>
              <a:ext cx="1394882" cy="1554937"/>
            </a:xfrm>
            <a:custGeom>
              <a:avLst/>
              <a:gdLst>
                <a:gd name="connsiteX0" fmla="*/ 697767 w 1394882"/>
                <a:gd name="connsiteY0" fmla="*/ 202511 h 1554937"/>
                <a:gd name="connsiteX1" fmla="*/ 0 w 1394882"/>
                <a:gd name="connsiteY1" fmla="*/ 0 h 1554937"/>
                <a:gd name="connsiteX2" fmla="*/ 62762 w 1394882"/>
                <a:gd name="connsiteY2" fmla="*/ 1047194 h 1554937"/>
                <a:gd name="connsiteX3" fmla="*/ 697441 w 1394882"/>
                <a:gd name="connsiteY3" fmla="*/ 1554938 h 1554937"/>
                <a:gd name="connsiteX4" fmla="*/ 1332121 w 1394882"/>
                <a:gd name="connsiteY4" fmla="*/ 1047194 h 1554937"/>
                <a:gd name="connsiteX5" fmla="*/ 1394883 w 1394882"/>
                <a:gd name="connsiteY5" fmla="*/ 434 h 1554937"/>
                <a:gd name="connsiteX6" fmla="*/ 697658 w 1394882"/>
                <a:gd name="connsiteY6" fmla="*/ 202511 h 1554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4882" h="1554937">
                  <a:moveTo>
                    <a:pt x="697767" y="202511"/>
                  </a:moveTo>
                  <a:cubicBezTo>
                    <a:pt x="415012" y="202511"/>
                    <a:pt x="163203" y="123353"/>
                    <a:pt x="0" y="0"/>
                  </a:cubicBezTo>
                  <a:lnTo>
                    <a:pt x="62762" y="1047194"/>
                  </a:lnTo>
                  <a:cubicBezTo>
                    <a:pt x="62762" y="1327561"/>
                    <a:pt x="346929" y="1554938"/>
                    <a:pt x="697441" y="1554938"/>
                  </a:cubicBezTo>
                  <a:cubicBezTo>
                    <a:pt x="1047954" y="1554938"/>
                    <a:pt x="1332121" y="1327561"/>
                    <a:pt x="1332121" y="1047194"/>
                  </a:cubicBezTo>
                  <a:lnTo>
                    <a:pt x="1394883" y="434"/>
                  </a:lnTo>
                  <a:cubicBezTo>
                    <a:pt x="1231679" y="123461"/>
                    <a:pt x="980197" y="202511"/>
                    <a:pt x="697658" y="202511"/>
                  </a:cubicBezTo>
                  <a:close/>
                </a:path>
              </a:pathLst>
            </a:custGeom>
            <a:solidFill>
              <a:srgbClr val="194449">
                <a:alpha val="90000"/>
              </a:srgbClr>
            </a:solidFill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99BCD8FE-A615-BE20-72C0-FB2F45717E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648700" y="3821131"/>
              <a:ext cx="1395534" cy="765741"/>
            </a:xfrm>
            <a:custGeom>
              <a:avLst/>
              <a:gdLst>
                <a:gd name="connsiteX0" fmla="*/ 1395534 w 1395534"/>
                <a:gd name="connsiteY0" fmla="*/ 382871 h 765741"/>
                <a:gd name="connsiteX1" fmla="*/ 697767 w 1395534"/>
                <a:gd name="connsiteY1" fmla="*/ 765742 h 765741"/>
                <a:gd name="connsiteX2" fmla="*/ 0 w 1395534"/>
                <a:gd name="connsiteY2" fmla="*/ 382871 h 765741"/>
                <a:gd name="connsiteX3" fmla="*/ 697767 w 1395534"/>
                <a:gd name="connsiteY3" fmla="*/ 0 h 765741"/>
                <a:gd name="connsiteX4" fmla="*/ 1395534 w 1395534"/>
                <a:gd name="connsiteY4" fmla="*/ 382871 h 76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534" h="765741">
                  <a:moveTo>
                    <a:pt x="1395534" y="382871"/>
                  </a:moveTo>
                  <a:cubicBezTo>
                    <a:pt x="1395534" y="594324"/>
                    <a:pt x="1083133" y="765742"/>
                    <a:pt x="697767" y="765742"/>
                  </a:cubicBezTo>
                  <a:cubicBezTo>
                    <a:pt x="312401" y="765742"/>
                    <a:pt x="0" y="594325"/>
                    <a:pt x="0" y="382871"/>
                  </a:cubicBezTo>
                  <a:cubicBezTo>
                    <a:pt x="0" y="171417"/>
                    <a:pt x="312401" y="0"/>
                    <a:pt x="697767" y="0"/>
                  </a:cubicBezTo>
                  <a:cubicBezTo>
                    <a:pt x="1083133" y="0"/>
                    <a:pt x="1395534" y="171417"/>
                    <a:pt x="1395534" y="382871"/>
                  </a:cubicBezTo>
                  <a:close/>
                </a:path>
              </a:pathLst>
            </a:custGeom>
            <a:solidFill>
              <a:srgbClr val="194449">
                <a:alpha val="90000"/>
              </a:srgbClr>
            </a:solidFill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14" name="Freeform: Shape 4">
              <a:extLst>
                <a:ext uri="{FF2B5EF4-FFF2-40B4-BE49-F238E27FC236}">
                  <a16:creationId xmlns:a16="http://schemas.microsoft.com/office/drawing/2014/main" id="{1D6BC8A5-977F-C573-F448-87552FBA26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449741" y="3669655"/>
              <a:ext cx="1781227" cy="1068693"/>
            </a:xfrm>
            <a:custGeom>
              <a:avLst/>
              <a:gdLst>
                <a:gd name="connsiteX0" fmla="*/ 1781228 w 1781227"/>
                <a:gd name="connsiteY0" fmla="*/ 534347 h 1068693"/>
                <a:gd name="connsiteX1" fmla="*/ 890614 w 1781227"/>
                <a:gd name="connsiteY1" fmla="*/ 1068694 h 1068693"/>
                <a:gd name="connsiteX2" fmla="*/ 0 w 1781227"/>
                <a:gd name="connsiteY2" fmla="*/ 534347 h 1068693"/>
                <a:gd name="connsiteX3" fmla="*/ 890614 w 1781227"/>
                <a:gd name="connsiteY3" fmla="*/ 0 h 1068693"/>
                <a:gd name="connsiteX4" fmla="*/ 1781228 w 1781227"/>
                <a:gd name="connsiteY4" fmla="*/ 534347 h 106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1227" h="1068693">
                  <a:moveTo>
                    <a:pt x="1781228" y="534347"/>
                  </a:moveTo>
                  <a:cubicBezTo>
                    <a:pt x="1781228" y="829459"/>
                    <a:pt x="1382486" y="1068694"/>
                    <a:pt x="890614" y="1068694"/>
                  </a:cubicBezTo>
                  <a:cubicBezTo>
                    <a:pt x="398741" y="1068694"/>
                    <a:pt x="0" y="829459"/>
                    <a:pt x="0" y="534347"/>
                  </a:cubicBezTo>
                  <a:cubicBezTo>
                    <a:pt x="0" y="239235"/>
                    <a:pt x="398741" y="0"/>
                    <a:pt x="890614" y="0"/>
                  </a:cubicBezTo>
                  <a:cubicBezTo>
                    <a:pt x="1382486" y="0"/>
                    <a:pt x="1781228" y="239235"/>
                    <a:pt x="1781228" y="534347"/>
                  </a:cubicBezTo>
                  <a:close/>
                </a:path>
              </a:pathLst>
            </a:custGeom>
            <a:noFill/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A8080A2E-AB97-15BB-1024-B6F46442F2E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422790" y="2117926"/>
            <a:ext cx="2155360" cy="5539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but leaders need </a:t>
            </a:r>
          </a:p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to deliver </a:t>
            </a:r>
            <a:r>
              <a:rPr lang="en-US" b="1">
                <a:ln w="3175">
                  <a:noFill/>
                </a:ln>
                <a:gradFill flip="none" rotWithShape="1">
                  <a:gsLst>
                    <a:gs pos="2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cs typeface="Segoe UI" pitchFamily="34" charset="0"/>
              </a:rPr>
              <a:t>more... </a:t>
            </a:r>
            <a:endParaRPr lang="en-US" sz="1600" b="1">
              <a:ln w="3175">
                <a:noFill/>
              </a:ln>
              <a:gradFill flip="none" rotWithShape="1">
                <a:gsLst>
                  <a:gs pos="26000">
                    <a:srgbClr val="41AFA1"/>
                  </a:gs>
                  <a:gs pos="0">
                    <a:srgbClr val="46A0DE"/>
                  </a:gs>
                </a:gsLst>
                <a:path path="circle">
                  <a:fillToRect l="100000" t="100000"/>
                </a:path>
                <a:tileRect r="-100000" b="-100000"/>
              </a:gradFill>
              <a:latin typeface="+mj-lt"/>
              <a:cs typeface="Segoe UI" pitchFamily="34" charset="0"/>
            </a:endParaRPr>
          </a:p>
        </p:txBody>
      </p:sp>
      <p:grpSp>
        <p:nvGrpSpPr>
          <p:cNvPr id="3" name="Group 2" descr="Graphic: an extended cup.">
            <a:extLst>
              <a:ext uri="{FF2B5EF4-FFF2-40B4-BE49-F238E27FC236}">
                <a16:creationId xmlns:a16="http://schemas.microsoft.com/office/drawing/2014/main" id="{F198A616-031C-63AA-7C96-5999D0D8E36F}"/>
              </a:ext>
            </a:extLst>
          </p:cNvPr>
          <p:cNvGrpSpPr/>
          <p:nvPr/>
        </p:nvGrpSpPr>
        <p:grpSpPr>
          <a:xfrm>
            <a:off x="4694610" y="2898168"/>
            <a:ext cx="1611720" cy="3330927"/>
            <a:chOff x="4694610" y="2898168"/>
            <a:chExt cx="1611720" cy="3330927"/>
          </a:xfrm>
        </p:grpSpPr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1BF96B95-D305-5065-A657-F772F3BEF3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94610" y="2898168"/>
              <a:ext cx="1611720" cy="966992"/>
            </a:xfrm>
            <a:custGeom>
              <a:avLst/>
              <a:gdLst>
                <a:gd name="connsiteX0" fmla="*/ 1611721 w 1611720"/>
                <a:gd name="connsiteY0" fmla="*/ 483496 h 966992"/>
                <a:gd name="connsiteX1" fmla="*/ 805860 w 1611720"/>
                <a:gd name="connsiteY1" fmla="*/ 966993 h 966992"/>
                <a:gd name="connsiteX2" fmla="*/ 0 w 1611720"/>
                <a:gd name="connsiteY2" fmla="*/ 483496 h 966992"/>
                <a:gd name="connsiteX3" fmla="*/ 805860 w 1611720"/>
                <a:gd name="connsiteY3" fmla="*/ 0 h 966992"/>
                <a:gd name="connsiteX4" fmla="*/ 1611721 w 1611720"/>
                <a:gd name="connsiteY4" fmla="*/ 483496 h 966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1720" h="966992">
                  <a:moveTo>
                    <a:pt x="1611721" y="483496"/>
                  </a:moveTo>
                  <a:cubicBezTo>
                    <a:pt x="1611721" y="750524"/>
                    <a:pt x="1250925" y="966993"/>
                    <a:pt x="805860" y="966993"/>
                  </a:cubicBezTo>
                  <a:cubicBezTo>
                    <a:pt x="360796" y="966993"/>
                    <a:pt x="0" y="750524"/>
                    <a:pt x="0" y="483496"/>
                  </a:cubicBezTo>
                  <a:cubicBezTo>
                    <a:pt x="0" y="216469"/>
                    <a:pt x="360796" y="0"/>
                    <a:pt x="805860" y="0"/>
                  </a:cubicBezTo>
                  <a:cubicBezTo>
                    <a:pt x="1250925" y="0"/>
                    <a:pt x="1611721" y="216469"/>
                    <a:pt x="1611721" y="483496"/>
                  </a:cubicBezTo>
                  <a:close/>
                </a:path>
              </a:pathLst>
            </a:custGeom>
            <a:noFill/>
            <a:ln w="12700" cap="rnd">
              <a:solidFill>
                <a:srgbClr val="888888"/>
              </a:solidFill>
              <a:custDash>
                <a:ds d="448500" sp="448500"/>
              </a:custDash>
              <a:miter/>
            </a:ln>
          </p:spPr>
          <p:txBody>
            <a:bodyPr rtlCol="0" anchor="ctr"/>
            <a:lstStyle/>
            <a:p>
              <a:pPr marL="0" marR="0" lvl="0" indent="0" algn="ctr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1" name="Freeform: Shape 8">
              <a:extLst>
                <a:ext uri="{FF2B5EF4-FFF2-40B4-BE49-F238E27FC236}">
                  <a16:creationId xmlns:a16="http://schemas.microsoft.com/office/drawing/2014/main" id="{49384E53-6859-FFA8-6976-33A620FC7E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94610" y="3435899"/>
              <a:ext cx="982" cy="29475"/>
            </a:xfrm>
            <a:custGeom>
              <a:avLst/>
              <a:gdLst>
                <a:gd name="connsiteX0" fmla="*/ 0 w 982"/>
                <a:gd name="connsiteY0" fmla="*/ 0 h 29475"/>
                <a:gd name="connsiteX1" fmla="*/ 983 w 982"/>
                <a:gd name="connsiteY1" fmla="*/ 29475 h 2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2" h="29475">
                  <a:moveTo>
                    <a:pt x="0" y="0"/>
                  </a:moveTo>
                  <a:lnTo>
                    <a:pt x="983" y="29475"/>
                  </a:lnTo>
                </a:path>
              </a:pathLst>
            </a:custGeom>
            <a:ln w="12700" cap="rnd">
              <a:solidFill>
                <a:srgbClr val="88888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2" name="Freeform: Shape 17">
              <a:extLst>
                <a:ext uri="{FF2B5EF4-FFF2-40B4-BE49-F238E27FC236}">
                  <a16:creationId xmlns:a16="http://schemas.microsoft.com/office/drawing/2014/main" id="{B865041E-B1B7-2AD5-BB34-FD0CEE5821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697459" y="3526782"/>
              <a:ext cx="30359" cy="952353"/>
            </a:xfrm>
            <a:custGeom>
              <a:avLst/>
              <a:gdLst>
                <a:gd name="connsiteX0" fmla="*/ 0 w 30359"/>
                <a:gd name="connsiteY0" fmla="*/ 0 h 952353"/>
                <a:gd name="connsiteX1" fmla="*/ 30360 w 30359"/>
                <a:gd name="connsiteY1" fmla="*/ 952353 h 95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59" h="952353">
                  <a:moveTo>
                    <a:pt x="0" y="0"/>
                  </a:moveTo>
                  <a:lnTo>
                    <a:pt x="30360" y="952353"/>
                  </a:lnTo>
                </a:path>
              </a:pathLst>
            </a:custGeom>
            <a:ln w="12700" cap="rnd">
              <a:solidFill>
                <a:srgbClr val="888888"/>
              </a:solidFill>
              <a:custDash>
                <a:ds d="469500" sp="4695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3" name="Freeform: Shape 18">
              <a:extLst>
                <a:ext uri="{FF2B5EF4-FFF2-40B4-BE49-F238E27FC236}">
                  <a16:creationId xmlns:a16="http://schemas.microsoft.com/office/drawing/2014/main" id="{13DE11CB-DD30-D89E-D45C-03D1F96CF6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728801" y="4509888"/>
              <a:ext cx="884" cy="29475"/>
            </a:xfrm>
            <a:custGeom>
              <a:avLst/>
              <a:gdLst>
                <a:gd name="connsiteX0" fmla="*/ 0 w 884"/>
                <a:gd name="connsiteY0" fmla="*/ 0 h 29475"/>
                <a:gd name="connsiteX1" fmla="*/ 884 w 884"/>
                <a:gd name="connsiteY1" fmla="*/ 29475 h 2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" h="29475">
                  <a:moveTo>
                    <a:pt x="0" y="0"/>
                  </a:moveTo>
                  <a:lnTo>
                    <a:pt x="884" y="29475"/>
                  </a:lnTo>
                </a:path>
              </a:pathLst>
            </a:custGeom>
            <a:ln w="12700" cap="rnd">
              <a:solidFill>
                <a:srgbClr val="88888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4" name="Freeform: Shape 19">
              <a:extLst>
                <a:ext uri="{FF2B5EF4-FFF2-40B4-BE49-F238E27FC236}">
                  <a16:creationId xmlns:a16="http://schemas.microsoft.com/office/drawing/2014/main" id="{8CD27322-81C4-E11F-9C90-18AF84919D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305348" y="3435899"/>
              <a:ext cx="884" cy="29475"/>
            </a:xfrm>
            <a:custGeom>
              <a:avLst/>
              <a:gdLst>
                <a:gd name="connsiteX0" fmla="*/ 884 w 884"/>
                <a:gd name="connsiteY0" fmla="*/ 0 h 29475"/>
                <a:gd name="connsiteX1" fmla="*/ 0 w 884"/>
                <a:gd name="connsiteY1" fmla="*/ 29475 h 2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" h="29475">
                  <a:moveTo>
                    <a:pt x="884" y="0"/>
                  </a:moveTo>
                  <a:lnTo>
                    <a:pt x="0" y="29475"/>
                  </a:lnTo>
                </a:path>
              </a:pathLst>
            </a:custGeom>
            <a:ln w="12700" cap="rnd">
              <a:solidFill>
                <a:srgbClr val="88888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5" name="Freeform: Shape 20">
              <a:extLst>
                <a:ext uri="{FF2B5EF4-FFF2-40B4-BE49-F238E27FC236}">
                  <a16:creationId xmlns:a16="http://schemas.microsoft.com/office/drawing/2014/main" id="{77C03A55-D128-6058-AFD2-382218FB1C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73023" y="3526782"/>
              <a:ext cx="30359" cy="952353"/>
            </a:xfrm>
            <a:custGeom>
              <a:avLst/>
              <a:gdLst>
                <a:gd name="connsiteX0" fmla="*/ 30360 w 30359"/>
                <a:gd name="connsiteY0" fmla="*/ 0 h 952353"/>
                <a:gd name="connsiteX1" fmla="*/ 0 w 30359"/>
                <a:gd name="connsiteY1" fmla="*/ 952353 h 95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359" h="952353">
                  <a:moveTo>
                    <a:pt x="30360" y="0"/>
                  </a:moveTo>
                  <a:lnTo>
                    <a:pt x="0" y="952353"/>
                  </a:lnTo>
                </a:path>
              </a:pathLst>
            </a:custGeom>
            <a:ln w="12700" cap="rnd">
              <a:solidFill>
                <a:srgbClr val="888888"/>
              </a:solidFill>
              <a:custDash>
                <a:ds d="469500" sp="46950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6" name="Freeform: Shape 21">
              <a:extLst>
                <a:ext uri="{FF2B5EF4-FFF2-40B4-BE49-F238E27FC236}">
                  <a16:creationId xmlns:a16="http://schemas.microsoft.com/office/drawing/2014/main" id="{73AEAF70-D6D3-FB45-2BE0-7E4BCC68CF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71156" y="4509888"/>
              <a:ext cx="884" cy="29475"/>
            </a:xfrm>
            <a:custGeom>
              <a:avLst/>
              <a:gdLst>
                <a:gd name="connsiteX0" fmla="*/ 884 w 884"/>
                <a:gd name="connsiteY0" fmla="*/ 0 h 29475"/>
                <a:gd name="connsiteX1" fmla="*/ 0 w 884"/>
                <a:gd name="connsiteY1" fmla="*/ 29475 h 2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" h="29475">
                  <a:moveTo>
                    <a:pt x="884" y="0"/>
                  </a:moveTo>
                  <a:lnTo>
                    <a:pt x="0" y="29475"/>
                  </a:lnTo>
                </a:path>
              </a:pathLst>
            </a:custGeom>
            <a:ln w="12700" cap="rnd">
              <a:solidFill>
                <a:srgbClr val="88888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7" name="Freeform: Shape 22">
              <a:extLst>
                <a:ext uri="{FF2B5EF4-FFF2-40B4-BE49-F238E27FC236}">
                  <a16:creationId xmlns:a16="http://schemas.microsoft.com/office/drawing/2014/main" id="{3C58E7AF-454F-9BF2-024A-07923B0CA0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869105" y="3026288"/>
              <a:ext cx="1262730" cy="692772"/>
            </a:xfrm>
            <a:custGeom>
              <a:avLst/>
              <a:gdLst>
                <a:gd name="connsiteX0" fmla="*/ 1262633 w 1262730"/>
                <a:gd name="connsiteY0" fmla="*/ 346337 h 692772"/>
                <a:gd name="connsiteX1" fmla="*/ 631267 w 1262730"/>
                <a:gd name="connsiteY1" fmla="*/ 692773 h 692772"/>
                <a:gd name="connsiteX2" fmla="*/ 0 w 1262730"/>
                <a:gd name="connsiteY2" fmla="*/ 346337 h 692772"/>
                <a:gd name="connsiteX3" fmla="*/ 631365 w 1262730"/>
                <a:gd name="connsiteY3" fmla="*/ 0 h 692772"/>
                <a:gd name="connsiteX4" fmla="*/ 1262731 w 1262730"/>
                <a:gd name="connsiteY4" fmla="*/ 346435 h 69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2730" h="692772">
                  <a:moveTo>
                    <a:pt x="1262633" y="346337"/>
                  </a:moveTo>
                  <a:cubicBezTo>
                    <a:pt x="1262633" y="537633"/>
                    <a:pt x="979962" y="692773"/>
                    <a:pt x="631267" y="692773"/>
                  </a:cubicBezTo>
                  <a:cubicBezTo>
                    <a:pt x="282572" y="692773"/>
                    <a:pt x="0" y="537731"/>
                    <a:pt x="0" y="346337"/>
                  </a:cubicBezTo>
                  <a:cubicBezTo>
                    <a:pt x="0" y="154943"/>
                    <a:pt x="282670" y="0"/>
                    <a:pt x="631365" y="0"/>
                  </a:cubicBezTo>
                  <a:cubicBezTo>
                    <a:pt x="980061" y="0"/>
                    <a:pt x="1262731" y="155139"/>
                    <a:pt x="1262731" y="346435"/>
                  </a:cubicBezTo>
                  <a:close/>
                </a:path>
              </a:pathLst>
            </a:custGeom>
            <a:noFill/>
            <a:ln w="12700" cap="rnd">
              <a:solidFill>
                <a:srgbClr val="888888"/>
              </a:solidFill>
              <a:custDash>
                <a:ds d="443250" sp="44325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68" name="Freeform: Shape 23">
              <a:extLst>
                <a:ext uri="{FF2B5EF4-FFF2-40B4-BE49-F238E27FC236}">
                  <a16:creationId xmlns:a16="http://schemas.microsoft.com/office/drawing/2014/main" id="{8B02D63A-7FA0-A6C2-9BDA-40F77081E6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729686" y="4539363"/>
              <a:ext cx="1541372" cy="1689732"/>
            </a:xfrm>
            <a:custGeom>
              <a:avLst/>
              <a:gdLst>
                <a:gd name="connsiteX0" fmla="*/ 0 w 1541372"/>
                <a:gd name="connsiteY0" fmla="*/ 0 h 1689732"/>
                <a:gd name="connsiteX1" fmla="*/ 37434 w 1541372"/>
                <a:gd name="connsiteY1" fmla="*/ 1103072 h 1689732"/>
                <a:gd name="connsiteX2" fmla="*/ 770686 w 1541372"/>
                <a:gd name="connsiteY2" fmla="*/ 1689732 h 1689732"/>
                <a:gd name="connsiteX3" fmla="*/ 1503939 w 1541372"/>
                <a:gd name="connsiteY3" fmla="*/ 1103072 h 1689732"/>
                <a:gd name="connsiteX4" fmla="*/ 1541372 w 1541372"/>
                <a:gd name="connsiteY4" fmla="*/ 0 h 168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372" h="1689732">
                  <a:moveTo>
                    <a:pt x="0" y="0"/>
                  </a:moveTo>
                  <a:lnTo>
                    <a:pt x="37434" y="1103072"/>
                  </a:lnTo>
                  <a:cubicBezTo>
                    <a:pt x="37434" y="1427007"/>
                    <a:pt x="365693" y="1689732"/>
                    <a:pt x="770686" y="1689732"/>
                  </a:cubicBezTo>
                  <a:cubicBezTo>
                    <a:pt x="1175680" y="1689732"/>
                    <a:pt x="1503939" y="1427106"/>
                    <a:pt x="1503939" y="1103072"/>
                  </a:cubicBezTo>
                  <a:lnTo>
                    <a:pt x="1541372" y="0"/>
                  </a:lnTo>
                </a:path>
              </a:pathLst>
            </a:custGeom>
            <a:noFill/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69" name="Freeform: Shape 24">
              <a:extLst>
                <a:ext uri="{FF2B5EF4-FFF2-40B4-BE49-F238E27FC236}">
                  <a16:creationId xmlns:a16="http://schemas.microsoft.com/office/drawing/2014/main" id="{340924CD-3119-8622-E895-0BD6E68AFB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869301" y="4698040"/>
              <a:ext cx="1262141" cy="1406963"/>
            </a:xfrm>
            <a:custGeom>
              <a:avLst/>
              <a:gdLst>
                <a:gd name="connsiteX0" fmla="*/ 631365 w 1262141"/>
                <a:gd name="connsiteY0" fmla="*/ 183239 h 1406963"/>
                <a:gd name="connsiteX1" fmla="*/ 0 w 1262141"/>
                <a:gd name="connsiteY1" fmla="*/ 0 h 1406963"/>
                <a:gd name="connsiteX2" fmla="*/ 56789 w 1262141"/>
                <a:gd name="connsiteY2" fmla="*/ 947539 h 1406963"/>
                <a:gd name="connsiteX3" fmla="*/ 631071 w 1262141"/>
                <a:gd name="connsiteY3" fmla="*/ 1406964 h 1406963"/>
                <a:gd name="connsiteX4" fmla="*/ 1205352 w 1262141"/>
                <a:gd name="connsiteY4" fmla="*/ 947539 h 1406963"/>
                <a:gd name="connsiteX5" fmla="*/ 1262141 w 1262141"/>
                <a:gd name="connsiteY5" fmla="*/ 393 h 1406963"/>
                <a:gd name="connsiteX6" fmla="*/ 631267 w 1262141"/>
                <a:gd name="connsiteY6" fmla="*/ 183239 h 140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2141" h="1406963">
                  <a:moveTo>
                    <a:pt x="631365" y="183239"/>
                  </a:moveTo>
                  <a:cubicBezTo>
                    <a:pt x="375518" y="183239"/>
                    <a:pt x="147672" y="111614"/>
                    <a:pt x="0" y="0"/>
                  </a:cubicBezTo>
                  <a:lnTo>
                    <a:pt x="56789" y="947539"/>
                  </a:lnTo>
                  <a:cubicBezTo>
                    <a:pt x="56789" y="1201225"/>
                    <a:pt x="313914" y="1406964"/>
                    <a:pt x="631071" y="1406964"/>
                  </a:cubicBezTo>
                  <a:cubicBezTo>
                    <a:pt x="948227" y="1406964"/>
                    <a:pt x="1205352" y="1201225"/>
                    <a:pt x="1205352" y="947539"/>
                  </a:cubicBezTo>
                  <a:lnTo>
                    <a:pt x="1262141" y="393"/>
                  </a:lnTo>
                  <a:cubicBezTo>
                    <a:pt x="1114469" y="111712"/>
                    <a:pt x="886918" y="183239"/>
                    <a:pt x="631267" y="183239"/>
                  </a:cubicBezTo>
                  <a:close/>
                </a:path>
              </a:pathLst>
            </a:custGeom>
            <a:solidFill>
              <a:srgbClr val="194449">
                <a:alpha val="90000"/>
              </a:srgbClr>
            </a:solidFill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70" name="Freeform: Shape 25">
              <a:extLst>
                <a:ext uri="{FF2B5EF4-FFF2-40B4-BE49-F238E27FC236}">
                  <a16:creationId xmlns:a16="http://schemas.microsoft.com/office/drawing/2014/main" id="{9C8FCF37-F43C-5AF4-85EA-63C5CCBF27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256713" y="4539363"/>
              <a:ext cx="14443" cy="25643"/>
            </a:xfrm>
            <a:custGeom>
              <a:avLst/>
              <a:gdLst>
                <a:gd name="connsiteX0" fmla="*/ 14443 w 14443"/>
                <a:gd name="connsiteY0" fmla="*/ 0 h 25643"/>
                <a:gd name="connsiteX1" fmla="*/ 0 w 14443"/>
                <a:gd name="connsiteY1" fmla="*/ 25644 h 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43" h="25643">
                  <a:moveTo>
                    <a:pt x="14443" y="0"/>
                  </a:moveTo>
                  <a:cubicBezTo>
                    <a:pt x="10022" y="8646"/>
                    <a:pt x="5207" y="17194"/>
                    <a:pt x="0" y="25644"/>
                  </a:cubicBezTo>
                </a:path>
              </a:pathLst>
            </a:custGeom>
            <a:noFill/>
            <a:ln w="12700" cap="rnd">
              <a:solidFill>
                <a:srgbClr val="88888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71" name="Freeform: Shape 26">
              <a:extLst>
                <a:ext uri="{FF2B5EF4-FFF2-40B4-BE49-F238E27FC236}">
                  <a16:creationId xmlns:a16="http://schemas.microsoft.com/office/drawing/2014/main" id="{06D02C8D-D8B9-4126-FC85-3D5C1EE249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761814" y="4591535"/>
              <a:ext cx="1460707" cy="289744"/>
            </a:xfrm>
            <a:custGeom>
              <a:avLst/>
              <a:gdLst>
                <a:gd name="connsiteX0" fmla="*/ 1460708 w 1460707"/>
                <a:gd name="connsiteY0" fmla="*/ 21124 h 289744"/>
                <a:gd name="connsiteX1" fmla="*/ 738558 w 1460707"/>
                <a:gd name="connsiteY1" fmla="*/ 289744 h 289744"/>
                <a:gd name="connsiteX2" fmla="*/ 0 w 1460707"/>
                <a:gd name="connsiteY2" fmla="*/ 0 h 289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707" h="289744">
                  <a:moveTo>
                    <a:pt x="1460708" y="21124"/>
                  </a:moveTo>
                  <a:cubicBezTo>
                    <a:pt x="1328854" y="180390"/>
                    <a:pt x="1055027" y="289744"/>
                    <a:pt x="738558" y="289744"/>
                  </a:cubicBezTo>
                  <a:cubicBezTo>
                    <a:pt x="422089" y="289744"/>
                    <a:pt x="124485" y="170565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888888"/>
              </a:solidFill>
              <a:custDash>
                <a:ds d="447750" sp="447750"/>
              </a:custDash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sp>
          <p:nvSpPr>
            <p:cNvPr id="72" name="Freeform: Shape 27">
              <a:extLst>
                <a:ext uri="{FF2B5EF4-FFF2-40B4-BE49-F238E27FC236}">
                  <a16:creationId xmlns:a16="http://schemas.microsoft.com/office/drawing/2014/main" id="{986845BE-EC26-DF89-79DB-FD77EF8386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730766" y="4541623"/>
              <a:ext cx="14639" cy="25545"/>
            </a:xfrm>
            <a:custGeom>
              <a:avLst/>
              <a:gdLst>
                <a:gd name="connsiteX0" fmla="*/ 14640 w 14639"/>
                <a:gd name="connsiteY0" fmla="*/ 25545 h 25545"/>
                <a:gd name="connsiteX1" fmla="*/ 0 w 14639"/>
                <a:gd name="connsiteY1" fmla="*/ 0 h 2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9" h="25545">
                  <a:moveTo>
                    <a:pt x="14640" y="25545"/>
                  </a:moveTo>
                  <a:cubicBezTo>
                    <a:pt x="9432" y="17096"/>
                    <a:pt x="4520" y="8548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888888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F70C378C-26F0-4B08-3DC9-B447EC16031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7257143" y="1618947"/>
            <a:ext cx="1857828" cy="83099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and plan to use </a:t>
            </a:r>
            <a:r>
              <a:rPr lang="en-US" b="1">
                <a:ln w="3175">
                  <a:noFill/>
                </a:ln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+mj-lt"/>
                <a:cs typeface="Segoe UI" pitchFamily="34" charset="0"/>
              </a:rPr>
              <a:t>agents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to meet the demand. </a:t>
            </a:r>
          </a:p>
        </p:txBody>
      </p:sp>
      <p:grpSp>
        <p:nvGrpSpPr>
          <p:cNvPr id="4" name="Group 3" descr="Graphic: a cup being filled from a faucet.">
            <a:extLst>
              <a:ext uri="{FF2B5EF4-FFF2-40B4-BE49-F238E27FC236}">
                <a16:creationId xmlns:a16="http://schemas.microsoft.com/office/drawing/2014/main" id="{2807E4C5-4AF2-E2E7-B646-EA463AD79C29}"/>
              </a:ext>
            </a:extLst>
          </p:cNvPr>
          <p:cNvGrpSpPr/>
          <p:nvPr/>
        </p:nvGrpSpPr>
        <p:grpSpPr>
          <a:xfrm>
            <a:off x="8811746" y="-584497"/>
            <a:ext cx="3270214" cy="6817327"/>
            <a:chOff x="8811746" y="-584497"/>
            <a:chExt cx="3270214" cy="6817327"/>
          </a:xfrm>
        </p:grpSpPr>
        <p:sp>
          <p:nvSpPr>
            <p:cNvPr id="74" name="Freeform: Shape 29">
              <a:extLst>
                <a:ext uri="{FF2B5EF4-FFF2-40B4-BE49-F238E27FC236}">
                  <a16:creationId xmlns:a16="http://schemas.microsoft.com/office/drawing/2014/main" id="{6D7687DE-2717-5402-80E6-E267EC0A67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021894" y="4391031"/>
              <a:ext cx="1518305" cy="1692521"/>
            </a:xfrm>
            <a:custGeom>
              <a:avLst/>
              <a:gdLst>
                <a:gd name="connsiteX0" fmla="*/ 759507 w 1518305"/>
                <a:gd name="connsiteY0" fmla="*/ 220430 h 1692521"/>
                <a:gd name="connsiteX1" fmla="*/ 0 w 1518305"/>
                <a:gd name="connsiteY1" fmla="*/ 0 h 1692521"/>
                <a:gd name="connsiteX2" fmla="*/ 68315 w 1518305"/>
                <a:gd name="connsiteY2" fmla="*/ 1139852 h 1692521"/>
                <a:gd name="connsiteX3" fmla="*/ 759153 w 1518305"/>
                <a:gd name="connsiteY3" fmla="*/ 1692521 h 1692521"/>
                <a:gd name="connsiteX4" fmla="*/ 1449990 w 1518305"/>
                <a:gd name="connsiteY4" fmla="*/ 1139852 h 1692521"/>
                <a:gd name="connsiteX5" fmla="*/ 1518305 w 1518305"/>
                <a:gd name="connsiteY5" fmla="*/ 473 h 1692521"/>
                <a:gd name="connsiteX6" fmla="*/ 759389 w 1518305"/>
                <a:gd name="connsiteY6" fmla="*/ 220430 h 1692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8305" h="1692521">
                  <a:moveTo>
                    <a:pt x="759507" y="220430"/>
                  </a:moveTo>
                  <a:cubicBezTo>
                    <a:pt x="451733" y="220430"/>
                    <a:pt x="177644" y="134267"/>
                    <a:pt x="0" y="0"/>
                  </a:cubicBezTo>
                  <a:lnTo>
                    <a:pt x="68315" y="1139852"/>
                  </a:lnTo>
                  <a:cubicBezTo>
                    <a:pt x="68315" y="1445025"/>
                    <a:pt x="377626" y="1692521"/>
                    <a:pt x="759153" y="1692521"/>
                  </a:cubicBezTo>
                  <a:cubicBezTo>
                    <a:pt x="1140679" y="1692521"/>
                    <a:pt x="1449990" y="1445025"/>
                    <a:pt x="1449990" y="1139852"/>
                  </a:cubicBezTo>
                  <a:lnTo>
                    <a:pt x="1518305" y="473"/>
                  </a:lnTo>
                  <a:cubicBezTo>
                    <a:pt x="1340661" y="134385"/>
                    <a:pt x="1066927" y="220430"/>
                    <a:pt x="759389" y="220430"/>
                  </a:cubicBezTo>
                  <a:close/>
                </a:path>
              </a:pathLst>
            </a:custGeom>
            <a:solidFill>
              <a:srgbClr val="194449">
                <a:alpha val="90000"/>
              </a:srgbClr>
            </a:solidFill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75" name="Freeform: Shape 30">
              <a:extLst>
                <a:ext uri="{FF2B5EF4-FFF2-40B4-BE49-F238E27FC236}">
                  <a16:creationId xmlns:a16="http://schemas.microsoft.com/office/drawing/2014/main" id="{E56BD541-4C8C-6FB0-889D-DD9D2A8074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946014" y="3117851"/>
              <a:ext cx="1670182" cy="1493610"/>
            </a:xfrm>
            <a:custGeom>
              <a:avLst/>
              <a:gdLst>
                <a:gd name="connsiteX0" fmla="*/ 1594303 w 1670182"/>
                <a:gd name="connsiteY0" fmla="*/ 1236179 h 1456135"/>
                <a:gd name="connsiteX1" fmla="*/ 835387 w 1670182"/>
                <a:gd name="connsiteY1" fmla="*/ 1456136 h 1456135"/>
                <a:gd name="connsiteX2" fmla="*/ 75880 w 1670182"/>
                <a:gd name="connsiteY2" fmla="*/ 1235706 h 1456135"/>
                <a:gd name="connsiteX3" fmla="*/ 0 w 1670182"/>
                <a:gd name="connsiteY3" fmla="*/ 0 h 1456135"/>
                <a:gd name="connsiteX4" fmla="*/ 838933 w 1670182"/>
                <a:gd name="connsiteY4" fmla="*/ 244777 h 1456135"/>
                <a:gd name="connsiteX5" fmla="*/ 1670183 w 1670182"/>
                <a:gd name="connsiteY5" fmla="*/ 5673 h 1456135"/>
                <a:gd name="connsiteX6" fmla="*/ 1594185 w 1670182"/>
                <a:gd name="connsiteY6" fmla="*/ 1236061 h 145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0182" h="1456135">
                  <a:moveTo>
                    <a:pt x="1594303" y="1236179"/>
                  </a:moveTo>
                  <a:cubicBezTo>
                    <a:pt x="1416659" y="1370091"/>
                    <a:pt x="1142925" y="1456136"/>
                    <a:pt x="835387" y="1456136"/>
                  </a:cubicBezTo>
                  <a:cubicBezTo>
                    <a:pt x="527849" y="1456136"/>
                    <a:pt x="253524" y="1369973"/>
                    <a:pt x="75880" y="1235706"/>
                  </a:cubicBezTo>
                  <a:lnTo>
                    <a:pt x="0" y="0"/>
                  </a:lnTo>
                  <a:cubicBezTo>
                    <a:pt x="195255" y="149041"/>
                    <a:pt x="498419" y="244777"/>
                    <a:pt x="838933" y="244777"/>
                  </a:cubicBezTo>
                  <a:cubicBezTo>
                    <a:pt x="1179446" y="244777"/>
                    <a:pt x="1474810" y="151523"/>
                    <a:pt x="1670183" y="5673"/>
                  </a:cubicBezTo>
                  <a:lnTo>
                    <a:pt x="1594185" y="1236061"/>
                  </a:lnTo>
                  <a:close/>
                </a:path>
              </a:pathLst>
            </a:custGeom>
            <a:pattFill prst="dashVert">
              <a:fgClr>
                <a:srgbClr val="193F44"/>
              </a:fgClr>
              <a:bgClr>
                <a:srgbClr val="111010"/>
              </a:bgClr>
            </a:pattFill>
            <a:ln w="11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454142"/>
                </a:solidFill>
                <a:effectLst/>
                <a:uLnTx/>
                <a:uFillTx/>
                <a:latin typeface="Segoe Sans Text"/>
                <a:ea typeface="+mn-ea"/>
                <a:cs typeface="+mn-cs"/>
              </a:endParaRPr>
            </a:p>
          </p:txBody>
        </p:sp>
        <p:grpSp>
          <p:nvGrpSpPr>
            <p:cNvPr id="94" name="Graphic 22">
              <a:extLst>
                <a:ext uri="{FF2B5EF4-FFF2-40B4-BE49-F238E27FC236}">
                  <a16:creationId xmlns:a16="http://schemas.microsoft.com/office/drawing/2014/main" id="{72EDE74F-E9B0-6F37-971C-55D6487BEF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018230" y="-584497"/>
              <a:ext cx="3063730" cy="2061101"/>
              <a:chOff x="8890387" y="-1114807"/>
              <a:chExt cx="3877552" cy="2758832"/>
            </a:xfrm>
            <a:noFill/>
          </p:grpSpPr>
          <p:sp>
            <p:nvSpPr>
              <p:cNvPr id="95" name="Freeform: Shape 50">
                <a:extLst>
                  <a:ext uri="{FF2B5EF4-FFF2-40B4-BE49-F238E27FC236}">
                    <a16:creationId xmlns:a16="http://schemas.microsoft.com/office/drawing/2014/main" id="{419E88AC-646C-4869-D82D-1C8E07C8354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8890387" y="-1114807"/>
                <a:ext cx="3877552" cy="2758832"/>
              </a:xfrm>
              <a:custGeom>
                <a:avLst/>
                <a:gdLst>
                  <a:gd name="connsiteX0" fmla="*/ 3877552 w 3877552"/>
                  <a:gd name="connsiteY0" fmla="*/ 420947 h 2758832"/>
                  <a:gd name="connsiteX1" fmla="*/ 3877552 w 3877552"/>
                  <a:gd name="connsiteY1" fmla="*/ 629912 h 2758832"/>
                  <a:gd name="connsiteX2" fmla="*/ 3847295 w 3877552"/>
                  <a:gd name="connsiteY2" fmla="*/ 686408 h 2758832"/>
                  <a:gd name="connsiteX3" fmla="*/ 1635434 w 3877552"/>
                  <a:gd name="connsiteY3" fmla="*/ 2160982 h 2758832"/>
                  <a:gd name="connsiteX4" fmla="*/ 1635434 w 3877552"/>
                  <a:gd name="connsiteY4" fmla="*/ 2318060 h 2758832"/>
                  <a:gd name="connsiteX5" fmla="*/ 1605177 w 3877552"/>
                  <a:gd name="connsiteY5" fmla="*/ 2374556 h 2758832"/>
                  <a:gd name="connsiteX6" fmla="*/ 1052625 w 3877552"/>
                  <a:gd name="connsiteY6" fmla="*/ 2726889 h 2758832"/>
                  <a:gd name="connsiteX7" fmla="*/ 876636 w 3877552"/>
                  <a:gd name="connsiteY7" fmla="*/ 2745209 h 2758832"/>
                  <a:gd name="connsiteX8" fmla="*/ 42786 w 3877552"/>
                  <a:gd name="connsiteY8" fmla="*/ 2411669 h 2758832"/>
                  <a:gd name="connsiteX9" fmla="*/ 0 w 3877552"/>
                  <a:gd name="connsiteY9" fmla="*/ 2348554 h 2758832"/>
                  <a:gd name="connsiteX10" fmla="*/ 0 w 3877552"/>
                  <a:gd name="connsiteY10" fmla="*/ 1962536 h 2758832"/>
                  <a:gd name="connsiteX11" fmla="*/ 30021 w 3877552"/>
                  <a:gd name="connsiteY11" fmla="*/ 1906158 h 2758832"/>
                  <a:gd name="connsiteX12" fmla="*/ 2823863 w 3877552"/>
                  <a:gd name="connsiteY12" fmla="*/ 32211 h 2758832"/>
                  <a:gd name="connsiteX13" fmla="*/ 3002098 w 3877552"/>
                  <a:gd name="connsiteY13" fmla="*/ 14363 h 2758832"/>
                  <a:gd name="connsiteX14" fmla="*/ 3835476 w 3877552"/>
                  <a:gd name="connsiteY14" fmla="*/ 358186 h 2758832"/>
                  <a:gd name="connsiteX15" fmla="*/ 3877552 w 3877552"/>
                  <a:gd name="connsiteY15" fmla="*/ 420947 h 2758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877552" h="2758832">
                    <a:moveTo>
                      <a:pt x="3877552" y="420947"/>
                    </a:moveTo>
                    <a:lnTo>
                      <a:pt x="3877552" y="629912"/>
                    </a:lnTo>
                    <a:cubicBezTo>
                      <a:pt x="3877552" y="652605"/>
                      <a:pt x="3866206" y="673880"/>
                      <a:pt x="3847295" y="686408"/>
                    </a:cubicBezTo>
                    <a:lnTo>
                      <a:pt x="1635434" y="2160982"/>
                    </a:lnTo>
                    <a:lnTo>
                      <a:pt x="1635434" y="2318060"/>
                    </a:lnTo>
                    <a:cubicBezTo>
                      <a:pt x="1635434" y="2340753"/>
                      <a:pt x="1624088" y="2362028"/>
                      <a:pt x="1605177" y="2374556"/>
                    </a:cubicBezTo>
                    <a:lnTo>
                      <a:pt x="1052625" y="2726889"/>
                    </a:lnTo>
                    <a:cubicBezTo>
                      <a:pt x="1000621" y="2761638"/>
                      <a:pt x="934787" y="2768493"/>
                      <a:pt x="876636" y="2745209"/>
                    </a:cubicBezTo>
                    <a:lnTo>
                      <a:pt x="42786" y="2411669"/>
                    </a:lnTo>
                    <a:cubicBezTo>
                      <a:pt x="16902" y="2401386"/>
                      <a:pt x="0" y="2376329"/>
                      <a:pt x="0" y="2348554"/>
                    </a:cubicBezTo>
                    <a:lnTo>
                      <a:pt x="0" y="1962536"/>
                    </a:lnTo>
                    <a:cubicBezTo>
                      <a:pt x="0" y="1939843"/>
                      <a:pt x="11228" y="1918686"/>
                      <a:pt x="30021" y="1906158"/>
                    </a:cubicBezTo>
                    <a:lnTo>
                      <a:pt x="2823863" y="32211"/>
                    </a:lnTo>
                    <a:cubicBezTo>
                      <a:pt x="2876459" y="-3129"/>
                      <a:pt x="2943356" y="-9866"/>
                      <a:pt x="3002098" y="14363"/>
                    </a:cubicBezTo>
                    <a:lnTo>
                      <a:pt x="3835476" y="358186"/>
                    </a:lnTo>
                    <a:cubicBezTo>
                      <a:pt x="3861005" y="368706"/>
                      <a:pt x="3877552" y="393526"/>
                      <a:pt x="3877552" y="42094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  <a:tileRect r="-100000" b="-100000"/>
              </a:gradFill>
            </p:spPr>
            <p:txBody>
              <a:bodyPr wrap="square" lIns="91440" tIns="18288" rIns="91440" bIns="36576" rtlCol="0" anchor="ctr" anchorCtr="0">
                <a:noAutofit/>
              </a:bodyPr>
              <a:lstStyle/>
              <a:p>
                <a:pPr algn="ctr" defTabSz="914437" fontAlgn="base">
                  <a:spcBef>
                    <a:spcPct val="0"/>
                  </a:spcBef>
                  <a:spcAft>
                    <a:spcPct val="0"/>
                  </a:spcAft>
                  <a:tabLst>
                    <a:tab pos="1487158" algn="l"/>
                  </a:tabLst>
                </a:pPr>
                <a:endParaRPr lang="en-US" sz="2400" b="1">
                  <a:ln w="3175">
                    <a:noFill/>
                  </a:ln>
                  <a:gradFill>
                    <a:gsLst>
                      <a:gs pos="92661">
                        <a:srgbClr val="FFFFFF"/>
                      </a:gs>
                      <a:gs pos="7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+mj-lt"/>
                  <a:cs typeface="Segoe UI" pitchFamily="34" charset="0"/>
                </a:endParaRPr>
              </a:p>
            </p:txBody>
          </p:sp>
          <p:sp>
            <p:nvSpPr>
              <p:cNvPr id="96" name="Freeform: Shape 51">
                <a:extLst>
                  <a:ext uri="{FF2B5EF4-FFF2-40B4-BE49-F238E27FC236}">
                    <a16:creationId xmlns:a16="http://schemas.microsoft.com/office/drawing/2014/main" id="{284B5CB3-509A-4150-7412-C0BDD730CB0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9847276" y="-654620"/>
                <a:ext cx="2823744" cy="2229589"/>
              </a:xfrm>
              <a:custGeom>
                <a:avLst/>
                <a:gdLst>
                  <a:gd name="connsiteX0" fmla="*/ 0 w 2823744"/>
                  <a:gd name="connsiteY0" fmla="*/ 2229590 h 2229589"/>
                  <a:gd name="connsiteX1" fmla="*/ 0 w 2823744"/>
                  <a:gd name="connsiteY1" fmla="*/ 1930680 h 2229589"/>
                  <a:gd name="connsiteX2" fmla="*/ 30139 w 2823744"/>
                  <a:gd name="connsiteY2" fmla="*/ 1874302 h 2229589"/>
                  <a:gd name="connsiteX3" fmla="*/ 2823745 w 2823744"/>
                  <a:gd name="connsiteY3" fmla="*/ 0 h 2229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23744" h="2229589">
                    <a:moveTo>
                      <a:pt x="0" y="2229590"/>
                    </a:moveTo>
                    <a:lnTo>
                      <a:pt x="0" y="1930680"/>
                    </a:lnTo>
                    <a:cubicBezTo>
                      <a:pt x="0" y="1907987"/>
                      <a:pt x="11228" y="1886830"/>
                      <a:pt x="30139" y="1874302"/>
                    </a:cubicBezTo>
                    <a:lnTo>
                      <a:pt x="2823745" y="0"/>
                    </a:lnTo>
                  </a:path>
                </a:pathLst>
              </a:custGeom>
              <a:noFill/>
              <a:ln w="11810" cap="flat">
                <a:solidFill>
                  <a:srgbClr val="11101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6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454142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endParaRPr>
              </a:p>
            </p:txBody>
          </p:sp>
        </p:grpSp>
        <p:sp>
          <p:nvSpPr>
            <p:cNvPr id="97" name="Freeform: Shape 52">
              <a:extLst>
                <a:ext uri="{FF2B5EF4-FFF2-40B4-BE49-F238E27FC236}">
                  <a16:creationId xmlns:a16="http://schemas.microsoft.com/office/drawing/2014/main" id="{C552C95E-2BDF-A83D-D435-20B06C2425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11746" y="2779472"/>
              <a:ext cx="45719" cy="1420677"/>
            </a:xfrm>
            <a:custGeom>
              <a:avLst/>
              <a:gdLst>
                <a:gd name="connsiteX0" fmla="*/ 0 w 42194"/>
                <a:gd name="connsiteY0" fmla="*/ 0 h 1327541"/>
                <a:gd name="connsiteX1" fmla="*/ 42195 w 42194"/>
                <a:gd name="connsiteY1" fmla="*/ 1327542 h 1327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94" h="1327541">
                  <a:moveTo>
                    <a:pt x="0" y="0"/>
                  </a:moveTo>
                  <a:lnTo>
                    <a:pt x="42195" y="1327542"/>
                  </a:lnTo>
                </a:path>
              </a:pathLst>
            </a:custGeom>
            <a:noFill/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98" name="Freeform: Shape 53">
              <a:extLst>
                <a:ext uri="{FF2B5EF4-FFF2-40B4-BE49-F238E27FC236}">
                  <a16:creationId xmlns:a16="http://schemas.microsoft.com/office/drawing/2014/main" id="{C5570261-BEB2-AD94-B3EA-74E6FA8858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708270" y="2872608"/>
              <a:ext cx="42194" cy="1327541"/>
            </a:xfrm>
            <a:custGeom>
              <a:avLst/>
              <a:gdLst>
                <a:gd name="connsiteX0" fmla="*/ 42195 w 42194"/>
                <a:gd name="connsiteY0" fmla="*/ 0 h 1327541"/>
                <a:gd name="connsiteX1" fmla="*/ 0 w 42194"/>
                <a:gd name="connsiteY1" fmla="*/ 1327542 h 1327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94" h="1327541">
                  <a:moveTo>
                    <a:pt x="42195" y="0"/>
                  </a:moveTo>
                  <a:lnTo>
                    <a:pt x="0" y="1327542"/>
                  </a:lnTo>
                </a:path>
              </a:pathLst>
            </a:custGeom>
            <a:noFill/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99" name="Freeform: Shape 54">
              <a:extLst>
                <a:ext uri="{FF2B5EF4-FFF2-40B4-BE49-F238E27FC236}">
                  <a16:creationId xmlns:a16="http://schemas.microsoft.com/office/drawing/2014/main" id="{81225836-2C91-D2CD-330F-0FFDF55551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53942" y="4200150"/>
              <a:ext cx="1854209" cy="2032680"/>
            </a:xfrm>
            <a:custGeom>
              <a:avLst/>
              <a:gdLst>
                <a:gd name="connsiteX0" fmla="*/ 0 w 1854209"/>
                <a:gd name="connsiteY0" fmla="*/ 0 h 2032680"/>
                <a:gd name="connsiteX1" fmla="*/ 45031 w 1854209"/>
                <a:gd name="connsiteY1" fmla="*/ 1326951 h 2032680"/>
                <a:gd name="connsiteX2" fmla="*/ 927105 w 1854209"/>
                <a:gd name="connsiteY2" fmla="*/ 2032680 h 2032680"/>
                <a:gd name="connsiteX3" fmla="*/ 1809178 w 1854209"/>
                <a:gd name="connsiteY3" fmla="*/ 1326951 h 2032680"/>
                <a:gd name="connsiteX4" fmla="*/ 1854209 w 1854209"/>
                <a:gd name="connsiteY4" fmla="*/ 0 h 2032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209" h="2032680">
                  <a:moveTo>
                    <a:pt x="0" y="0"/>
                  </a:moveTo>
                  <a:lnTo>
                    <a:pt x="45031" y="1326951"/>
                  </a:lnTo>
                  <a:cubicBezTo>
                    <a:pt x="45031" y="1716633"/>
                    <a:pt x="439914" y="2032680"/>
                    <a:pt x="927105" y="2032680"/>
                  </a:cubicBezTo>
                  <a:cubicBezTo>
                    <a:pt x="1414296" y="2032680"/>
                    <a:pt x="1809178" y="1716751"/>
                    <a:pt x="1809178" y="1326951"/>
                  </a:cubicBezTo>
                  <a:lnTo>
                    <a:pt x="1854209" y="0"/>
                  </a:lnTo>
                </a:path>
              </a:pathLst>
            </a:custGeom>
            <a:noFill/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100" name="Freeform: Shape 55">
              <a:extLst>
                <a:ext uri="{FF2B5EF4-FFF2-40B4-BE49-F238E27FC236}">
                  <a16:creationId xmlns:a16="http://schemas.microsoft.com/office/drawing/2014/main" id="{324457D0-E4DC-6D68-C717-ACAE9EF452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55361" y="4200150"/>
              <a:ext cx="1852909" cy="411310"/>
            </a:xfrm>
            <a:custGeom>
              <a:avLst/>
              <a:gdLst>
                <a:gd name="connsiteX0" fmla="*/ 1852909 w 1852909"/>
                <a:gd name="connsiteY0" fmla="*/ 0 h 411310"/>
                <a:gd name="connsiteX1" fmla="*/ 925804 w 1852909"/>
                <a:gd name="connsiteY1" fmla="*/ 411311 h 411310"/>
                <a:gd name="connsiteX2" fmla="*/ 0 w 1852909"/>
                <a:gd name="connsiteY2" fmla="*/ 2600 h 411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52909" h="411310">
                  <a:moveTo>
                    <a:pt x="1852909" y="0"/>
                  </a:moveTo>
                  <a:cubicBezTo>
                    <a:pt x="1731525" y="238158"/>
                    <a:pt x="1362409" y="411311"/>
                    <a:pt x="925804" y="411311"/>
                  </a:cubicBezTo>
                  <a:cubicBezTo>
                    <a:pt x="489200" y="411311"/>
                    <a:pt x="122802" y="239459"/>
                    <a:pt x="0" y="2600"/>
                  </a:cubicBezTo>
                </a:path>
              </a:pathLst>
            </a:custGeom>
            <a:noFill/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 useBgFill="1">
          <p:nvSpPr>
            <p:cNvPr id="73" name="Freeform: Shape 28">
              <a:extLst>
                <a:ext uri="{FF2B5EF4-FFF2-40B4-BE49-F238E27FC236}">
                  <a16:creationId xmlns:a16="http://schemas.microsoft.com/office/drawing/2014/main" id="{C5A80FB9-7A14-B695-CF8C-9EBCE6A626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15175" y="2225856"/>
              <a:ext cx="1938835" cy="1163253"/>
            </a:xfrm>
            <a:custGeom>
              <a:avLst/>
              <a:gdLst>
                <a:gd name="connsiteX0" fmla="*/ 1938835 w 1938835"/>
                <a:gd name="connsiteY0" fmla="*/ 581627 h 1163253"/>
                <a:gd name="connsiteX1" fmla="*/ 969418 w 1938835"/>
                <a:gd name="connsiteY1" fmla="*/ 1163254 h 1163253"/>
                <a:gd name="connsiteX2" fmla="*/ 0 w 1938835"/>
                <a:gd name="connsiteY2" fmla="*/ 581627 h 1163253"/>
                <a:gd name="connsiteX3" fmla="*/ 969418 w 1938835"/>
                <a:gd name="connsiteY3" fmla="*/ 0 h 1163253"/>
                <a:gd name="connsiteX4" fmla="*/ 1938835 w 1938835"/>
                <a:gd name="connsiteY4" fmla="*/ 581627 h 116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8835" h="1163253">
                  <a:moveTo>
                    <a:pt x="1938835" y="581627"/>
                  </a:moveTo>
                  <a:cubicBezTo>
                    <a:pt x="1938835" y="902850"/>
                    <a:pt x="1504812" y="1163254"/>
                    <a:pt x="969418" y="1163254"/>
                  </a:cubicBezTo>
                  <a:cubicBezTo>
                    <a:pt x="434023" y="1163254"/>
                    <a:pt x="0" y="902850"/>
                    <a:pt x="0" y="581627"/>
                  </a:cubicBezTo>
                  <a:cubicBezTo>
                    <a:pt x="0" y="260403"/>
                    <a:pt x="434023" y="0"/>
                    <a:pt x="969418" y="0"/>
                  </a:cubicBezTo>
                  <a:cubicBezTo>
                    <a:pt x="1504812" y="0"/>
                    <a:pt x="1938835" y="260403"/>
                    <a:pt x="1938835" y="581627"/>
                  </a:cubicBezTo>
                  <a:close/>
                </a:path>
              </a:pathLst>
            </a:custGeom>
            <a:ln w="12700" cap="rnd">
              <a:solidFill>
                <a:srgbClr val="888888"/>
              </a:solidFill>
              <a:headEnd type="none" w="lg" len="sm"/>
              <a:tailEnd type="none" w="lg" len="sm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28600" tIns="0" rIns="0" bIns="274320" rtlCol="0" anchor="ctr" anchorCtr="0">
              <a:noAutofit/>
            </a:bodyPr>
            <a:lstStyle/>
            <a:p>
              <a:pPr defTabSz="1427220">
                <a:spcBef>
                  <a:spcPts val="1800"/>
                </a:spcBef>
              </a:pPr>
              <a:endParaRPr lang="en-US" sz="1100"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76" name="Freeform: Shape 31">
              <a:extLst>
                <a:ext uri="{FF2B5EF4-FFF2-40B4-BE49-F238E27FC236}">
                  <a16:creationId xmlns:a16="http://schemas.microsoft.com/office/drawing/2014/main" id="{84063947-745D-DA27-01A0-F0041221C8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018230" y="2379862"/>
              <a:ext cx="1525869" cy="833495"/>
            </a:xfrm>
            <a:custGeom>
              <a:avLst/>
              <a:gdLst>
                <a:gd name="connsiteX0" fmla="*/ 1525870 w 1525869"/>
                <a:gd name="connsiteY0" fmla="*/ 416748 h 833495"/>
                <a:gd name="connsiteX1" fmla="*/ 762935 w 1525869"/>
                <a:gd name="connsiteY1" fmla="*/ 833496 h 833495"/>
                <a:gd name="connsiteX2" fmla="*/ 0 w 1525869"/>
                <a:gd name="connsiteY2" fmla="*/ 416748 h 833495"/>
                <a:gd name="connsiteX3" fmla="*/ 762935 w 1525869"/>
                <a:gd name="connsiteY3" fmla="*/ 0 h 833495"/>
                <a:gd name="connsiteX4" fmla="*/ 1525870 w 1525869"/>
                <a:gd name="connsiteY4" fmla="*/ 416748 h 83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5869" h="833495">
                  <a:moveTo>
                    <a:pt x="1525870" y="416748"/>
                  </a:moveTo>
                  <a:cubicBezTo>
                    <a:pt x="1525870" y="646912"/>
                    <a:pt x="1184292" y="833496"/>
                    <a:pt x="762935" y="833496"/>
                  </a:cubicBezTo>
                  <a:cubicBezTo>
                    <a:pt x="341578" y="833496"/>
                    <a:pt x="0" y="646912"/>
                    <a:pt x="0" y="416748"/>
                  </a:cubicBezTo>
                  <a:cubicBezTo>
                    <a:pt x="0" y="186584"/>
                    <a:pt x="341578" y="0"/>
                    <a:pt x="762935" y="0"/>
                  </a:cubicBezTo>
                  <a:cubicBezTo>
                    <a:pt x="1184292" y="0"/>
                    <a:pt x="1525870" y="186584"/>
                    <a:pt x="1525870" y="416748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77" name="Freeform: Shape 32">
              <a:extLst>
                <a:ext uri="{FF2B5EF4-FFF2-40B4-BE49-F238E27FC236}">
                  <a16:creationId xmlns:a16="http://schemas.microsoft.com/office/drawing/2014/main" id="{4F361ED4-41AC-3759-86C6-2299271A735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018230" y="2379862"/>
              <a:ext cx="1525869" cy="833495"/>
            </a:xfrm>
            <a:custGeom>
              <a:avLst/>
              <a:gdLst>
                <a:gd name="connsiteX0" fmla="*/ 1525870 w 1525869"/>
                <a:gd name="connsiteY0" fmla="*/ 416748 h 833495"/>
                <a:gd name="connsiteX1" fmla="*/ 762935 w 1525869"/>
                <a:gd name="connsiteY1" fmla="*/ 833496 h 833495"/>
                <a:gd name="connsiteX2" fmla="*/ 0 w 1525869"/>
                <a:gd name="connsiteY2" fmla="*/ 416748 h 833495"/>
                <a:gd name="connsiteX3" fmla="*/ 762935 w 1525869"/>
                <a:gd name="connsiteY3" fmla="*/ 0 h 833495"/>
                <a:gd name="connsiteX4" fmla="*/ 1525870 w 1525869"/>
                <a:gd name="connsiteY4" fmla="*/ 416748 h 83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5869" h="833495">
                  <a:moveTo>
                    <a:pt x="1525870" y="416748"/>
                  </a:moveTo>
                  <a:cubicBezTo>
                    <a:pt x="1525870" y="646912"/>
                    <a:pt x="1184292" y="833496"/>
                    <a:pt x="762935" y="833496"/>
                  </a:cubicBezTo>
                  <a:cubicBezTo>
                    <a:pt x="341578" y="833496"/>
                    <a:pt x="0" y="646912"/>
                    <a:pt x="0" y="416748"/>
                  </a:cubicBezTo>
                  <a:cubicBezTo>
                    <a:pt x="0" y="186584"/>
                    <a:pt x="341578" y="0"/>
                    <a:pt x="762935" y="0"/>
                  </a:cubicBezTo>
                  <a:cubicBezTo>
                    <a:pt x="1184292" y="0"/>
                    <a:pt x="1525870" y="186584"/>
                    <a:pt x="1525870" y="416748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78" name="Freeform: Shape 33">
              <a:extLst>
                <a:ext uri="{FF2B5EF4-FFF2-40B4-BE49-F238E27FC236}">
                  <a16:creationId xmlns:a16="http://schemas.microsoft.com/office/drawing/2014/main" id="{2BDEC7D6-D4A9-CD56-B78B-2F894A7466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018230" y="2379862"/>
              <a:ext cx="1525869" cy="833495"/>
            </a:xfrm>
            <a:custGeom>
              <a:avLst/>
              <a:gdLst>
                <a:gd name="connsiteX0" fmla="*/ 1525870 w 1525869"/>
                <a:gd name="connsiteY0" fmla="*/ 416748 h 833495"/>
                <a:gd name="connsiteX1" fmla="*/ 762935 w 1525869"/>
                <a:gd name="connsiteY1" fmla="*/ 833496 h 833495"/>
                <a:gd name="connsiteX2" fmla="*/ 0 w 1525869"/>
                <a:gd name="connsiteY2" fmla="*/ 416748 h 833495"/>
                <a:gd name="connsiteX3" fmla="*/ 762935 w 1525869"/>
                <a:gd name="connsiteY3" fmla="*/ 0 h 833495"/>
                <a:gd name="connsiteX4" fmla="*/ 1525870 w 1525869"/>
                <a:gd name="connsiteY4" fmla="*/ 416748 h 83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5869" h="833495">
                  <a:moveTo>
                    <a:pt x="1525870" y="416748"/>
                  </a:moveTo>
                  <a:cubicBezTo>
                    <a:pt x="1525870" y="646912"/>
                    <a:pt x="1184292" y="833496"/>
                    <a:pt x="762935" y="833496"/>
                  </a:cubicBezTo>
                  <a:cubicBezTo>
                    <a:pt x="341578" y="833496"/>
                    <a:pt x="0" y="646912"/>
                    <a:pt x="0" y="416748"/>
                  </a:cubicBezTo>
                  <a:cubicBezTo>
                    <a:pt x="0" y="186584"/>
                    <a:pt x="341578" y="0"/>
                    <a:pt x="762935" y="0"/>
                  </a:cubicBezTo>
                  <a:cubicBezTo>
                    <a:pt x="1184292" y="0"/>
                    <a:pt x="1525870" y="186584"/>
                    <a:pt x="1525870" y="416748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79" name="Freeform: Shape 34">
              <a:extLst>
                <a:ext uri="{FF2B5EF4-FFF2-40B4-BE49-F238E27FC236}">
                  <a16:creationId xmlns:a16="http://schemas.microsoft.com/office/drawing/2014/main" id="{C65B4363-AF3E-1EEE-D280-B5C762215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146115" y="2513065"/>
              <a:ext cx="1271518" cy="694501"/>
            </a:xfrm>
            <a:custGeom>
              <a:avLst/>
              <a:gdLst>
                <a:gd name="connsiteX0" fmla="*/ 1271518 w 1271518"/>
                <a:gd name="connsiteY0" fmla="*/ 347250 h 694501"/>
                <a:gd name="connsiteX1" fmla="*/ 635759 w 1271518"/>
                <a:gd name="connsiteY1" fmla="*/ 694501 h 694501"/>
                <a:gd name="connsiteX2" fmla="*/ 0 w 1271518"/>
                <a:gd name="connsiteY2" fmla="*/ 347250 h 694501"/>
                <a:gd name="connsiteX3" fmla="*/ 635759 w 1271518"/>
                <a:gd name="connsiteY3" fmla="*/ 0 h 694501"/>
                <a:gd name="connsiteX4" fmla="*/ 1271518 w 1271518"/>
                <a:gd name="connsiteY4" fmla="*/ 347250 h 694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1518" h="694501">
                  <a:moveTo>
                    <a:pt x="1271518" y="347250"/>
                  </a:moveTo>
                  <a:cubicBezTo>
                    <a:pt x="1271518" y="539032"/>
                    <a:pt x="986879" y="694501"/>
                    <a:pt x="635759" y="694501"/>
                  </a:cubicBezTo>
                  <a:cubicBezTo>
                    <a:pt x="284639" y="694501"/>
                    <a:pt x="0" y="539032"/>
                    <a:pt x="0" y="347250"/>
                  </a:cubicBezTo>
                  <a:cubicBezTo>
                    <a:pt x="0" y="155469"/>
                    <a:pt x="284639" y="0"/>
                    <a:pt x="635759" y="0"/>
                  </a:cubicBezTo>
                  <a:cubicBezTo>
                    <a:pt x="986879" y="0"/>
                    <a:pt x="1271518" y="155469"/>
                    <a:pt x="1271518" y="347250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0" name="Freeform: Shape 35">
              <a:extLst>
                <a:ext uri="{FF2B5EF4-FFF2-40B4-BE49-F238E27FC236}">
                  <a16:creationId xmlns:a16="http://schemas.microsoft.com/office/drawing/2014/main" id="{6CFDE5B2-47DA-5C7E-5D5A-70D9CE59F1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146115" y="2513065"/>
              <a:ext cx="1271518" cy="694501"/>
            </a:xfrm>
            <a:custGeom>
              <a:avLst/>
              <a:gdLst>
                <a:gd name="connsiteX0" fmla="*/ 1271518 w 1271518"/>
                <a:gd name="connsiteY0" fmla="*/ 347250 h 694501"/>
                <a:gd name="connsiteX1" fmla="*/ 635759 w 1271518"/>
                <a:gd name="connsiteY1" fmla="*/ 694501 h 694501"/>
                <a:gd name="connsiteX2" fmla="*/ 0 w 1271518"/>
                <a:gd name="connsiteY2" fmla="*/ 347250 h 694501"/>
                <a:gd name="connsiteX3" fmla="*/ 635759 w 1271518"/>
                <a:gd name="connsiteY3" fmla="*/ 0 h 694501"/>
                <a:gd name="connsiteX4" fmla="*/ 1271518 w 1271518"/>
                <a:gd name="connsiteY4" fmla="*/ 347250 h 694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1518" h="694501">
                  <a:moveTo>
                    <a:pt x="1271518" y="347250"/>
                  </a:moveTo>
                  <a:cubicBezTo>
                    <a:pt x="1271518" y="539032"/>
                    <a:pt x="986879" y="694501"/>
                    <a:pt x="635759" y="694501"/>
                  </a:cubicBezTo>
                  <a:cubicBezTo>
                    <a:pt x="284639" y="694501"/>
                    <a:pt x="0" y="539032"/>
                    <a:pt x="0" y="347250"/>
                  </a:cubicBezTo>
                  <a:cubicBezTo>
                    <a:pt x="0" y="155469"/>
                    <a:pt x="284639" y="0"/>
                    <a:pt x="635759" y="0"/>
                  </a:cubicBezTo>
                  <a:cubicBezTo>
                    <a:pt x="986879" y="0"/>
                    <a:pt x="1271518" y="155469"/>
                    <a:pt x="1271518" y="347250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1" name="Freeform: Shape 36">
              <a:extLst>
                <a:ext uri="{FF2B5EF4-FFF2-40B4-BE49-F238E27FC236}">
                  <a16:creationId xmlns:a16="http://schemas.microsoft.com/office/drawing/2014/main" id="{54899A51-5368-CC9B-6629-B3DCA9350F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146115" y="2513065"/>
              <a:ext cx="1271518" cy="694501"/>
            </a:xfrm>
            <a:custGeom>
              <a:avLst/>
              <a:gdLst>
                <a:gd name="connsiteX0" fmla="*/ 1271518 w 1271518"/>
                <a:gd name="connsiteY0" fmla="*/ 347250 h 694501"/>
                <a:gd name="connsiteX1" fmla="*/ 635759 w 1271518"/>
                <a:gd name="connsiteY1" fmla="*/ 694501 h 694501"/>
                <a:gd name="connsiteX2" fmla="*/ 0 w 1271518"/>
                <a:gd name="connsiteY2" fmla="*/ 347250 h 694501"/>
                <a:gd name="connsiteX3" fmla="*/ 635759 w 1271518"/>
                <a:gd name="connsiteY3" fmla="*/ 0 h 694501"/>
                <a:gd name="connsiteX4" fmla="*/ 1271518 w 1271518"/>
                <a:gd name="connsiteY4" fmla="*/ 347250 h 694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1518" h="694501">
                  <a:moveTo>
                    <a:pt x="1271518" y="347250"/>
                  </a:moveTo>
                  <a:cubicBezTo>
                    <a:pt x="1271518" y="539032"/>
                    <a:pt x="986879" y="694501"/>
                    <a:pt x="635759" y="694501"/>
                  </a:cubicBezTo>
                  <a:cubicBezTo>
                    <a:pt x="284639" y="694501"/>
                    <a:pt x="0" y="539032"/>
                    <a:pt x="0" y="347250"/>
                  </a:cubicBezTo>
                  <a:cubicBezTo>
                    <a:pt x="0" y="155469"/>
                    <a:pt x="284639" y="0"/>
                    <a:pt x="635759" y="0"/>
                  </a:cubicBezTo>
                  <a:cubicBezTo>
                    <a:pt x="986879" y="0"/>
                    <a:pt x="1271518" y="155469"/>
                    <a:pt x="1271518" y="347250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2" name="Freeform: Shape 37">
              <a:extLst>
                <a:ext uri="{FF2B5EF4-FFF2-40B4-BE49-F238E27FC236}">
                  <a16:creationId xmlns:a16="http://schemas.microsoft.com/office/drawing/2014/main" id="{F7E0E618-F6B2-CAFC-9CED-8929107DB3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274000" y="2646387"/>
              <a:ext cx="1017167" cy="555506"/>
            </a:xfrm>
            <a:custGeom>
              <a:avLst/>
              <a:gdLst>
                <a:gd name="connsiteX0" fmla="*/ 1017168 w 1017167"/>
                <a:gd name="connsiteY0" fmla="*/ 277753 h 555506"/>
                <a:gd name="connsiteX1" fmla="*/ 508584 w 1017167"/>
                <a:gd name="connsiteY1" fmla="*/ 555506 h 555506"/>
                <a:gd name="connsiteX2" fmla="*/ 0 w 1017167"/>
                <a:gd name="connsiteY2" fmla="*/ 277753 h 555506"/>
                <a:gd name="connsiteX3" fmla="*/ 508584 w 1017167"/>
                <a:gd name="connsiteY3" fmla="*/ 0 h 555506"/>
                <a:gd name="connsiteX4" fmla="*/ 1017168 w 1017167"/>
                <a:gd name="connsiteY4" fmla="*/ 277753 h 555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167" h="555506">
                  <a:moveTo>
                    <a:pt x="1017168" y="277753"/>
                  </a:moveTo>
                  <a:cubicBezTo>
                    <a:pt x="1017168" y="431152"/>
                    <a:pt x="789467" y="555506"/>
                    <a:pt x="508584" y="555506"/>
                  </a:cubicBezTo>
                  <a:cubicBezTo>
                    <a:pt x="227701" y="555506"/>
                    <a:pt x="0" y="431152"/>
                    <a:pt x="0" y="277753"/>
                  </a:cubicBezTo>
                  <a:cubicBezTo>
                    <a:pt x="0" y="124354"/>
                    <a:pt x="227701" y="0"/>
                    <a:pt x="508584" y="0"/>
                  </a:cubicBezTo>
                  <a:cubicBezTo>
                    <a:pt x="789467" y="0"/>
                    <a:pt x="1017168" y="124354"/>
                    <a:pt x="1017168" y="277753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3" name="Freeform: Shape 38">
              <a:extLst>
                <a:ext uri="{FF2B5EF4-FFF2-40B4-BE49-F238E27FC236}">
                  <a16:creationId xmlns:a16="http://schemas.microsoft.com/office/drawing/2014/main" id="{995933F0-8014-ED1C-B33B-CB9BE7CF28D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274000" y="2646387"/>
              <a:ext cx="1017167" cy="555506"/>
            </a:xfrm>
            <a:custGeom>
              <a:avLst/>
              <a:gdLst>
                <a:gd name="connsiteX0" fmla="*/ 1017168 w 1017167"/>
                <a:gd name="connsiteY0" fmla="*/ 277753 h 555506"/>
                <a:gd name="connsiteX1" fmla="*/ 508584 w 1017167"/>
                <a:gd name="connsiteY1" fmla="*/ 555506 h 555506"/>
                <a:gd name="connsiteX2" fmla="*/ 0 w 1017167"/>
                <a:gd name="connsiteY2" fmla="*/ 277753 h 555506"/>
                <a:gd name="connsiteX3" fmla="*/ 508584 w 1017167"/>
                <a:gd name="connsiteY3" fmla="*/ 0 h 555506"/>
                <a:gd name="connsiteX4" fmla="*/ 1017168 w 1017167"/>
                <a:gd name="connsiteY4" fmla="*/ 277753 h 555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167" h="555506">
                  <a:moveTo>
                    <a:pt x="1017168" y="277753"/>
                  </a:moveTo>
                  <a:cubicBezTo>
                    <a:pt x="1017168" y="431152"/>
                    <a:pt x="789467" y="555506"/>
                    <a:pt x="508584" y="555506"/>
                  </a:cubicBezTo>
                  <a:cubicBezTo>
                    <a:pt x="227701" y="555506"/>
                    <a:pt x="0" y="431152"/>
                    <a:pt x="0" y="277753"/>
                  </a:cubicBezTo>
                  <a:cubicBezTo>
                    <a:pt x="0" y="124354"/>
                    <a:pt x="227701" y="0"/>
                    <a:pt x="508584" y="0"/>
                  </a:cubicBezTo>
                  <a:cubicBezTo>
                    <a:pt x="789467" y="0"/>
                    <a:pt x="1017168" y="124354"/>
                    <a:pt x="1017168" y="277753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4" name="Freeform: Shape 39">
              <a:extLst>
                <a:ext uri="{FF2B5EF4-FFF2-40B4-BE49-F238E27FC236}">
                  <a16:creationId xmlns:a16="http://schemas.microsoft.com/office/drawing/2014/main" id="{D5018378-2B5E-943E-E523-9519FACC4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274000" y="2646387"/>
              <a:ext cx="1017167" cy="555506"/>
            </a:xfrm>
            <a:custGeom>
              <a:avLst/>
              <a:gdLst>
                <a:gd name="connsiteX0" fmla="*/ 1017168 w 1017167"/>
                <a:gd name="connsiteY0" fmla="*/ 277753 h 555506"/>
                <a:gd name="connsiteX1" fmla="*/ 508584 w 1017167"/>
                <a:gd name="connsiteY1" fmla="*/ 555506 h 555506"/>
                <a:gd name="connsiteX2" fmla="*/ 0 w 1017167"/>
                <a:gd name="connsiteY2" fmla="*/ 277753 h 555506"/>
                <a:gd name="connsiteX3" fmla="*/ 508584 w 1017167"/>
                <a:gd name="connsiteY3" fmla="*/ 0 h 555506"/>
                <a:gd name="connsiteX4" fmla="*/ 1017168 w 1017167"/>
                <a:gd name="connsiteY4" fmla="*/ 277753 h 555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7167" h="555506">
                  <a:moveTo>
                    <a:pt x="1017168" y="277753"/>
                  </a:moveTo>
                  <a:cubicBezTo>
                    <a:pt x="1017168" y="431152"/>
                    <a:pt x="789467" y="555506"/>
                    <a:pt x="508584" y="555506"/>
                  </a:cubicBezTo>
                  <a:cubicBezTo>
                    <a:pt x="227701" y="555506"/>
                    <a:pt x="0" y="431152"/>
                    <a:pt x="0" y="277753"/>
                  </a:cubicBezTo>
                  <a:cubicBezTo>
                    <a:pt x="0" y="124354"/>
                    <a:pt x="227701" y="0"/>
                    <a:pt x="508584" y="0"/>
                  </a:cubicBezTo>
                  <a:cubicBezTo>
                    <a:pt x="789467" y="0"/>
                    <a:pt x="1017168" y="124354"/>
                    <a:pt x="1017168" y="277753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6" name="Freeform: Shape 41">
              <a:extLst>
                <a:ext uri="{FF2B5EF4-FFF2-40B4-BE49-F238E27FC236}">
                  <a16:creationId xmlns:a16="http://schemas.microsoft.com/office/drawing/2014/main" id="{335DCE4C-99DA-49D5-C3B3-6A4B38E9EA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402002" y="2779472"/>
              <a:ext cx="762816" cy="416747"/>
            </a:xfrm>
            <a:custGeom>
              <a:avLst/>
              <a:gdLst>
                <a:gd name="connsiteX0" fmla="*/ 762817 w 762816"/>
                <a:gd name="connsiteY0" fmla="*/ 208374 h 416747"/>
                <a:gd name="connsiteX1" fmla="*/ 381408 w 762816"/>
                <a:gd name="connsiteY1" fmla="*/ 416748 h 416747"/>
                <a:gd name="connsiteX2" fmla="*/ 0 w 762816"/>
                <a:gd name="connsiteY2" fmla="*/ 208374 h 416747"/>
                <a:gd name="connsiteX3" fmla="*/ 381408 w 762816"/>
                <a:gd name="connsiteY3" fmla="*/ 0 h 416747"/>
                <a:gd name="connsiteX4" fmla="*/ 762817 w 762816"/>
                <a:gd name="connsiteY4" fmla="*/ 208374 h 41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816" h="416747">
                  <a:moveTo>
                    <a:pt x="762817" y="208374"/>
                  </a:moveTo>
                  <a:cubicBezTo>
                    <a:pt x="762817" y="323456"/>
                    <a:pt x="592054" y="416748"/>
                    <a:pt x="381408" y="416748"/>
                  </a:cubicBezTo>
                  <a:cubicBezTo>
                    <a:pt x="170762" y="416748"/>
                    <a:pt x="0" y="323456"/>
                    <a:pt x="0" y="208374"/>
                  </a:cubicBezTo>
                  <a:cubicBezTo>
                    <a:pt x="0" y="93292"/>
                    <a:pt x="170762" y="0"/>
                    <a:pt x="381408" y="0"/>
                  </a:cubicBezTo>
                  <a:cubicBezTo>
                    <a:pt x="592054" y="0"/>
                    <a:pt x="762817" y="93292"/>
                    <a:pt x="762817" y="208374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7" name="Freeform: Shape 42">
              <a:extLst>
                <a:ext uri="{FF2B5EF4-FFF2-40B4-BE49-F238E27FC236}">
                  <a16:creationId xmlns:a16="http://schemas.microsoft.com/office/drawing/2014/main" id="{D34273D1-5EAF-01A0-283C-7A1ABAAFFE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402002" y="2779472"/>
              <a:ext cx="762816" cy="416747"/>
            </a:xfrm>
            <a:custGeom>
              <a:avLst/>
              <a:gdLst>
                <a:gd name="connsiteX0" fmla="*/ 762817 w 762816"/>
                <a:gd name="connsiteY0" fmla="*/ 208374 h 416747"/>
                <a:gd name="connsiteX1" fmla="*/ 381408 w 762816"/>
                <a:gd name="connsiteY1" fmla="*/ 416748 h 416747"/>
                <a:gd name="connsiteX2" fmla="*/ 0 w 762816"/>
                <a:gd name="connsiteY2" fmla="*/ 208374 h 416747"/>
                <a:gd name="connsiteX3" fmla="*/ 381408 w 762816"/>
                <a:gd name="connsiteY3" fmla="*/ 0 h 416747"/>
                <a:gd name="connsiteX4" fmla="*/ 762817 w 762816"/>
                <a:gd name="connsiteY4" fmla="*/ 208374 h 416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816" h="416747">
                  <a:moveTo>
                    <a:pt x="762817" y="208374"/>
                  </a:moveTo>
                  <a:cubicBezTo>
                    <a:pt x="762817" y="323456"/>
                    <a:pt x="592054" y="416748"/>
                    <a:pt x="381408" y="416748"/>
                  </a:cubicBezTo>
                  <a:cubicBezTo>
                    <a:pt x="170762" y="416748"/>
                    <a:pt x="0" y="323456"/>
                    <a:pt x="0" y="208374"/>
                  </a:cubicBezTo>
                  <a:cubicBezTo>
                    <a:pt x="0" y="93292"/>
                    <a:pt x="170762" y="0"/>
                    <a:pt x="381408" y="0"/>
                  </a:cubicBezTo>
                  <a:cubicBezTo>
                    <a:pt x="592054" y="0"/>
                    <a:pt x="762817" y="93292"/>
                    <a:pt x="762817" y="208374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8" name="Freeform: Shape 43">
              <a:extLst>
                <a:ext uri="{FF2B5EF4-FFF2-40B4-BE49-F238E27FC236}">
                  <a16:creationId xmlns:a16="http://schemas.microsoft.com/office/drawing/2014/main" id="{D9EB7ED3-2B1F-9597-25FB-C4AF76D46C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529887" y="2912675"/>
              <a:ext cx="508465" cy="277753"/>
            </a:xfrm>
            <a:custGeom>
              <a:avLst/>
              <a:gdLst>
                <a:gd name="connsiteX0" fmla="*/ 508466 w 508465"/>
                <a:gd name="connsiteY0" fmla="*/ 138877 h 277753"/>
                <a:gd name="connsiteX1" fmla="*/ 254233 w 508465"/>
                <a:gd name="connsiteY1" fmla="*/ 277753 h 277753"/>
                <a:gd name="connsiteX2" fmla="*/ 0 w 508465"/>
                <a:gd name="connsiteY2" fmla="*/ 138877 h 277753"/>
                <a:gd name="connsiteX3" fmla="*/ 254233 w 508465"/>
                <a:gd name="connsiteY3" fmla="*/ 0 h 277753"/>
                <a:gd name="connsiteX4" fmla="*/ 508466 w 508465"/>
                <a:gd name="connsiteY4" fmla="*/ 138877 h 277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65" h="277753">
                  <a:moveTo>
                    <a:pt x="508466" y="138877"/>
                  </a:moveTo>
                  <a:cubicBezTo>
                    <a:pt x="508466" y="215576"/>
                    <a:pt x="394642" y="277753"/>
                    <a:pt x="254233" y="277753"/>
                  </a:cubicBezTo>
                  <a:cubicBezTo>
                    <a:pt x="113824" y="277753"/>
                    <a:pt x="0" y="215576"/>
                    <a:pt x="0" y="138877"/>
                  </a:cubicBezTo>
                  <a:cubicBezTo>
                    <a:pt x="0" y="62177"/>
                    <a:pt x="113824" y="0"/>
                    <a:pt x="254233" y="0"/>
                  </a:cubicBezTo>
                  <a:cubicBezTo>
                    <a:pt x="394642" y="0"/>
                    <a:pt x="508466" y="62177"/>
                    <a:pt x="508466" y="138877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89" name="Freeform: Shape 44">
              <a:extLst>
                <a:ext uri="{FF2B5EF4-FFF2-40B4-BE49-F238E27FC236}">
                  <a16:creationId xmlns:a16="http://schemas.microsoft.com/office/drawing/2014/main" id="{DEC1FE94-C52E-9E9A-B8DE-810147BE48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529887" y="2912675"/>
              <a:ext cx="508465" cy="277753"/>
            </a:xfrm>
            <a:custGeom>
              <a:avLst/>
              <a:gdLst>
                <a:gd name="connsiteX0" fmla="*/ 508466 w 508465"/>
                <a:gd name="connsiteY0" fmla="*/ 138877 h 277753"/>
                <a:gd name="connsiteX1" fmla="*/ 254233 w 508465"/>
                <a:gd name="connsiteY1" fmla="*/ 277753 h 277753"/>
                <a:gd name="connsiteX2" fmla="*/ 0 w 508465"/>
                <a:gd name="connsiteY2" fmla="*/ 138877 h 277753"/>
                <a:gd name="connsiteX3" fmla="*/ 254233 w 508465"/>
                <a:gd name="connsiteY3" fmla="*/ 0 h 277753"/>
                <a:gd name="connsiteX4" fmla="*/ 508466 w 508465"/>
                <a:gd name="connsiteY4" fmla="*/ 138877 h 277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65" h="277753">
                  <a:moveTo>
                    <a:pt x="508466" y="138877"/>
                  </a:moveTo>
                  <a:cubicBezTo>
                    <a:pt x="508466" y="215576"/>
                    <a:pt x="394642" y="277753"/>
                    <a:pt x="254233" y="277753"/>
                  </a:cubicBezTo>
                  <a:cubicBezTo>
                    <a:pt x="113824" y="277753"/>
                    <a:pt x="0" y="215576"/>
                    <a:pt x="0" y="138877"/>
                  </a:cubicBezTo>
                  <a:cubicBezTo>
                    <a:pt x="0" y="62177"/>
                    <a:pt x="113824" y="0"/>
                    <a:pt x="254233" y="0"/>
                  </a:cubicBezTo>
                  <a:cubicBezTo>
                    <a:pt x="394642" y="0"/>
                    <a:pt x="508466" y="62177"/>
                    <a:pt x="508466" y="138877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90" name="Freeform: Shape 45">
              <a:extLst>
                <a:ext uri="{FF2B5EF4-FFF2-40B4-BE49-F238E27FC236}">
                  <a16:creationId xmlns:a16="http://schemas.microsoft.com/office/drawing/2014/main" id="{1C08AB9D-4D70-8D38-498A-935047D63F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529887" y="2912675"/>
              <a:ext cx="508465" cy="277753"/>
            </a:xfrm>
            <a:custGeom>
              <a:avLst/>
              <a:gdLst>
                <a:gd name="connsiteX0" fmla="*/ 508466 w 508465"/>
                <a:gd name="connsiteY0" fmla="*/ 138877 h 277753"/>
                <a:gd name="connsiteX1" fmla="*/ 254233 w 508465"/>
                <a:gd name="connsiteY1" fmla="*/ 277753 h 277753"/>
                <a:gd name="connsiteX2" fmla="*/ 0 w 508465"/>
                <a:gd name="connsiteY2" fmla="*/ 138877 h 277753"/>
                <a:gd name="connsiteX3" fmla="*/ 254233 w 508465"/>
                <a:gd name="connsiteY3" fmla="*/ 0 h 277753"/>
                <a:gd name="connsiteX4" fmla="*/ 508466 w 508465"/>
                <a:gd name="connsiteY4" fmla="*/ 138877 h 277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65" h="277753">
                  <a:moveTo>
                    <a:pt x="508466" y="138877"/>
                  </a:moveTo>
                  <a:cubicBezTo>
                    <a:pt x="508466" y="215576"/>
                    <a:pt x="394642" y="277753"/>
                    <a:pt x="254233" y="277753"/>
                  </a:cubicBezTo>
                  <a:cubicBezTo>
                    <a:pt x="113824" y="277753"/>
                    <a:pt x="0" y="215576"/>
                    <a:pt x="0" y="138877"/>
                  </a:cubicBezTo>
                  <a:cubicBezTo>
                    <a:pt x="0" y="62177"/>
                    <a:pt x="113824" y="0"/>
                    <a:pt x="254233" y="0"/>
                  </a:cubicBezTo>
                  <a:cubicBezTo>
                    <a:pt x="394642" y="0"/>
                    <a:pt x="508466" y="62177"/>
                    <a:pt x="508466" y="138877"/>
                  </a:cubicBezTo>
                  <a:close/>
                </a:path>
              </a:pathLst>
            </a:custGeom>
            <a:solidFill>
              <a:srgbClr val="1F3353">
                <a:alpha val="90000"/>
              </a:srgbClr>
            </a:solidFill>
            <a:ln w="12700">
              <a:solidFill>
                <a:schemeClr val="tx1"/>
              </a:solidFill>
            </a:ln>
          </p:spPr>
          <p:txBody>
            <a:bodyPr wrap="square" lIns="0" tIns="0" rIns="0" bIns="45720" rtlCol="0" anchor="ctr" anchorCtr="0">
              <a:noAutofit/>
            </a:bodyPr>
            <a:lstStyle/>
            <a:p>
              <a:pPr algn="ctr" defTabSz="2275850" fontAlgn="base">
                <a:spcBef>
                  <a:spcPts val="200"/>
                </a:spcBef>
                <a:tabLst>
                  <a:tab pos="3701239" algn="l"/>
                </a:tabLst>
              </a:pPr>
              <a:endParaRPr lang="en-US" sz="1765" b="1">
                <a:ln w="3175">
                  <a:noFill/>
                </a:ln>
                <a:gradFill>
                  <a:gsLst>
                    <a:gs pos="8899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Segoe UI Semibold" panose="020B0502040204020203" pitchFamily="34" charset="0"/>
                <a:cs typeface="Segoe UI" pitchFamily="34" charset="0"/>
              </a:endParaRPr>
            </a:p>
          </p:txBody>
        </p:sp>
        <p:sp>
          <p:nvSpPr>
            <p:cNvPr id="93" name="Freeform: Shape 48">
              <a:extLst>
                <a:ext uri="{FF2B5EF4-FFF2-40B4-BE49-F238E27FC236}">
                  <a16:creationId xmlns:a16="http://schemas.microsoft.com/office/drawing/2014/main" id="{28034EE3-5AA4-9071-CD0E-E13828E251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488102" y="1703326"/>
              <a:ext cx="586915" cy="971281"/>
            </a:xfrm>
            <a:custGeom>
              <a:avLst/>
              <a:gdLst>
                <a:gd name="connsiteX0" fmla="*/ 294718 w 586915"/>
                <a:gd name="connsiteY0" fmla="*/ 0 h 971281"/>
                <a:gd name="connsiteX1" fmla="*/ 297200 w 586915"/>
                <a:gd name="connsiteY1" fmla="*/ 3309 h 971281"/>
                <a:gd name="connsiteX2" fmla="*/ 311265 w 586915"/>
                <a:gd name="connsiteY2" fmla="*/ 53068 h 971281"/>
                <a:gd name="connsiteX3" fmla="*/ 526612 w 586915"/>
                <a:gd name="connsiteY3" fmla="*/ 479390 h 971281"/>
                <a:gd name="connsiteX4" fmla="*/ 493873 w 586915"/>
                <a:gd name="connsiteY4" fmla="*/ 893538 h 971281"/>
                <a:gd name="connsiteX5" fmla="*/ 57387 w 586915"/>
                <a:gd name="connsiteY5" fmla="*/ 852407 h 971281"/>
                <a:gd name="connsiteX6" fmla="*/ 159624 w 586915"/>
                <a:gd name="connsiteY6" fmla="*/ 306829 h 971281"/>
                <a:gd name="connsiteX7" fmla="*/ 294718 w 586915"/>
                <a:gd name="connsiteY7" fmla="*/ 118 h 97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6915" h="971281">
                  <a:moveTo>
                    <a:pt x="294718" y="0"/>
                  </a:moveTo>
                  <a:cubicBezTo>
                    <a:pt x="296727" y="236"/>
                    <a:pt x="296727" y="1891"/>
                    <a:pt x="297200" y="3309"/>
                  </a:cubicBezTo>
                  <a:cubicBezTo>
                    <a:pt x="302755" y="18083"/>
                    <a:pt x="306183" y="37349"/>
                    <a:pt x="311265" y="53068"/>
                  </a:cubicBezTo>
                  <a:cubicBezTo>
                    <a:pt x="360906" y="207310"/>
                    <a:pt x="449314" y="339214"/>
                    <a:pt x="526612" y="479390"/>
                  </a:cubicBezTo>
                  <a:cubicBezTo>
                    <a:pt x="602729" y="617439"/>
                    <a:pt x="621994" y="779245"/>
                    <a:pt x="493873" y="893538"/>
                  </a:cubicBezTo>
                  <a:cubicBezTo>
                    <a:pt x="361497" y="1011612"/>
                    <a:pt x="164588" y="993056"/>
                    <a:pt x="57387" y="852407"/>
                  </a:cubicBezTo>
                  <a:cubicBezTo>
                    <a:pt x="-83144" y="668144"/>
                    <a:pt x="67197" y="470289"/>
                    <a:pt x="159624" y="306829"/>
                  </a:cubicBezTo>
                  <a:cubicBezTo>
                    <a:pt x="214347" y="210029"/>
                    <a:pt x="264106" y="107319"/>
                    <a:pt x="294718" y="11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  <a:ln w="12700">
              <a:solidFill>
                <a:schemeClr val="tx1"/>
              </a:solidFill>
            </a:ln>
          </p:spPr>
          <p:txBody>
            <a:bodyPr wrap="square" lIns="91440" tIns="18288" rIns="91440" bIns="36576" rtlCol="0" anchor="ctr" anchorCtr="0">
              <a:no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548364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C8168F-B190-F562-5382-581360A956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ABED70D-7CE9-6FC6-83A5-C28BE7E86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1107996"/>
          </a:xfrm>
        </p:spPr>
        <p:txBody>
          <a:bodyPr/>
          <a:lstStyle/>
          <a:p>
            <a:r>
              <a:rPr lang="en-US"/>
              <a:t>Customer case stories:</a:t>
            </a:r>
            <a:br>
              <a:rPr lang="en-US"/>
            </a:br>
            <a:r>
              <a:rPr lang="en-US"/>
              <a:t>operational impact of AI in financial service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0A3198C-59DF-56B5-6915-755658DB97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263" y="2017713"/>
            <a:ext cx="11018520" cy="4251326"/>
          </a:xfrm>
          <a:prstGeom prst="roundRect">
            <a:avLst>
              <a:gd name="adj" fmla="val 9178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 err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53AA8E-496F-28B5-49E5-A4E0A8799689}"/>
              </a:ext>
            </a:extLst>
          </p:cNvPr>
          <p:cNvSpPr txBox="1"/>
          <p:nvPr/>
        </p:nvSpPr>
        <p:spPr>
          <a:xfrm>
            <a:off x="1410753" y="2233139"/>
            <a:ext cx="4895044" cy="84638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spcAft>
                <a:spcPts val="500"/>
              </a:spcAft>
              <a:defRPr/>
            </a:pPr>
            <a:r>
              <a:rPr lang="en-US" sz="1600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treamlining financial operations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400">
                <a:ea typeface="Open Sans" panose="020B0606030504020204" pitchFamily="34" charset="0"/>
                <a:cs typeface="Open Sans" panose="020B0606030504020204" pitchFamily="34" charset="0"/>
              </a:rPr>
              <a:t>AI helps financial institutions automate processes to increase efficiency and reduce operational costs significantly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452798-D5F8-761B-6552-7E857773C104}"/>
              </a:ext>
            </a:extLst>
          </p:cNvPr>
          <p:cNvSpPr txBox="1"/>
          <p:nvPr/>
        </p:nvSpPr>
        <p:spPr>
          <a:xfrm>
            <a:off x="1410753" y="3208669"/>
            <a:ext cx="4895044" cy="84638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500"/>
              </a:spcAft>
              <a:defRPr/>
            </a:pPr>
            <a:r>
              <a:rPr lang="en-US" sz="1600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ducing errors and risks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400">
                <a:ea typeface="Open Sans" panose="020B0606030504020204" pitchFamily="34" charset="0"/>
                <a:cs typeface="Open Sans" panose="020B0606030504020204" pitchFamily="34" charset="0"/>
              </a:rPr>
              <a:t>Artificial intelligence minimizes human errors and helps detect risks early for improved accuracy and safety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F28304-01EF-E43E-F359-B77DD89C0BC6}"/>
              </a:ext>
            </a:extLst>
          </p:cNvPr>
          <p:cNvSpPr txBox="1"/>
          <p:nvPr/>
        </p:nvSpPr>
        <p:spPr>
          <a:xfrm>
            <a:off x="1410753" y="4184199"/>
            <a:ext cx="4895044" cy="84638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spcAft>
                <a:spcPts val="500"/>
              </a:spcAft>
              <a:defRPr/>
            </a:pPr>
            <a:r>
              <a:rPr lang="en-US" sz="1600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nhancing compliance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400">
                <a:ea typeface="Open Sans" panose="020B0606030504020204" pitchFamily="34" charset="0"/>
                <a:cs typeface="Open Sans" panose="020B0606030504020204" pitchFamily="34" charset="0"/>
              </a:rPr>
              <a:t>AI tools support regulatory compliance by monitoring transactions and flagging suspicious activities effectively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86645D5-8EF2-F197-FD77-BBE803D20889}"/>
              </a:ext>
            </a:extLst>
          </p:cNvPr>
          <p:cNvSpPr txBox="1"/>
          <p:nvPr/>
        </p:nvSpPr>
        <p:spPr>
          <a:xfrm>
            <a:off x="1410753" y="5159728"/>
            <a:ext cx="4895044" cy="84638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spcAft>
                <a:spcPts val="500"/>
              </a:spcAft>
              <a:defRPr/>
            </a:pPr>
            <a:r>
              <a:rPr lang="en-US" sz="1600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mproving customer interactions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400">
                <a:ea typeface="Open Sans" panose="020B0606030504020204" pitchFamily="34" charset="0"/>
                <a:cs typeface="Open Sans" panose="020B0606030504020204" pitchFamily="34" charset="0"/>
              </a:rPr>
              <a:t>AI-driven chatbots and analytics improve customer engagement and personalize service delivery.</a:t>
            </a:r>
          </a:p>
        </p:txBody>
      </p:sp>
      <p:pic>
        <p:nvPicPr>
          <p:cNvPr id="8" name="Content Placeholder 4" descr="Illustration: Fintech electronic banking internet network.">
            <a:extLst>
              <a:ext uri="{FF2B5EF4-FFF2-40B4-BE49-F238E27FC236}">
                <a16:creationId xmlns:a16="http://schemas.microsoft.com/office/drawing/2014/main" id="{3F22B938-C1E0-73DC-7135-6964B7CF4E4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2247" r="24402" b="3"/>
          <a:stretch>
            <a:fillRect/>
          </a:stretch>
        </p:blipFill>
        <p:spPr>
          <a:xfrm>
            <a:off x="7089569" y="2282560"/>
            <a:ext cx="4180114" cy="3721632"/>
          </a:xfrm>
          <a:prstGeom prst="roundRect">
            <a:avLst>
              <a:gd name="adj" fmla="val 10075"/>
            </a:avLst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F839D68-6ED1-D83C-1EE8-C2E883D4D6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2282560"/>
            <a:ext cx="255600" cy="255600"/>
            <a:chOff x="4179234" y="4174182"/>
            <a:chExt cx="1105200" cy="1105200"/>
          </a:xfrm>
        </p:grpSpPr>
        <p:sp>
          <p:nvSpPr>
            <p:cNvPr id="10" name="Graphic 10">
              <a:extLst>
                <a:ext uri="{FF2B5EF4-FFF2-40B4-BE49-F238E27FC236}">
                  <a16:creationId xmlns:a16="http://schemas.microsoft.com/office/drawing/2014/main" id="{C47F602B-80DE-5CF7-57AF-8C14C8773829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B3D1D42-E983-79EE-7E8D-411285929B6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76C703-74BB-7297-A921-20AF43579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3256337"/>
            <a:ext cx="255600" cy="255600"/>
            <a:chOff x="4179234" y="4174182"/>
            <a:chExt cx="1105200" cy="1105200"/>
          </a:xfrm>
        </p:grpSpPr>
        <p:sp>
          <p:nvSpPr>
            <p:cNvPr id="19" name="Graphic 10">
              <a:extLst>
                <a:ext uri="{FF2B5EF4-FFF2-40B4-BE49-F238E27FC236}">
                  <a16:creationId xmlns:a16="http://schemas.microsoft.com/office/drawing/2014/main" id="{5AFBCF80-DC8D-230B-1F17-7012A9551BF5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72306C8-6F89-F4B5-B4CE-95111A9CA2A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6032C06-C186-5D18-E468-9AF8B4E38E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4241989"/>
            <a:ext cx="255600" cy="255600"/>
            <a:chOff x="4179234" y="4174182"/>
            <a:chExt cx="1105200" cy="1105200"/>
          </a:xfrm>
        </p:grpSpPr>
        <p:sp>
          <p:nvSpPr>
            <p:cNvPr id="22" name="Graphic 10">
              <a:extLst>
                <a:ext uri="{FF2B5EF4-FFF2-40B4-BE49-F238E27FC236}">
                  <a16:creationId xmlns:a16="http://schemas.microsoft.com/office/drawing/2014/main" id="{AC0125B7-EE90-35E1-BF8F-8556D73E75A6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BBDB3073-B078-3C58-069F-2BAA53A500A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E300098-98A3-0B88-9528-2D18FF8FE5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5215766"/>
            <a:ext cx="255600" cy="255600"/>
            <a:chOff x="4179234" y="4174182"/>
            <a:chExt cx="1105200" cy="1105200"/>
          </a:xfrm>
        </p:grpSpPr>
        <p:sp>
          <p:nvSpPr>
            <p:cNvPr id="25" name="Graphic 10">
              <a:extLst>
                <a:ext uri="{FF2B5EF4-FFF2-40B4-BE49-F238E27FC236}">
                  <a16:creationId xmlns:a16="http://schemas.microsoft.com/office/drawing/2014/main" id="{0B3A51E5-24DF-B0A9-1F1C-A37740E3254C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73507708-2BA9-C494-882E-264A759691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0332176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788" y="2598003"/>
            <a:ext cx="6673850" cy="1661993"/>
          </a:xfrm>
        </p:spPr>
        <p:txBody>
          <a:bodyPr/>
          <a:lstStyle/>
          <a:p>
            <a:r>
              <a:rPr lang="en-US">
                <a:latin typeface="+mj-lt"/>
              </a:rPr>
              <a:t>Human-agent teams: empowering collaboration and innovation</a:t>
            </a:r>
          </a:p>
        </p:txBody>
      </p:sp>
    </p:spTree>
    <p:extLst>
      <p:ext uri="{BB962C8B-B14F-4D97-AF65-F5344CB8AC3E}">
        <p14:creationId xmlns:p14="http://schemas.microsoft.com/office/powerpoint/2010/main" val="348402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6AD2BA-5B07-14D0-B338-1AC0AE3280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48810A6-4B35-421B-4442-9593A67FE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1107996"/>
          </a:xfrm>
        </p:spPr>
        <p:txBody>
          <a:bodyPr/>
          <a:lstStyle/>
          <a:p>
            <a:r>
              <a:rPr lang="en-US"/>
              <a:t>Integrating AI agents into team strategies:</a:t>
            </a:r>
            <a:br>
              <a:rPr lang="en-US"/>
            </a:br>
            <a:r>
              <a:rPr lang="en-US"/>
              <a:t>approaches and best practice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BC4E8FC-1E8A-9D78-3361-5381A1A75D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263" y="2017713"/>
            <a:ext cx="11018520" cy="4251326"/>
          </a:xfrm>
          <a:prstGeom prst="roundRect">
            <a:avLst>
              <a:gd name="adj" fmla="val 9178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 err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3388B6-DE48-3535-ABE4-BF36AF119F47}"/>
              </a:ext>
            </a:extLst>
          </p:cNvPr>
          <p:cNvSpPr txBox="1"/>
          <p:nvPr/>
        </p:nvSpPr>
        <p:spPr>
          <a:xfrm>
            <a:off x="1410753" y="2268764"/>
            <a:ext cx="4895044" cy="92589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spcAft>
                <a:spcPts val="500"/>
              </a:spcAft>
              <a:defRPr/>
            </a:pPr>
            <a:r>
              <a:rPr lang="en-US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ligning AI with goals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600">
                <a:ea typeface="Open Sans" panose="020B0606030504020204" pitchFamily="34" charset="0"/>
                <a:cs typeface="Open Sans" panose="020B0606030504020204" pitchFamily="34" charset="0"/>
              </a:rPr>
              <a:t>Integrate AI capabilities that directly support and enhance the team's overall objectives and strategy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1202A1-A72B-735B-A202-A022A5009CA7}"/>
              </a:ext>
            </a:extLst>
          </p:cNvPr>
          <p:cNvSpPr txBox="1"/>
          <p:nvPr/>
        </p:nvSpPr>
        <p:spPr>
          <a:xfrm>
            <a:off x="1410753" y="3398511"/>
            <a:ext cx="4895044" cy="117211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500"/>
              </a:spcAft>
              <a:defRPr/>
            </a:pPr>
            <a:r>
              <a:rPr lang="en-US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nsuring seamless workflows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600">
                <a:ea typeface="Open Sans" panose="020B0606030504020204" pitchFamily="34" charset="0"/>
                <a:cs typeface="Open Sans" panose="020B0606030504020204" pitchFamily="34" charset="0"/>
              </a:rPr>
              <a:t>Design workflows that enable smooth collaboration between human team members and AI agents without disruption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5B5A81-253D-605C-F742-1D61DAD252D0}"/>
              </a:ext>
            </a:extLst>
          </p:cNvPr>
          <p:cNvSpPr txBox="1"/>
          <p:nvPr/>
        </p:nvSpPr>
        <p:spPr>
          <a:xfrm>
            <a:off x="1410753" y="4774479"/>
            <a:ext cx="4685247" cy="117211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spcAft>
                <a:spcPts val="500"/>
              </a:spcAft>
              <a:defRPr/>
            </a:pPr>
            <a:r>
              <a:rPr lang="en-US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raining for collaboration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600">
                <a:ea typeface="Open Sans" panose="020B0606030504020204" pitchFamily="34" charset="0"/>
                <a:cs typeface="Open Sans" panose="020B0606030504020204" pitchFamily="34" charset="0"/>
              </a:rPr>
              <a:t>Provide comprehensive training to team members to effectively collaborate with AI agents and maximize benefits.</a:t>
            </a:r>
          </a:p>
        </p:txBody>
      </p:sp>
      <p:pic>
        <p:nvPicPr>
          <p:cNvPr id="8" name="Content Placeholder 4" descr="Stylized illustration: AI agents">
            <a:extLst>
              <a:ext uri="{FF2B5EF4-FFF2-40B4-BE49-F238E27FC236}">
                <a16:creationId xmlns:a16="http://schemas.microsoft.com/office/drawing/2014/main" id="{33D69F55-964C-0842-C7DD-6EFABC3F89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6" t="2029" r="3455" b="38469"/>
          <a:stretch>
            <a:fillRect/>
          </a:stretch>
        </p:blipFill>
        <p:spPr>
          <a:xfrm>
            <a:off x="7089569" y="2282560"/>
            <a:ext cx="4180114" cy="3721632"/>
          </a:xfrm>
          <a:prstGeom prst="roundRect">
            <a:avLst>
              <a:gd name="adj" fmla="val 10075"/>
            </a:avLst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7300CED2-4004-3FC9-B0D5-8B7467780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2330060"/>
            <a:ext cx="255600" cy="255600"/>
            <a:chOff x="4179234" y="4174182"/>
            <a:chExt cx="1105200" cy="1105200"/>
          </a:xfrm>
        </p:grpSpPr>
        <p:sp>
          <p:nvSpPr>
            <p:cNvPr id="10" name="Graphic 10">
              <a:extLst>
                <a:ext uri="{FF2B5EF4-FFF2-40B4-BE49-F238E27FC236}">
                  <a16:creationId xmlns:a16="http://schemas.microsoft.com/office/drawing/2014/main" id="{1A216928-1CDE-6D8E-8DEE-4CB48C465D69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59196CC-4C89-11E0-5561-62795906310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5BAFE08-C629-7F53-348A-E7E179ED98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3452750"/>
            <a:ext cx="255600" cy="255600"/>
            <a:chOff x="4179234" y="4174182"/>
            <a:chExt cx="1105200" cy="1105200"/>
          </a:xfrm>
        </p:grpSpPr>
        <p:sp>
          <p:nvSpPr>
            <p:cNvPr id="19" name="Graphic 10">
              <a:extLst>
                <a:ext uri="{FF2B5EF4-FFF2-40B4-BE49-F238E27FC236}">
                  <a16:creationId xmlns:a16="http://schemas.microsoft.com/office/drawing/2014/main" id="{C793853B-F55D-E9B4-9004-03B853A69734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2A408CA4-AFC7-E9D4-D2A9-F90AB6DD05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D1EDC30-27E0-C5CC-86A1-1FAC504C8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4833608"/>
            <a:ext cx="255600" cy="255600"/>
            <a:chOff x="4179234" y="4174182"/>
            <a:chExt cx="1105200" cy="1105200"/>
          </a:xfrm>
        </p:grpSpPr>
        <p:sp>
          <p:nvSpPr>
            <p:cNvPr id="22" name="Graphic 10">
              <a:extLst>
                <a:ext uri="{FF2B5EF4-FFF2-40B4-BE49-F238E27FC236}">
                  <a16:creationId xmlns:a16="http://schemas.microsoft.com/office/drawing/2014/main" id="{71B02565-393E-F3A2-8C53-7728CF95FBF8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F90485D-E6F1-6BAE-1DDA-670EC4B4D29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6561525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F08498-98AC-B736-A21C-0B7966BA4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I-generated abstract image depicting &quot;Becoming Frontier&quot; ">
            <a:extLst>
              <a:ext uri="{FF2B5EF4-FFF2-40B4-BE49-F238E27FC236}">
                <a16:creationId xmlns:a16="http://schemas.microsoft.com/office/drawing/2014/main" id="{6382542C-ACEA-B364-BEDB-6B2E7ED96D8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1">
                <a:tint val="45000"/>
                <a:satMod val="400000"/>
              </a:schemeClr>
            </a:duotone>
            <a:alphaModFix amt="22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182" y="851483"/>
            <a:ext cx="8035636" cy="5775614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5540A5BA-7964-5490-2EF2-3546E72F3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Evolving workforce roles</a:t>
            </a:r>
          </a:p>
        </p:txBody>
      </p:sp>
      <p:sp>
        <p:nvSpPr>
          <p:cNvPr id="7" name="Graphic 1">
            <a:extLst>
              <a:ext uri="{FF2B5EF4-FFF2-40B4-BE49-F238E27FC236}">
                <a16:creationId xmlns:a16="http://schemas.microsoft.com/office/drawing/2014/main" id="{FC4A48EA-0B95-941D-FF38-E70DEC784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24792" y="5377836"/>
            <a:ext cx="169697" cy="539863"/>
          </a:xfrm>
          <a:custGeom>
            <a:avLst/>
            <a:gdLst>
              <a:gd name="connsiteX0" fmla="*/ 151604 w 222103"/>
              <a:gd name="connsiteY0" fmla="*/ 2889 h 706585"/>
              <a:gd name="connsiteX1" fmla="*/ 151921 w 222103"/>
              <a:gd name="connsiteY1" fmla="*/ 3525 h 706585"/>
              <a:gd name="connsiteX2" fmla="*/ 152470 w 222103"/>
              <a:gd name="connsiteY2" fmla="*/ 3496 h 706585"/>
              <a:gd name="connsiteX3" fmla="*/ 152673 w 222103"/>
              <a:gd name="connsiteY3" fmla="*/ 3496 h 706585"/>
              <a:gd name="connsiteX4" fmla="*/ 158422 w 222103"/>
              <a:gd name="connsiteY4" fmla="*/ 4883 h 706585"/>
              <a:gd name="connsiteX5" fmla="*/ 164085 w 222103"/>
              <a:gd name="connsiteY5" fmla="*/ 8495 h 706585"/>
              <a:gd name="connsiteX6" fmla="*/ 170182 w 222103"/>
              <a:gd name="connsiteY6" fmla="*/ 11528 h 706585"/>
              <a:gd name="connsiteX7" fmla="*/ 169257 w 222103"/>
              <a:gd name="connsiteY7" fmla="*/ 11528 h 706585"/>
              <a:gd name="connsiteX8" fmla="*/ 171338 w 222103"/>
              <a:gd name="connsiteY8" fmla="*/ 12222 h 706585"/>
              <a:gd name="connsiteX9" fmla="*/ 179312 w 222103"/>
              <a:gd name="connsiteY9" fmla="*/ 24213 h 706585"/>
              <a:gd name="connsiteX10" fmla="*/ 183531 w 222103"/>
              <a:gd name="connsiteY10" fmla="*/ 55273 h 706585"/>
              <a:gd name="connsiteX11" fmla="*/ 182751 w 222103"/>
              <a:gd name="connsiteY11" fmla="*/ 81161 h 706585"/>
              <a:gd name="connsiteX12" fmla="*/ 177954 w 222103"/>
              <a:gd name="connsiteY12" fmla="*/ 103583 h 706585"/>
              <a:gd name="connsiteX13" fmla="*/ 178908 w 222103"/>
              <a:gd name="connsiteY13" fmla="*/ 110430 h 706585"/>
              <a:gd name="connsiteX14" fmla="*/ 178301 w 222103"/>
              <a:gd name="connsiteY14" fmla="*/ 111297 h 706585"/>
              <a:gd name="connsiteX15" fmla="*/ 180006 w 222103"/>
              <a:gd name="connsiteY15" fmla="*/ 112713 h 706585"/>
              <a:gd name="connsiteX16" fmla="*/ 181277 w 222103"/>
              <a:gd name="connsiteY16" fmla="*/ 114880 h 706585"/>
              <a:gd name="connsiteX17" fmla="*/ 192401 w 222103"/>
              <a:gd name="connsiteY17" fmla="*/ 122912 h 706585"/>
              <a:gd name="connsiteX18" fmla="*/ 196908 w 222103"/>
              <a:gd name="connsiteY18" fmla="*/ 125830 h 706585"/>
              <a:gd name="connsiteX19" fmla="*/ 200665 w 222103"/>
              <a:gd name="connsiteY19" fmla="*/ 127940 h 706585"/>
              <a:gd name="connsiteX20" fmla="*/ 202514 w 222103"/>
              <a:gd name="connsiteY20" fmla="*/ 134123 h 706585"/>
              <a:gd name="connsiteX21" fmla="*/ 203467 w 222103"/>
              <a:gd name="connsiteY21" fmla="*/ 136550 h 706585"/>
              <a:gd name="connsiteX22" fmla="*/ 203149 w 222103"/>
              <a:gd name="connsiteY22" fmla="*/ 138139 h 706585"/>
              <a:gd name="connsiteX23" fmla="*/ 204796 w 222103"/>
              <a:gd name="connsiteY23" fmla="*/ 139873 h 706585"/>
              <a:gd name="connsiteX24" fmla="*/ 206270 w 222103"/>
              <a:gd name="connsiteY24" fmla="*/ 144929 h 706585"/>
              <a:gd name="connsiteX25" fmla="*/ 206241 w 222103"/>
              <a:gd name="connsiteY25" fmla="*/ 144929 h 706585"/>
              <a:gd name="connsiteX26" fmla="*/ 204190 w 222103"/>
              <a:gd name="connsiteY26" fmla="*/ 142357 h 706585"/>
              <a:gd name="connsiteX27" fmla="*/ 203612 w 222103"/>
              <a:gd name="connsiteY27" fmla="*/ 141779 h 706585"/>
              <a:gd name="connsiteX28" fmla="*/ 203323 w 222103"/>
              <a:gd name="connsiteY28" fmla="*/ 141982 h 706585"/>
              <a:gd name="connsiteX29" fmla="*/ 204392 w 222103"/>
              <a:gd name="connsiteY29" fmla="*/ 146489 h 706585"/>
              <a:gd name="connsiteX30" fmla="*/ 205952 w 222103"/>
              <a:gd name="connsiteY30" fmla="*/ 151112 h 706585"/>
              <a:gd name="connsiteX31" fmla="*/ 206154 w 222103"/>
              <a:gd name="connsiteY31" fmla="*/ 169575 h 706585"/>
              <a:gd name="connsiteX32" fmla="*/ 208235 w 222103"/>
              <a:gd name="connsiteY32" fmla="*/ 173620 h 706585"/>
              <a:gd name="connsiteX33" fmla="*/ 207483 w 222103"/>
              <a:gd name="connsiteY33" fmla="*/ 177116 h 706585"/>
              <a:gd name="connsiteX34" fmla="*/ 210373 w 222103"/>
              <a:gd name="connsiteY34" fmla="*/ 182895 h 706585"/>
              <a:gd name="connsiteX35" fmla="*/ 212915 w 222103"/>
              <a:gd name="connsiteY35" fmla="*/ 191505 h 706585"/>
              <a:gd name="connsiteX36" fmla="*/ 218347 w 222103"/>
              <a:gd name="connsiteY36" fmla="*/ 206183 h 706585"/>
              <a:gd name="connsiteX37" fmla="*/ 218810 w 222103"/>
              <a:gd name="connsiteY37" fmla="*/ 215313 h 706585"/>
              <a:gd name="connsiteX38" fmla="*/ 219156 w 222103"/>
              <a:gd name="connsiteY38" fmla="*/ 216411 h 706585"/>
              <a:gd name="connsiteX39" fmla="*/ 219416 w 222103"/>
              <a:gd name="connsiteY39" fmla="*/ 216411 h 706585"/>
              <a:gd name="connsiteX40" fmla="*/ 219416 w 222103"/>
              <a:gd name="connsiteY40" fmla="*/ 224154 h 706585"/>
              <a:gd name="connsiteX41" fmla="*/ 219127 w 222103"/>
              <a:gd name="connsiteY41" fmla="*/ 224125 h 706585"/>
              <a:gd name="connsiteX42" fmla="*/ 218752 w 222103"/>
              <a:gd name="connsiteY42" fmla="*/ 225194 h 706585"/>
              <a:gd name="connsiteX43" fmla="*/ 204045 w 222103"/>
              <a:gd name="connsiteY43" fmla="*/ 245160 h 706585"/>
              <a:gd name="connsiteX44" fmla="*/ 198815 w 222103"/>
              <a:gd name="connsiteY44" fmla="*/ 247211 h 706585"/>
              <a:gd name="connsiteX45" fmla="*/ 193239 w 222103"/>
              <a:gd name="connsiteY45" fmla="*/ 245564 h 706585"/>
              <a:gd name="connsiteX46" fmla="*/ 184802 w 222103"/>
              <a:gd name="connsiteY46" fmla="*/ 240710 h 706585"/>
              <a:gd name="connsiteX47" fmla="*/ 182635 w 222103"/>
              <a:gd name="connsiteY47" fmla="*/ 238399 h 706585"/>
              <a:gd name="connsiteX48" fmla="*/ 184860 w 222103"/>
              <a:gd name="connsiteY48" fmla="*/ 243744 h 706585"/>
              <a:gd name="connsiteX49" fmla="*/ 189049 w 222103"/>
              <a:gd name="connsiteY49" fmla="*/ 253770 h 706585"/>
              <a:gd name="connsiteX50" fmla="*/ 186651 w 222103"/>
              <a:gd name="connsiteY50" fmla="*/ 256659 h 706585"/>
              <a:gd name="connsiteX51" fmla="*/ 189223 w 222103"/>
              <a:gd name="connsiteY51" fmla="*/ 264143 h 706585"/>
              <a:gd name="connsiteX52" fmla="*/ 189887 w 222103"/>
              <a:gd name="connsiteY52" fmla="*/ 268419 h 706585"/>
              <a:gd name="connsiteX53" fmla="*/ 196764 w 222103"/>
              <a:gd name="connsiteY53" fmla="*/ 283183 h 706585"/>
              <a:gd name="connsiteX54" fmla="*/ 196822 w 222103"/>
              <a:gd name="connsiteY54" fmla="*/ 286015 h 706585"/>
              <a:gd name="connsiteX55" fmla="*/ 194077 w 222103"/>
              <a:gd name="connsiteY55" fmla="*/ 285870 h 706585"/>
              <a:gd name="connsiteX56" fmla="*/ 209535 w 222103"/>
              <a:gd name="connsiteY56" fmla="*/ 337561 h 706585"/>
              <a:gd name="connsiteX57" fmla="*/ 203034 w 222103"/>
              <a:gd name="connsiteY57" fmla="*/ 342501 h 706585"/>
              <a:gd name="connsiteX58" fmla="*/ 202427 w 222103"/>
              <a:gd name="connsiteY58" fmla="*/ 350851 h 706585"/>
              <a:gd name="connsiteX59" fmla="*/ 201474 w 222103"/>
              <a:gd name="connsiteY59" fmla="*/ 360704 h 706585"/>
              <a:gd name="connsiteX60" fmla="*/ 181133 w 222103"/>
              <a:gd name="connsiteY60" fmla="*/ 478647 h 706585"/>
              <a:gd name="connsiteX61" fmla="*/ 177752 w 222103"/>
              <a:gd name="connsiteY61" fmla="*/ 575208 h 706585"/>
              <a:gd name="connsiteX62" fmla="*/ 171453 w 222103"/>
              <a:gd name="connsiteY62" fmla="*/ 644090 h 706585"/>
              <a:gd name="connsiteX63" fmla="*/ 168275 w 222103"/>
              <a:gd name="connsiteY63" fmla="*/ 670989 h 706585"/>
              <a:gd name="connsiteX64" fmla="*/ 162352 w 222103"/>
              <a:gd name="connsiteY64" fmla="*/ 678010 h 706585"/>
              <a:gd name="connsiteX65" fmla="*/ 158105 w 222103"/>
              <a:gd name="connsiteY65" fmla="*/ 679628 h 706585"/>
              <a:gd name="connsiteX66" fmla="*/ 158249 w 222103"/>
              <a:gd name="connsiteY66" fmla="*/ 684743 h 706585"/>
              <a:gd name="connsiteX67" fmla="*/ 143138 w 222103"/>
              <a:gd name="connsiteY67" fmla="*/ 703725 h 706585"/>
              <a:gd name="connsiteX68" fmla="*/ 137793 w 222103"/>
              <a:gd name="connsiteY68" fmla="*/ 703061 h 706585"/>
              <a:gd name="connsiteX69" fmla="*/ 123057 w 222103"/>
              <a:gd name="connsiteY69" fmla="*/ 684396 h 706585"/>
              <a:gd name="connsiteX70" fmla="*/ 122652 w 222103"/>
              <a:gd name="connsiteY70" fmla="*/ 678617 h 706585"/>
              <a:gd name="connsiteX71" fmla="*/ 120485 w 222103"/>
              <a:gd name="connsiteY71" fmla="*/ 673070 h 706585"/>
              <a:gd name="connsiteX72" fmla="*/ 118087 w 222103"/>
              <a:gd name="connsiteY72" fmla="*/ 606759 h 706585"/>
              <a:gd name="connsiteX73" fmla="*/ 128922 w 222103"/>
              <a:gd name="connsiteY73" fmla="*/ 499681 h 706585"/>
              <a:gd name="connsiteX74" fmla="*/ 129529 w 222103"/>
              <a:gd name="connsiteY74" fmla="*/ 478964 h 706585"/>
              <a:gd name="connsiteX75" fmla="*/ 128604 w 222103"/>
              <a:gd name="connsiteY75" fmla="*/ 456370 h 706585"/>
              <a:gd name="connsiteX76" fmla="*/ 129876 w 222103"/>
              <a:gd name="connsiteY76" fmla="*/ 437531 h 706585"/>
              <a:gd name="connsiteX77" fmla="*/ 128633 w 222103"/>
              <a:gd name="connsiteY77" fmla="*/ 384888 h 706585"/>
              <a:gd name="connsiteX78" fmla="*/ 128027 w 222103"/>
              <a:gd name="connsiteY78" fmla="*/ 368852 h 706585"/>
              <a:gd name="connsiteX79" fmla="*/ 129500 w 222103"/>
              <a:gd name="connsiteY79" fmla="*/ 362351 h 706585"/>
              <a:gd name="connsiteX80" fmla="*/ 128980 w 222103"/>
              <a:gd name="connsiteY80" fmla="*/ 361658 h 706585"/>
              <a:gd name="connsiteX81" fmla="*/ 127449 w 222103"/>
              <a:gd name="connsiteY81" fmla="*/ 365183 h 706585"/>
              <a:gd name="connsiteX82" fmla="*/ 123577 w 222103"/>
              <a:gd name="connsiteY82" fmla="*/ 395029 h 706585"/>
              <a:gd name="connsiteX83" fmla="*/ 114793 w 222103"/>
              <a:gd name="connsiteY83" fmla="*/ 435740 h 706585"/>
              <a:gd name="connsiteX84" fmla="*/ 110084 w 222103"/>
              <a:gd name="connsiteY84" fmla="*/ 470932 h 706585"/>
              <a:gd name="connsiteX85" fmla="*/ 113146 w 222103"/>
              <a:gd name="connsiteY85" fmla="*/ 485494 h 706585"/>
              <a:gd name="connsiteX86" fmla="*/ 109593 w 222103"/>
              <a:gd name="connsiteY86" fmla="*/ 497976 h 706585"/>
              <a:gd name="connsiteX87" fmla="*/ 107339 w 222103"/>
              <a:gd name="connsiteY87" fmla="*/ 500663 h 706585"/>
              <a:gd name="connsiteX88" fmla="*/ 106674 w 222103"/>
              <a:gd name="connsiteY88" fmla="*/ 515486 h 706585"/>
              <a:gd name="connsiteX89" fmla="*/ 105750 w 222103"/>
              <a:gd name="connsiteY89" fmla="*/ 535884 h 706585"/>
              <a:gd name="connsiteX90" fmla="*/ 99335 w 222103"/>
              <a:gd name="connsiteY90" fmla="*/ 590117 h 706585"/>
              <a:gd name="connsiteX91" fmla="*/ 95579 w 222103"/>
              <a:gd name="connsiteY91" fmla="*/ 603292 h 706585"/>
              <a:gd name="connsiteX92" fmla="*/ 97602 w 222103"/>
              <a:gd name="connsiteY92" fmla="*/ 614878 h 706585"/>
              <a:gd name="connsiteX93" fmla="*/ 99884 w 222103"/>
              <a:gd name="connsiteY93" fmla="*/ 655907 h 706585"/>
              <a:gd name="connsiteX94" fmla="*/ 100202 w 222103"/>
              <a:gd name="connsiteY94" fmla="*/ 674572 h 706585"/>
              <a:gd name="connsiteX95" fmla="*/ 95782 w 222103"/>
              <a:gd name="connsiteY95" fmla="*/ 683124 h 706585"/>
              <a:gd name="connsiteX96" fmla="*/ 83213 w 222103"/>
              <a:gd name="connsiteY96" fmla="*/ 701183 h 706585"/>
              <a:gd name="connsiteX97" fmla="*/ 77983 w 222103"/>
              <a:gd name="connsiteY97" fmla="*/ 701818 h 706585"/>
              <a:gd name="connsiteX98" fmla="*/ 60272 w 222103"/>
              <a:gd name="connsiteY98" fmla="*/ 684078 h 706585"/>
              <a:gd name="connsiteX99" fmla="*/ 60214 w 222103"/>
              <a:gd name="connsiteY99" fmla="*/ 678877 h 706585"/>
              <a:gd name="connsiteX100" fmla="*/ 58422 w 222103"/>
              <a:gd name="connsiteY100" fmla="*/ 676363 h 706585"/>
              <a:gd name="connsiteX101" fmla="*/ 57209 w 222103"/>
              <a:gd name="connsiteY101" fmla="*/ 672029 h 706585"/>
              <a:gd name="connsiteX102" fmla="*/ 53511 w 222103"/>
              <a:gd name="connsiteY102" fmla="*/ 656283 h 706585"/>
              <a:gd name="connsiteX103" fmla="*/ 62121 w 222103"/>
              <a:gd name="connsiteY103" fmla="*/ 620946 h 706585"/>
              <a:gd name="connsiteX104" fmla="*/ 61543 w 222103"/>
              <a:gd name="connsiteY104" fmla="*/ 596849 h 706585"/>
              <a:gd name="connsiteX105" fmla="*/ 59983 w 222103"/>
              <a:gd name="connsiteY105" fmla="*/ 579253 h 706585"/>
              <a:gd name="connsiteX106" fmla="*/ 57989 w 222103"/>
              <a:gd name="connsiteY106" fmla="*/ 573821 h 706585"/>
              <a:gd name="connsiteX107" fmla="*/ 54117 w 222103"/>
              <a:gd name="connsiteY107" fmla="*/ 500028 h 706585"/>
              <a:gd name="connsiteX108" fmla="*/ 53193 w 222103"/>
              <a:gd name="connsiteY108" fmla="*/ 487950 h 706585"/>
              <a:gd name="connsiteX109" fmla="*/ 54724 w 222103"/>
              <a:gd name="connsiteY109" fmla="*/ 451140 h 706585"/>
              <a:gd name="connsiteX110" fmla="*/ 56920 w 222103"/>
              <a:gd name="connsiteY110" fmla="*/ 439698 h 706585"/>
              <a:gd name="connsiteX111" fmla="*/ 56284 w 222103"/>
              <a:gd name="connsiteY111" fmla="*/ 435047 h 706585"/>
              <a:gd name="connsiteX112" fmla="*/ 52557 w 222103"/>
              <a:gd name="connsiteY112" fmla="*/ 364489 h 706585"/>
              <a:gd name="connsiteX113" fmla="*/ 53511 w 222103"/>
              <a:gd name="connsiteY113" fmla="*/ 346546 h 706585"/>
              <a:gd name="connsiteX114" fmla="*/ 48396 w 222103"/>
              <a:gd name="connsiteY114" fmla="*/ 343455 h 706585"/>
              <a:gd name="connsiteX115" fmla="*/ 48859 w 222103"/>
              <a:gd name="connsiteY115" fmla="*/ 336954 h 706585"/>
              <a:gd name="connsiteX116" fmla="*/ 50188 w 222103"/>
              <a:gd name="connsiteY116" fmla="*/ 328372 h 706585"/>
              <a:gd name="connsiteX117" fmla="*/ 59058 w 222103"/>
              <a:gd name="connsiteY117" fmla="*/ 291302 h 706585"/>
              <a:gd name="connsiteX118" fmla="*/ 57498 w 222103"/>
              <a:gd name="connsiteY118" fmla="*/ 291736 h 706585"/>
              <a:gd name="connsiteX119" fmla="*/ 58105 w 222103"/>
              <a:gd name="connsiteY119" fmla="*/ 286477 h 706585"/>
              <a:gd name="connsiteX120" fmla="*/ 65386 w 222103"/>
              <a:gd name="connsiteY120" fmla="*/ 261600 h 706585"/>
              <a:gd name="connsiteX121" fmla="*/ 67697 w 222103"/>
              <a:gd name="connsiteY121" fmla="*/ 257382 h 706585"/>
              <a:gd name="connsiteX122" fmla="*/ 67148 w 222103"/>
              <a:gd name="connsiteY122" fmla="*/ 250592 h 706585"/>
              <a:gd name="connsiteX123" fmla="*/ 67611 w 222103"/>
              <a:gd name="connsiteY123" fmla="*/ 245998 h 706585"/>
              <a:gd name="connsiteX124" fmla="*/ 63710 w 222103"/>
              <a:gd name="connsiteY124" fmla="*/ 230164 h 706585"/>
              <a:gd name="connsiteX125" fmla="*/ 62467 w 222103"/>
              <a:gd name="connsiteY125" fmla="*/ 223836 h 706585"/>
              <a:gd name="connsiteX126" fmla="*/ 62467 w 222103"/>
              <a:gd name="connsiteY126" fmla="*/ 232042 h 706585"/>
              <a:gd name="connsiteX127" fmla="*/ 56978 w 222103"/>
              <a:gd name="connsiteY127" fmla="*/ 270788 h 706585"/>
              <a:gd name="connsiteX128" fmla="*/ 44582 w 222103"/>
              <a:gd name="connsiteY128" fmla="*/ 348424 h 706585"/>
              <a:gd name="connsiteX129" fmla="*/ 41751 w 222103"/>
              <a:gd name="connsiteY129" fmla="*/ 369401 h 706585"/>
              <a:gd name="connsiteX130" fmla="*/ 41115 w 222103"/>
              <a:gd name="connsiteY130" fmla="*/ 370326 h 706585"/>
              <a:gd name="connsiteX131" fmla="*/ 36637 w 222103"/>
              <a:gd name="connsiteY131" fmla="*/ 372030 h 706585"/>
              <a:gd name="connsiteX132" fmla="*/ 31523 w 222103"/>
              <a:gd name="connsiteY132" fmla="*/ 372030 h 706585"/>
              <a:gd name="connsiteX133" fmla="*/ 31841 w 222103"/>
              <a:gd name="connsiteY133" fmla="*/ 376798 h 706585"/>
              <a:gd name="connsiteX134" fmla="*/ 31552 w 222103"/>
              <a:gd name="connsiteY134" fmla="*/ 380496 h 706585"/>
              <a:gd name="connsiteX135" fmla="*/ 33227 w 222103"/>
              <a:gd name="connsiteY135" fmla="*/ 385321 h 706585"/>
              <a:gd name="connsiteX136" fmla="*/ 34036 w 222103"/>
              <a:gd name="connsiteY136" fmla="*/ 391013 h 706585"/>
              <a:gd name="connsiteX137" fmla="*/ 35192 w 222103"/>
              <a:gd name="connsiteY137" fmla="*/ 391707 h 706585"/>
              <a:gd name="connsiteX138" fmla="*/ 36695 w 222103"/>
              <a:gd name="connsiteY138" fmla="*/ 392862 h 706585"/>
              <a:gd name="connsiteX139" fmla="*/ 37359 w 222103"/>
              <a:gd name="connsiteY139" fmla="*/ 392776 h 706585"/>
              <a:gd name="connsiteX140" fmla="*/ 30483 w 222103"/>
              <a:gd name="connsiteY140" fmla="*/ 401501 h 706585"/>
              <a:gd name="connsiteX141" fmla="*/ 24415 w 222103"/>
              <a:gd name="connsiteY141" fmla="*/ 402368 h 706585"/>
              <a:gd name="connsiteX142" fmla="*/ 21468 w 222103"/>
              <a:gd name="connsiteY142" fmla="*/ 402021 h 706585"/>
              <a:gd name="connsiteX143" fmla="*/ 20717 w 222103"/>
              <a:gd name="connsiteY143" fmla="*/ 402513 h 706585"/>
              <a:gd name="connsiteX144" fmla="*/ 25888 w 222103"/>
              <a:gd name="connsiteY144" fmla="*/ 409100 h 706585"/>
              <a:gd name="connsiteX145" fmla="*/ 25484 w 222103"/>
              <a:gd name="connsiteY145" fmla="*/ 413665 h 706585"/>
              <a:gd name="connsiteX146" fmla="*/ 23115 w 222103"/>
              <a:gd name="connsiteY146" fmla="*/ 412596 h 706585"/>
              <a:gd name="connsiteX147" fmla="*/ 11471 w 222103"/>
              <a:gd name="connsiteY147" fmla="*/ 400635 h 706585"/>
              <a:gd name="connsiteX148" fmla="*/ 9535 w 222103"/>
              <a:gd name="connsiteY148" fmla="*/ 392689 h 706585"/>
              <a:gd name="connsiteX149" fmla="*/ 8726 w 222103"/>
              <a:gd name="connsiteY149" fmla="*/ 392111 h 706585"/>
              <a:gd name="connsiteX150" fmla="*/ 7743 w 222103"/>
              <a:gd name="connsiteY150" fmla="*/ 390464 h 706585"/>
              <a:gd name="connsiteX151" fmla="*/ 5259 w 222103"/>
              <a:gd name="connsiteY151" fmla="*/ 382692 h 706585"/>
              <a:gd name="connsiteX152" fmla="*/ 6790 w 222103"/>
              <a:gd name="connsiteY152" fmla="*/ 375873 h 706585"/>
              <a:gd name="connsiteX153" fmla="*/ 6559 w 222103"/>
              <a:gd name="connsiteY153" fmla="*/ 373215 h 706585"/>
              <a:gd name="connsiteX154" fmla="*/ 8003 w 222103"/>
              <a:gd name="connsiteY154" fmla="*/ 369141 h 706585"/>
              <a:gd name="connsiteX155" fmla="*/ 3092 w 222103"/>
              <a:gd name="connsiteY155" fmla="*/ 366483 h 706585"/>
              <a:gd name="connsiteX156" fmla="*/ 3092 w 222103"/>
              <a:gd name="connsiteY156" fmla="*/ 365240 h 706585"/>
              <a:gd name="connsiteX157" fmla="*/ 3381 w 222103"/>
              <a:gd name="connsiteY157" fmla="*/ 365269 h 706585"/>
              <a:gd name="connsiteX158" fmla="*/ 3727 w 222103"/>
              <a:gd name="connsiteY158" fmla="*/ 364171 h 706585"/>
              <a:gd name="connsiteX159" fmla="*/ 10864 w 222103"/>
              <a:gd name="connsiteY159" fmla="*/ 307251 h 706585"/>
              <a:gd name="connsiteX160" fmla="*/ 21583 w 222103"/>
              <a:gd name="connsiteY160" fmla="*/ 253019 h 706585"/>
              <a:gd name="connsiteX161" fmla="*/ 25022 w 222103"/>
              <a:gd name="connsiteY161" fmla="*/ 245940 h 706585"/>
              <a:gd name="connsiteX162" fmla="*/ 24704 w 222103"/>
              <a:gd name="connsiteY162" fmla="*/ 242877 h 706585"/>
              <a:gd name="connsiteX163" fmla="*/ 25686 w 222103"/>
              <a:gd name="connsiteY163" fmla="*/ 224328 h 706585"/>
              <a:gd name="connsiteX164" fmla="*/ 28431 w 222103"/>
              <a:gd name="connsiteY164" fmla="*/ 209419 h 706585"/>
              <a:gd name="connsiteX165" fmla="*/ 28460 w 222103"/>
              <a:gd name="connsiteY165" fmla="*/ 197399 h 706585"/>
              <a:gd name="connsiteX166" fmla="*/ 31841 w 222103"/>
              <a:gd name="connsiteY166" fmla="*/ 175411 h 706585"/>
              <a:gd name="connsiteX167" fmla="*/ 37330 w 222103"/>
              <a:gd name="connsiteY167" fmla="*/ 152759 h 706585"/>
              <a:gd name="connsiteX168" fmla="*/ 38746 w 222103"/>
              <a:gd name="connsiteY168" fmla="*/ 136550 h 706585"/>
              <a:gd name="connsiteX169" fmla="*/ 39815 w 222103"/>
              <a:gd name="connsiteY169" fmla="*/ 132967 h 706585"/>
              <a:gd name="connsiteX170" fmla="*/ 41924 w 222103"/>
              <a:gd name="connsiteY170" fmla="*/ 124559 h 706585"/>
              <a:gd name="connsiteX171" fmla="*/ 49899 w 222103"/>
              <a:gd name="connsiteY171" fmla="*/ 122305 h 706585"/>
              <a:gd name="connsiteX172" fmla="*/ 77290 w 222103"/>
              <a:gd name="connsiteY172" fmla="*/ 112597 h 706585"/>
              <a:gd name="connsiteX173" fmla="*/ 83415 w 222103"/>
              <a:gd name="connsiteY173" fmla="*/ 108841 h 706585"/>
              <a:gd name="connsiteX174" fmla="*/ 84715 w 222103"/>
              <a:gd name="connsiteY174" fmla="*/ 101820 h 706585"/>
              <a:gd name="connsiteX175" fmla="*/ 87923 w 222103"/>
              <a:gd name="connsiteY175" fmla="*/ 92921 h 706585"/>
              <a:gd name="connsiteX176" fmla="*/ 92054 w 222103"/>
              <a:gd name="connsiteY176" fmla="*/ 88327 h 706585"/>
              <a:gd name="connsiteX177" fmla="*/ 97313 w 222103"/>
              <a:gd name="connsiteY177" fmla="*/ 71684 h 706585"/>
              <a:gd name="connsiteX178" fmla="*/ 99335 w 222103"/>
              <a:gd name="connsiteY178" fmla="*/ 47414 h 706585"/>
              <a:gd name="connsiteX179" fmla="*/ 141982 w 222103"/>
              <a:gd name="connsiteY179" fmla="*/ 3467 h 706585"/>
              <a:gd name="connsiteX180" fmla="*/ 142127 w 222103"/>
              <a:gd name="connsiteY180" fmla="*/ 3467 h 706585"/>
              <a:gd name="connsiteX181" fmla="*/ 142733 w 222103"/>
              <a:gd name="connsiteY181" fmla="*/ 3525 h 706585"/>
              <a:gd name="connsiteX182" fmla="*/ 143051 w 222103"/>
              <a:gd name="connsiteY182" fmla="*/ 2860 h 706585"/>
              <a:gd name="connsiteX183" fmla="*/ 151719 w 222103"/>
              <a:gd name="connsiteY183" fmla="*/ 2860 h 706585"/>
              <a:gd name="connsiteX184" fmla="*/ 151604 w 222103"/>
              <a:gd name="connsiteY184" fmla="*/ 0 h 706585"/>
              <a:gd name="connsiteX185" fmla="*/ 142936 w 222103"/>
              <a:gd name="connsiteY185" fmla="*/ 0 h 706585"/>
              <a:gd name="connsiteX186" fmla="*/ 141057 w 222103"/>
              <a:gd name="connsiteY186" fmla="*/ 693 h 706585"/>
              <a:gd name="connsiteX187" fmla="*/ 96504 w 222103"/>
              <a:gd name="connsiteY187" fmla="*/ 46432 h 706585"/>
              <a:gd name="connsiteX188" fmla="*/ 94452 w 222103"/>
              <a:gd name="connsiteY188" fmla="*/ 63305 h 706585"/>
              <a:gd name="connsiteX189" fmla="*/ 94308 w 222103"/>
              <a:gd name="connsiteY189" fmla="*/ 71482 h 706585"/>
              <a:gd name="connsiteX190" fmla="*/ 89512 w 222103"/>
              <a:gd name="connsiteY190" fmla="*/ 86824 h 706585"/>
              <a:gd name="connsiteX191" fmla="*/ 87460 w 222103"/>
              <a:gd name="connsiteY191" fmla="*/ 89107 h 706585"/>
              <a:gd name="connsiteX192" fmla="*/ 85553 w 222103"/>
              <a:gd name="connsiteY192" fmla="*/ 91158 h 706585"/>
              <a:gd name="connsiteX193" fmla="*/ 81739 w 222103"/>
              <a:gd name="connsiteY193" fmla="*/ 101560 h 706585"/>
              <a:gd name="connsiteX194" fmla="*/ 81653 w 222103"/>
              <a:gd name="connsiteY194" fmla="*/ 104016 h 706585"/>
              <a:gd name="connsiteX195" fmla="*/ 80901 w 222103"/>
              <a:gd name="connsiteY195" fmla="*/ 107252 h 706585"/>
              <a:gd name="connsiteX196" fmla="*/ 78301 w 222103"/>
              <a:gd name="connsiteY196" fmla="*/ 109332 h 706585"/>
              <a:gd name="connsiteX197" fmla="*/ 76307 w 222103"/>
              <a:gd name="connsiteY197" fmla="*/ 109881 h 706585"/>
              <a:gd name="connsiteX198" fmla="*/ 61081 w 222103"/>
              <a:gd name="connsiteY198" fmla="*/ 115227 h 706585"/>
              <a:gd name="connsiteX199" fmla="*/ 48859 w 222103"/>
              <a:gd name="connsiteY199" fmla="*/ 119589 h 706585"/>
              <a:gd name="connsiteX200" fmla="*/ 45565 w 222103"/>
              <a:gd name="connsiteY200" fmla="*/ 120485 h 706585"/>
              <a:gd name="connsiteX201" fmla="*/ 40740 w 222103"/>
              <a:gd name="connsiteY201" fmla="*/ 121901 h 706585"/>
              <a:gd name="connsiteX202" fmla="*/ 36868 w 222103"/>
              <a:gd name="connsiteY202" fmla="*/ 130944 h 706585"/>
              <a:gd name="connsiteX203" fmla="*/ 36810 w 222103"/>
              <a:gd name="connsiteY203" fmla="*/ 132591 h 706585"/>
              <a:gd name="connsiteX204" fmla="*/ 36435 w 222103"/>
              <a:gd name="connsiteY204" fmla="*/ 133805 h 706585"/>
              <a:gd name="connsiteX205" fmla="*/ 35770 w 222103"/>
              <a:gd name="connsiteY205" fmla="*/ 136030 h 706585"/>
              <a:gd name="connsiteX206" fmla="*/ 34874 w 222103"/>
              <a:gd name="connsiteY206" fmla="*/ 145333 h 706585"/>
              <a:gd name="connsiteX207" fmla="*/ 34325 w 222103"/>
              <a:gd name="connsiteY207" fmla="*/ 152326 h 706585"/>
              <a:gd name="connsiteX208" fmla="*/ 31783 w 222103"/>
              <a:gd name="connsiteY208" fmla="*/ 162698 h 706585"/>
              <a:gd name="connsiteX209" fmla="*/ 28836 w 222103"/>
              <a:gd name="connsiteY209" fmla="*/ 175007 h 706585"/>
              <a:gd name="connsiteX210" fmla="*/ 27246 w 222103"/>
              <a:gd name="connsiteY210" fmla="*/ 185206 h 706585"/>
              <a:gd name="connsiteX211" fmla="*/ 25426 w 222103"/>
              <a:gd name="connsiteY211" fmla="*/ 197023 h 706585"/>
              <a:gd name="connsiteX212" fmla="*/ 25282 w 222103"/>
              <a:gd name="connsiteY212" fmla="*/ 204911 h 706585"/>
              <a:gd name="connsiteX213" fmla="*/ 25368 w 222103"/>
              <a:gd name="connsiteY213" fmla="*/ 209303 h 706585"/>
              <a:gd name="connsiteX214" fmla="*/ 23982 w 222103"/>
              <a:gd name="connsiteY214" fmla="*/ 217047 h 706585"/>
              <a:gd name="connsiteX215" fmla="*/ 22624 w 222103"/>
              <a:gd name="connsiteY215" fmla="*/ 223952 h 706585"/>
              <a:gd name="connsiteX216" fmla="*/ 21612 w 222103"/>
              <a:gd name="connsiteY216" fmla="*/ 242906 h 706585"/>
              <a:gd name="connsiteX217" fmla="*/ 21843 w 222103"/>
              <a:gd name="connsiteY217" fmla="*/ 244640 h 706585"/>
              <a:gd name="connsiteX218" fmla="*/ 21959 w 222103"/>
              <a:gd name="connsiteY218" fmla="*/ 245478 h 706585"/>
              <a:gd name="connsiteX219" fmla="*/ 20168 w 222103"/>
              <a:gd name="connsiteY219" fmla="*/ 249031 h 706585"/>
              <a:gd name="connsiteX220" fmla="*/ 18723 w 222103"/>
              <a:gd name="connsiteY220" fmla="*/ 251834 h 706585"/>
              <a:gd name="connsiteX221" fmla="*/ 11673 w 222103"/>
              <a:gd name="connsiteY221" fmla="*/ 284137 h 706585"/>
              <a:gd name="connsiteX222" fmla="*/ 7859 w 222103"/>
              <a:gd name="connsiteY222" fmla="*/ 306442 h 706585"/>
              <a:gd name="connsiteX223" fmla="*/ 7772 w 222103"/>
              <a:gd name="connsiteY223" fmla="*/ 306962 h 706585"/>
              <a:gd name="connsiteX224" fmla="*/ 722 w 222103"/>
              <a:gd name="connsiteY224" fmla="*/ 363247 h 706585"/>
              <a:gd name="connsiteX225" fmla="*/ 0 w 222103"/>
              <a:gd name="connsiteY225" fmla="*/ 365154 h 706585"/>
              <a:gd name="connsiteX226" fmla="*/ 0 w 222103"/>
              <a:gd name="connsiteY226" fmla="*/ 366396 h 706585"/>
              <a:gd name="connsiteX227" fmla="*/ 1502 w 222103"/>
              <a:gd name="connsiteY227" fmla="*/ 368939 h 706585"/>
              <a:gd name="connsiteX228" fmla="*/ 4305 w 222103"/>
              <a:gd name="connsiteY228" fmla="*/ 370470 h 706585"/>
              <a:gd name="connsiteX229" fmla="*/ 3496 w 222103"/>
              <a:gd name="connsiteY229" fmla="*/ 372608 h 706585"/>
              <a:gd name="connsiteX230" fmla="*/ 3583 w 222103"/>
              <a:gd name="connsiteY230" fmla="*/ 375122 h 706585"/>
              <a:gd name="connsiteX231" fmla="*/ 3669 w 222103"/>
              <a:gd name="connsiteY231" fmla="*/ 375671 h 706585"/>
              <a:gd name="connsiteX232" fmla="*/ 3063 w 222103"/>
              <a:gd name="connsiteY232" fmla="*/ 378011 h 706585"/>
              <a:gd name="connsiteX233" fmla="*/ 2167 w 222103"/>
              <a:gd name="connsiteY233" fmla="*/ 382894 h 706585"/>
              <a:gd name="connsiteX234" fmla="*/ 4247 w 222103"/>
              <a:gd name="connsiteY234" fmla="*/ 387141 h 706585"/>
              <a:gd name="connsiteX235" fmla="*/ 5259 w 222103"/>
              <a:gd name="connsiteY235" fmla="*/ 388644 h 706585"/>
              <a:gd name="connsiteX236" fmla="*/ 4739 w 222103"/>
              <a:gd name="connsiteY236" fmla="*/ 390955 h 706585"/>
              <a:gd name="connsiteX237" fmla="*/ 5634 w 222103"/>
              <a:gd name="connsiteY237" fmla="*/ 392573 h 706585"/>
              <a:gd name="connsiteX238" fmla="*/ 6039 w 222103"/>
              <a:gd name="connsiteY238" fmla="*/ 393585 h 706585"/>
              <a:gd name="connsiteX239" fmla="*/ 6848 w 222103"/>
              <a:gd name="connsiteY239" fmla="*/ 394423 h 706585"/>
              <a:gd name="connsiteX240" fmla="*/ 7281 w 222103"/>
              <a:gd name="connsiteY240" fmla="*/ 396590 h 706585"/>
              <a:gd name="connsiteX241" fmla="*/ 8610 w 222103"/>
              <a:gd name="connsiteY241" fmla="*/ 401733 h 706585"/>
              <a:gd name="connsiteX242" fmla="*/ 21150 w 222103"/>
              <a:gd name="connsiteY242" fmla="*/ 414850 h 706585"/>
              <a:gd name="connsiteX243" fmla="*/ 25253 w 222103"/>
              <a:gd name="connsiteY243" fmla="*/ 416497 h 706585"/>
              <a:gd name="connsiteX244" fmla="*/ 28778 w 222103"/>
              <a:gd name="connsiteY244" fmla="*/ 414503 h 706585"/>
              <a:gd name="connsiteX245" fmla="*/ 28200 w 222103"/>
              <a:gd name="connsiteY245" fmla="*/ 407627 h 706585"/>
              <a:gd name="connsiteX246" fmla="*/ 26091 w 222103"/>
              <a:gd name="connsiteY246" fmla="*/ 405142 h 706585"/>
              <a:gd name="connsiteX247" fmla="*/ 30858 w 222103"/>
              <a:gd name="connsiteY247" fmla="*/ 404304 h 706585"/>
              <a:gd name="connsiteX248" fmla="*/ 32303 w 222103"/>
              <a:gd name="connsiteY248" fmla="*/ 403553 h 706585"/>
              <a:gd name="connsiteX249" fmla="*/ 32650 w 222103"/>
              <a:gd name="connsiteY249" fmla="*/ 403235 h 706585"/>
              <a:gd name="connsiteX250" fmla="*/ 40248 w 222103"/>
              <a:gd name="connsiteY250" fmla="*/ 393151 h 706585"/>
              <a:gd name="connsiteX251" fmla="*/ 39179 w 222103"/>
              <a:gd name="connsiteY251" fmla="*/ 390638 h 706585"/>
              <a:gd name="connsiteX252" fmla="*/ 37244 w 222103"/>
              <a:gd name="connsiteY252" fmla="*/ 389857 h 706585"/>
              <a:gd name="connsiteX253" fmla="*/ 36839 w 222103"/>
              <a:gd name="connsiteY253" fmla="*/ 389482 h 706585"/>
              <a:gd name="connsiteX254" fmla="*/ 36406 w 222103"/>
              <a:gd name="connsiteY254" fmla="*/ 389164 h 706585"/>
              <a:gd name="connsiteX255" fmla="*/ 36290 w 222103"/>
              <a:gd name="connsiteY255" fmla="*/ 387864 h 706585"/>
              <a:gd name="connsiteX256" fmla="*/ 35828 w 222103"/>
              <a:gd name="connsiteY256" fmla="*/ 384628 h 706585"/>
              <a:gd name="connsiteX257" fmla="*/ 34932 w 222103"/>
              <a:gd name="connsiteY257" fmla="*/ 382172 h 706585"/>
              <a:gd name="connsiteX258" fmla="*/ 34210 w 222103"/>
              <a:gd name="connsiteY258" fmla="*/ 380149 h 706585"/>
              <a:gd name="connsiteX259" fmla="*/ 34325 w 222103"/>
              <a:gd name="connsiteY259" fmla="*/ 378705 h 706585"/>
              <a:gd name="connsiteX260" fmla="*/ 34528 w 222103"/>
              <a:gd name="connsiteY260" fmla="*/ 376769 h 706585"/>
              <a:gd name="connsiteX261" fmla="*/ 34412 w 222103"/>
              <a:gd name="connsiteY261" fmla="*/ 374920 h 706585"/>
              <a:gd name="connsiteX262" fmla="*/ 36435 w 222103"/>
              <a:gd name="connsiteY262" fmla="*/ 374920 h 706585"/>
              <a:gd name="connsiteX263" fmla="*/ 42531 w 222103"/>
              <a:gd name="connsiteY263" fmla="*/ 372695 h 706585"/>
              <a:gd name="connsiteX264" fmla="*/ 44351 w 222103"/>
              <a:gd name="connsiteY264" fmla="*/ 369950 h 706585"/>
              <a:gd name="connsiteX265" fmla="*/ 46172 w 222103"/>
              <a:gd name="connsiteY265" fmla="*/ 357150 h 706585"/>
              <a:gd name="connsiteX266" fmla="*/ 47212 w 222103"/>
              <a:gd name="connsiteY266" fmla="*/ 348829 h 706585"/>
              <a:gd name="connsiteX267" fmla="*/ 47472 w 222103"/>
              <a:gd name="connsiteY267" fmla="*/ 347153 h 706585"/>
              <a:gd name="connsiteX268" fmla="*/ 50217 w 222103"/>
              <a:gd name="connsiteY268" fmla="*/ 348049 h 706585"/>
              <a:gd name="connsiteX269" fmla="*/ 49639 w 222103"/>
              <a:gd name="connsiteY269" fmla="*/ 359144 h 706585"/>
              <a:gd name="connsiteX270" fmla="*/ 49465 w 222103"/>
              <a:gd name="connsiteY270" fmla="*/ 364287 h 706585"/>
              <a:gd name="connsiteX271" fmla="*/ 51632 w 222103"/>
              <a:gd name="connsiteY271" fmla="*/ 415861 h 706585"/>
              <a:gd name="connsiteX272" fmla="*/ 53193 w 222103"/>
              <a:gd name="connsiteY272" fmla="*/ 435162 h 706585"/>
              <a:gd name="connsiteX273" fmla="*/ 53539 w 222103"/>
              <a:gd name="connsiteY273" fmla="*/ 437589 h 706585"/>
              <a:gd name="connsiteX274" fmla="*/ 53828 w 222103"/>
              <a:gd name="connsiteY274" fmla="*/ 439641 h 706585"/>
              <a:gd name="connsiteX275" fmla="*/ 52759 w 222103"/>
              <a:gd name="connsiteY275" fmla="*/ 445419 h 706585"/>
              <a:gd name="connsiteX276" fmla="*/ 51661 w 222103"/>
              <a:gd name="connsiteY276" fmla="*/ 450736 h 706585"/>
              <a:gd name="connsiteX277" fmla="*/ 50101 w 222103"/>
              <a:gd name="connsiteY277" fmla="*/ 488124 h 706585"/>
              <a:gd name="connsiteX278" fmla="*/ 50563 w 222103"/>
              <a:gd name="connsiteY278" fmla="*/ 492255 h 706585"/>
              <a:gd name="connsiteX279" fmla="*/ 51026 w 222103"/>
              <a:gd name="connsiteY279" fmla="*/ 499825 h 706585"/>
              <a:gd name="connsiteX280" fmla="*/ 50708 w 222103"/>
              <a:gd name="connsiteY280" fmla="*/ 506384 h 706585"/>
              <a:gd name="connsiteX281" fmla="*/ 55013 w 222103"/>
              <a:gd name="connsiteY281" fmla="*/ 574601 h 706585"/>
              <a:gd name="connsiteX282" fmla="*/ 56024 w 222103"/>
              <a:gd name="connsiteY282" fmla="*/ 577173 h 706585"/>
              <a:gd name="connsiteX283" fmla="*/ 56920 w 222103"/>
              <a:gd name="connsiteY283" fmla="*/ 579686 h 706585"/>
              <a:gd name="connsiteX284" fmla="*/ 57960 w 222103"/>
              <a:gd name="connsiteY284" fmla="*/ 590464 h 706585"/>
              <a:gd name="connsiteX285" fmla="*/ 58480 w 222103"/>
              <a:gd name="connsiteY285" fmla="*/ 597109 h 706585"/>
              <a:gd name="connsiteX286" fmla="*/ 58798 w 222103"/>
              <a:gd name="connsiteY286" fmla="*/ 600316 h 706585"/>
              <a:gd name="connsiteX287" fmla="*/ 59058 w 222103"/>
              <a:gd name="connsiteY287" fmla="*/ 620570 h 706585"/>
              <a:gd name="connsiteX288" fmla="*/ 53135 w 222103"/>
              <a:gd name="connsiteY288" fmla="*/ 646314 h 706585"/>
              <a:gd name="connsiteX289" fmla="*/ 50535 w 222103"/>
              <a:gd name="connsiteY289" fmla="*/ 655502 h 706585"/>
              <a:gd name="connsiteX290" fmla="*/ 52817 w 222103"/>
              <a:gd name="connsiteY290" fmla="*/ 669458 h 706585"/>
              <a:gd name="connsiteX291" fmla="*/ 54320 w 222103"/>
              <a:gd name="connsiteY291" fmla="*/ 673012 h 706585"/>
              <a:gd name="connsiteX292" fmla="*/ 54811 w 222103"/>
              <a:gd name="connsiteY292" fmla="*/ 674803 h 706585"/>
              <a:gd name="connsiteX293" fmla="*/ 55591 w 222103"/>
              <a:gd name="connsiteY293" fmla="*/ 677461 h 706585"/>
              <a:gd name="connsiteX294" fmla="*/ 57209 w 222103"/>
              <a:gd name="connsiteY294" fmla="*/ 679860 h 706585"/>
              <a:gd name="connsiteX295" fmla="*/ 57324 w 222103"/>
              <a:gd name="connsiteY295" fmla="*/ 680004 h 706585"/>
              <a:gd name="connsiteX296" fmla="*/ 57267 w 222103"/>
              <a:gd name="connsiteY296" fmla="*/ 681824 h 706585"/>
              <a:gd name="connsiteX297" fmla="*/ 57267 w 222103"/>
              <a:gd name="connsiteY297" fmla="*/ 684338 h 706585"/>
              <a:gd name="connsiteX298" fmla="*/ 77839 w 222103"/>
              <a:gd name="connsiteY298" fmla="*/ 704737 h 706585"/>
              <a:gd name="connsiteX299" fmla="*/ 83733 w 222103"/>
              <a:gd name="connsiteY299" fmla="*/ 704014 h 706585"/>
              <a:gd name="connsiteX300" fmla="*/ 98469 w 222103"/>
              <a:gd name="connsiteY300" fmla="*/ 683587 h 706585"/>
              <a:gd name="connsiteX301" fmla="*/ 100491 w 222103"/>
              <a:gd name="connsiteY301" fmla="*/ 679657 h 706585"/>
              <a:gd name="connsiteX302" fmla="*/ 102716 w 222103"/>
              <a:gd name="connsiteY302" fmla="*/ 675699 h 706585"/>
              <a:gd name="connsiteX303" fmla="*/ 103496 w 222103"/>
              <a:gd name="connsiteY303" fmla="*/ 660674 h 706585"/>
              <a:gd name="connsiteX304" fmla="*/ 102600 w 222103"/>
              <a:gd name="connsiteY304" fmla="*/ 655589 h 706585"/>
              <a:gd name="connsiteX305" fmla="*/ 101647 w 222103"/>
              <a:gd name="connsiteY305" fmla="*/ 636693 h 706585"/>
              <a:gd name="connsiteX306" fmla="*/ 100289 w 222103"/>
              <a:gd name="connsiteY306" fmla="*/ 614503 h 706585"/>
              <a:gd name="connsiteX307" fmla="*/ 99364 w 222103"/>
              <a:gd name="connsiteY307" fmla="*/ 609678 h 706585"/>
              <a:gd name="connsiteX308" fmla="*/ 98266 w 222103"/>
              <a:gd name="connsiteY308" fmla="*/ 603148 h 706585"/>
              <a:gd name="connsiteX309" fmla="*/ 100462 w 222103"/>
              <a:gd name="connsiteY309" fmla="*/ 595087 h 706585"/>
              <a:gd name="connsiteX310" fmla="*/ 101907 w 222103"/>
              <a:gd name="connsiteY310" fmla="*/ 591013 h 706585"/>
              <a:gd name="connsiteX311" fmla="*/ 108321 w 222103"/>
              <a:gd name="connsiteY311" fmla="*/ 539294 h 706585"/>
              <a:gd name="connsiteX312" fmla="*/ 108437 w 222103"/>
              <a:gd name="connsiteY312" fmla="*/ 536058 h 706585"/>
              <a:gd name="connsiteX313" fmla="*/ 108870 w 222103"/>
              <a:gd name="connsiteY313" fmla="*/ 526147 h 706585"/>
              <a:gd name="connsiteX314" fmla="*/ 109333 w 222103"/>
              <a:gd name="connsiteY314" fmla="*/ 515630 h 706585"/>
              <a:gd name="connsiteX315" fmla="*/ 109275 w 222103"/>
              <a:gd name="connsiteY315" fmla="*/ 511585 h 706585"/>
              <a:gd name="connsiteX316" fmla="*/ 109621 w 222103"/>
              <a:gd name="connsiteY316" fmla="*/ 502050 h 706585"/>
              <a:gd name="connsiteX317" fmla="*/ 110373 w 222103"/>
              <a:gd name="connsiteY317" fmla="*/ 501212 h 706585"/>
              <a:gd name="connsiteX318" fmla="*/ 111760 w 222103"/>
              <a:gd name="connsiteY318" fmla="*/ 499536 h 706585"/>
              <a:gd name="connsiteX319" fmla="*/ 115689 w 222103"/>
              <a:gd name="connsiteY319" fmla="*/ 484801 h 706585"/>
              <a:gd name="connsiteX320" fmla="*/ 114129 w 222103"/>
              <a:gd name="connsiteY320" fmla="*/ 479744 h 706585"/>
              <a:gd name="connsiteX321" fmla="*/ 112684 w 222103"/>
              <a:gd name="connsiteY321" fmla="*/ 471048 h 706585"/>
              <a:gd name="connsiteX322" fmla="*/ 117365 w 222103"/>
              <a:gd name="connsiteY322" fmla="*/ 436289 h 706585"/>
              <a:gd name="connsiteX323" fmla="*/ 121381 w 222103"/>
              <a:gd name="connsiteY323" fmla="*/ 417971 h 706585"/>
              <a:gd name="connsiteX324" fmla="*/ 125975 w 222103"/>
              <a:gd name="connsiteY324" fmla="*/ 396590 h 706585"/>
              <a:gd name="connsiteX325" fmla="*/ 126697 w 222103"/>
              <a:gd name="connsiteY325" fmla="*/ 437445 h 706585"/>
              <a:gd name="connsiteX326" fmla="*/ 126062 w 222103"/>
              <a:gd name="connsiteY326" fmla="*/ 446806 h 706585"/>
              <a:gd name="connsiteX327" fmla="*/ 125426 w 222103"/>
              <a:gd name="connsiteY327" fmla="*/ 456283 h 706585"/>
              <a:gd name="connsiteX328" fmla="*/ 125917 w 222103"/>
              <a:gd name="connsiteY328" fmla="*/ 467898 h 706585"/>
              <a:gd name="connsiteX329" fmla="*/ 126380 w 222103"/>
              <a:gd name="connsiteY329" fmla="*/ 478878 h 706585"/>
              <a:gd name="connsiteX330" fmla="*/ 126235 w 222103"/>
              <a:gd name="connsiteY330" fmla="*/ 483067 h 706585"/>
              <a:gd name="connsiteX331" fmla="*/ 125802 w 222103"/>
              <a:gd name="connsiteY331" fmla="*/ 499681 h 706585"/>
              <a:gd name="connsiteX332" fmla="*/ 119243 w 222103"/>
              <a:gd name="connsiteY332" fmla="*/ 572087 h 706585"/>
              <a:gd name="connsiteX333" fmla="*/ 114996 w 222103"/>
              <a:gd name="connsiteY333" fmla="*/ 606471 h 706585"/>
              <a:gd name="connsiteX334" fmla="*/ 117480 w 222103"/>
              <a:gd name="connsiteY334" fmla="*/ 673908 h 706585"/>
              <a:gd name="connsiteX335" fmla="*/ 118665 w 222103"/>
              <a:gd name="connsiteY335" fmla="*/ 676884 h 706585"/>
              <a:gd name="connsiteX336" fmla="*/ 119590 w 222103"/>
              <a:gd name="connsiteY336" fmla="*/ 679195 h 706585"/>
              <a:gd name="connsiteX337" fmla="*/ 119763 w 222103"/>
              <a:gd name="connsiteY337" fmla="*/ 681767 h 706585"/>
              <a:gd name="connsiteX338" fmla="*/ 119965 w 222103"/>
              <a:gd name="connsiteY338" fmla="*/ 684800 h 706585"/>
              <a:gd name="connsiteX339" fmla="*/ 136897 w 222103"/>
              <a:gd name="connsiteY339" fmla="*/ 705864 h 706585"/>
              <a:gd name="connsiteX340" fmla="*/ 142907 w 222103"/>
              <a:gd name="connsiteY340" fmla="*/ 706586 h 706585"/>
              <a:gd name="connsiteX341" fmla="*/ 160907 w 222103"/>
              <a:gd name="connsiteY341" fmla="*/ 684800 h 706585"/>
              <a:gd name="connsiteX342" fmla="*/ 160792 w 222103"/>
              <a:gd name="connsiteY342" fmla="*/ 682142 h 706585"/>
              <a:gd name="connsiteX343" fmla="*/ 160734 w 222103"/>
              <a:gd name="connsiteY343" fmla="*/ 681420 h 706585"/>
              <a:gd name="connsiteX344" fmla="*/ 161427 w 222103"/>
              <a:gd name="connsiteY344" fmla="*/ 681218 h 706585"/>
              <a:gd name="connsiteX345" fmla="*/ 163276 w 222103"/>
              <a:gd name="connsiteY345" fmla="*/ 680611 h 706585"/>
              <a:gd name="connsiteX346" fmla="*/ 170904 w 222103"/>
              <a:gd name="connsiteY346" fmla="*/ 671336 h 706585"/>
              <a:gd name="connsiteX347" fmla="*/ 172060 w 222103"/>
              <a:gd name="connsiteY347" fmla="*/ 660645 h 706585"/>
              <a:gd name="connsiteX348" fmla="*/ 174054 w 222103"/>
              <a:gd name="connsiteY348" fmla="*/ 644581 h 706585"/>
              <a:gd name="connsiteX349" fmla="*/ 180381 w 222103"/>
              <a:gd name="connsiteY349" fmla="*/ 575208 h 706585"/>
              <a:gd name="connsiteX350" fmla="*/ 180641 w 222103"/>
              <a:gd name="connsiteY350" fmla="*/ 560443 h 706585"/>
              <a:gd name="connsiteX351" fmla="*/ 183762 w 222103"/>
              <a:gd name="connsiteY351" fmla="*/ 478820 h 706585"/>
              <a:gd name="connsiteX352" fmla="*/ 194770 w 222103"/>
              <a:gd name="connsiteY352" fmla="*/ 412019 h 706585"/>
              <a:gd name="connsiteX353" fmla="*/ 204103 w 222103"/>
              <a:gd name="connsiteY353" fmla="*/ 361022 h 706585"/>
              <a:gd name="connsiteX354" fmla="*/ 205085 w 222103"/>
              <a:gd name="connsiteY354" fmla="*/ 350967 h 706585"/>
              <a:gd name="connsiteX355" fmla="*/ 205085 w 222103"/>
              <a:gd name="connsiteY355" fmla="*/ 348742 h 706585"/>
              <a:gd name="connsiteX356" fmla="*/ 205114 w 222103"/>
              <a:gd name="connsiteY356" fmla="*/ 344813 h 706585"/>
              <a:gd name="connsiteX357" fmla="*/ 211124 w 222103"/>
              <a:gd name="connsiteY357" fmla="*/ 339872 h 706585"/>
              <a:gd name="connsiteX358" fmla="*/ 211557 w 222103"/>
              <a:gd name="connsiteY358" fmla="*/ 339323 h 706585"/>
              <a:gd name="connsiteX359" fmla="*/ 212106 w 222103"/>
              <a:gd name="connsiteY359" fmla="*/ 336723 h 706585"/>
              <a:gd name="connsiteX360" fmla="*/ 211817 w 222103"/>
              <a:gd name="connsiteY360" fmla="*/ 335654 h 706585"/>
              <a:gd name="connsiteX361" fmla="*/ 197862 w 222103"/>
              <a:gd name="connsiteY361" fmla="*/ 288529 h 706585"/>
              <a:gd name="connsiteX362" fmla="*/ 199162 w 222103"/>
              <a:gd name="connsiteY362" fmla="*/ 287257 h 706585"/>
              <a:gd name="connsiteX363" fmla="*/ 199364 w 222103"/>
              <a:gd name="connsiteY363" fmla="*/ 282490 h 706585"/>
              <a:gd name="connsiteX364" fmla="*/ 199307 w 222103"/>
              <a:gd name="connsiteY364" fmla="*/ 282317 h 706585"/>
              <a:gd name="connsiteX365" fmla="*/ 195608 w 222103"/>
              <a:gd name="connsiteY365" fmla="*/ 274284 h 706585"/>
              <a:gd name="connsiteX366" fmla="*/ 192430 w 222103"/>
              <a:gd name="connsiteY366" fmla="*/ 267552 h 706585"/>
              <a:gd name="connsiteX367" fmla="*/ 192228 w 222103"/>
              <a:gd name="connsiteY367" fmla="*/ 266021 h 706585"/>
              <a:gd name="connsiteX368" fmla="*/ 191765 w 222103"/>
              <a:gd name="connsiteY368" fmla="*/ 263276 h 706585"/>
              <a:gd name="connsiteX369" fmla="*/ 190407 w 222103"/>
              <a:gd name="connsiteY369" fmla="*/ 260184 h 706585"/>
              <a:gd name="connsiteX370" fmla="*/ 189656 w 222103"/>
              <a:gd name="connsiteY370" fmla="*/ 258711 h 706585"/>
              <a:gd name="connsiteX371" fmla="*/ 190812 w 222103"/>
              <a:gd name="connsiteY371" fmla="*/ 257728 h 706585"/>
              <a:gd name="connsiteX372" fmla="*/ 191679 w 222103"/>
              <a:gd name="connsiteY372" fmla="*/ 253192 h 706585"/>
              <a:gd name="connsiteX373" fmla="*/ 189309 w 222103"/>
              <a:gd name="connsiteY373" fmla="*/ 247038 h 706585"/>
              <a:gd name="connsiteX374" fmla="*/ 191939 w 222103"/>
              <a:gd name="connsiteY374" fmla="*/ 248222 h 706585"/>
              <a:gd name="connsiteX375" fmla="*/ 198613 w 222103"/>
              <a:gd name="connsiteY375" fmla="*/ 250072 h 706585"/>
              <a:gd name="connsiteX376" fmla="*/ 205432 w 222103"/>
              <a:gd name="connsiteY376" fmla="*/ 247558 h 706585"/>
              <a:gd name="connsiteX377" fmla="*/ 221294 w 222103"/>
              <a:gd name="connsiteY377" fmla="*/ 226148 h 706585"/>
              <a:gd name="connsiteX378" fmla="*/ 222103 w 222103"/>
              <a:gd name="connsiteY378" fmla="*/ 224154 h 706585"/>
              <a:gd name="connsiteX379" fmla="*/ 222103 w 222103"/>
              <a:gd name="connsiteY379" fmla="*/ 216411 h 706585"/>
              <a:gd name="connsiteX380" fmla="*/ 221468 w 222103"/>
              <a:gd name="connsiteY380" fmla="*/ 214591 h 706585"/>
              <a:gd name="connsiteX381" fmla="*/ 221468 w 222103"/>
              <a:gd name="connsiteY381" fmla="*/ 212452 h 706585"/>
              <a:gd name="connsiteX382" fmla="*/ 220919 w 222103"/>
              <a:gd name="connsiteY382" fmla="*/ 205489 h 706585"/>
              <a:gd name="connsiteX383" fmla="*/ 217538 w 222103"/>
              <a:gd name="connsiteY383" fmla="*/ 196041 h 706585"/>
              <a:gd name="connsiteX384" fmla="*/ 215429 w 222103"/>
              <a:gd name="connsiteY384" fmla="*/ 190551 h 706585"/>
              <a:gd name="connsiteX385" fmla="*/ 214360 w 222103"/>
              <a:gd name="connsiteY385" fmla="*/ 186824 h 706585"/>
              <a:gd name="connsiteX386" fmla="*/ 212858 w 222103"/>
              <a:gd name="connsiteY386" fmla="*/ 181883 h 706585"/>
              <a:gd name="connsiteX387" fmla="*/ 211239 w 222103"/>
              <a:gd name="connsiteY387" fmla="*/ 178734 h 706585"/>
              <a:gd name="connsiteX388" fmla="*/ 210228 w 222103"/>
              <a:gd name="connsiteY388" fmla="*/ 176827 h 706585"/>
              <a:gd name="connsiteX389" fmla="*/ 210286 w 222103"/>
              <a:gd name="connsiteY389" fmla="*/ 176711 h 706585"/>
              <a:gd name="connsiteX390" fmla="*/ 210806 w 222103"/>
              <a:gd name="connsiteY390" fmla="*/ 172811 h 706585"/>
              <a:gd name="connsiteX391" fmla="*/ 208812 w 222103"/>
              <a:gd name="connsiteY391" fmla="*/ 170268 h 706585"/>
              <a:gd name="connsiteX392" fmla="*/ 208812 w 222103"/>
              <a:gd name="connsiteY392" fmla="*/ 169806 h 706585"/>
              <a:gd name="connsiteX393" fmla="*/ 209101 w 222103"/>
              <a:gd name="connsiteY393" fmla="*/ 166743 h 706585"/>
              <a:gd name="connsiteX394" fmla="*/ 208524 w 222103"/>
              <a:gd name="connsiteY394" fmla="*/ 150390 h 706585"/>
              <a:gd name="connsiteX395" fmla="*/ 207541 w 222103"/>
              <a:gd name="connsiteY395" fmla="*/ 147443 h 706585"/>
              <a:gd name="connsiteX396" fmla="*/ 207541 w 222103"/>
              <a:gd name="connsiteY396" fmla="*/ 147443 h 706585"/>
              <a:gd name="connsiteX397" fmla="*/ 208928 w 222103"/>
              <a:gd name="connsiteY397" fmla="*/ 146085 h 706585"/>
              <a:gd name="connsiteX398" fmla="*/ 206992 w 222103"/>
              <a:gd name="connsiteY398" fmla="*/ 138283 h 706585"/>
              <a:gd name="connsiteX399" fmla="*/ 206068 w 222103"/>
              <a:gd name="connsiteY399" fmla="*/ 137185 h 706585"/>
              <a:gd name="connsiteX400" fmla="*/ 206068 w 222103"/>
              <a:gd name="connsiteY400" fmla="*/ 136203 h 706585"/>
              <a:gd name="connsiteX401" fmla="*/ 205316 w 222103"/>
              <a:gd name="connsiteY401" fmla="*/ 133978 h 706585"/>
              <a:gd name="connsiteX402" fmla="*/ 205056 w 222103"/>
              <a:gd name="connsiteY402" fmla="*/ 133429 h 706585"/>
              <a:gd name="connsiteX403" fmla="*/ 204767 w 222103"/>
              <a:gd name="connsiteY403" fmla="*/ 131927 h 706585"/>
              <a:gd name="connsiteX404" fmla="*/ 202716 w 222103"/>
              <a:gd name="connsiteY404" fmla="*/ 126235 h 706585"/>
              <a:gd name="connsiteX405" fmla="*/ 198584 w 222103"/>
              <a:gd name="connsiteY405" fmla="*/ 123403 h 706585"/>
              <a:gd name="connsiteX406" fmla="*/ 197746 w 222103"/>
              <a:gd name="connsiteY406" fmla="*/ 123143 h 706585"/>
              <a:gd name="connsiteX407" fmla="*/ 195868 w 222103"/>
              <a:gd name="connsiteY407" fmla="*/ 121901 h 706585"/>
              <a:gd name="connsiteX408" fmla="*/ 193470 w 222103"/>
              <a:gd name="connsiteY408" fmla="*/ 120341 h 706585"/>
              <a:gd name="connsiteX409" fmla="*/ 191216 w 222103"/>
              <a:gd name="connsiteY409" fmla="*/ 119127 h 706585"/>
              <a:gd name="connsiteX410" fmla="*/ 183242 w 222103"/>
              <a:gd name="connsiteY410" fmla="*/ 113060 h 706585"/>
              <a:gd name="connsiteX411" fmla="*/ 183126 w 222103"/>
              <a:gd name="connsiteY411" fmla="*/ 112771 h 706585"/>
              <a:gd name="connsiteX412" fmla="*/ 181682 w 222103"/>
              <a:gd name="connsiteY412" fmla="*/ 110575 h 706585"/>
              <a:gd name="connsiteX413" fmla="*/ 181479 w 222103"/>
              <a:gd name="connsiteY413" fmla="*/ 110401 h 706585"/>
              <a:gd name="connsiteX414" fmla="*/ 181075 w 222103"/>
              <a:gd name="connsiteY414" fmla="*/ 108928 h 706585"/>
              <a:gd name="connsiteX415" fmla="*/ 180526 w 222103"/>
              <a:gd name="connsiteY415" fmla="*/ 103900 h 706585"/>
              <a:gd name="connsiteX416" fmla="*/ 180526 w 222103"/>
              <a:gd name="connsiteY416" fmla="*/ 103669 h 706585"/>
              <a:gd name="connsiteX417" fmla="*/ 183328 w 222103"/>
              <a:gd name="connsiteY417" fmla="*/ 89511 h 706585"/>
              <a:gd name="connsiteX418" fmla="*/ 185293 w 222103"/>
              <a:gd name="connsiteY418" fmla="*/ 81739 h 706585"/>
              <a:gd name="connsiteX419" fmla="*/ 186247 w 222103"/>
              <a:gd name="connsiteY419" fmla="*/ 58567 h 706585"/>
              <a:gd name="connsiteX420" fmla="*/ 186131 w 222103"/>
              <a:gd name="connsiteY420" fmla="*/ 55186 h 706585"/>
              <a:gd name="connsiteX421" fmla="*/ 186044 w 222103"/>
              <a:gd name="connsiteY421" fmla="*/ 51170 h 706585"/>
              <a:gd name="connsiteX422" fmla="*/ 181682 w 222103"/>
              <a:gd name="connsiteY422" fmla="*/ 23028 h 706585"/>
              <a:gd name="connsiteX423" fmla="*/ 172898 w 222103"/>
              <a:gd name="connsiteY423" fmla="*/ 9968 h 706585"/>
              <a:gd name="connsiteX424" fmla="*/ 172205 w 222103"/>
              <a:gd name="connsiteY424" fmla="*/ 9535 h 706585"/>
              <a:gd name="connsiteX425" fmla="*/ 166224 w 222103"/>
              <a:gd name="connsiteY425" fmla="*/ 6125 h 706585"/>
              <a:gd name="connsiteX426" fmla="*/ 164837 w 222103"/>
              <a:gd name="connsiteY426" fmla="*/ 5779 h 706585"/>
              <a:gd name="connsiteX427" fmla="*/ 162352 w 222103"/>
              <a:gd name="connsiteY427" fmla="*/ 4190 h 706585"/>
              <a:gd name="connsiteX428" fmla="*/ 159318 w 222103"/>
              <a:gd name="connsiteY428" fmla="*/ 2225 h 706585"/>
              <a:gd name="connsiteX429" fmla="*/ 154059 w 222103"/>
              <a:gd name="connsiteY429" fmla="*/ 867 h 706585"/>
              <a:gd name="connsiteX430" fmla="*/ 153308 w 222103"/>
              <a:gd name="connsiteY430" fmla="*/ 722 h 706585"/>
              <a:gd name="connsiteX431" fmla="*/ 151372 w 222103"/>
              <a:gd name="connsiteY431" fmla="*/ 0 h 706585"/>
              <a:gd name="connsiteX432" fmla="*/ 151372 w 222103"/>
              <a:gd name="connsiteY432" fmla="*/ 0 h 706585"/>
              <a:gd name="connsiteX433" fmla="*/ 151604 w 222103"/>
              <a:gd name="connsiteY433" fmla="*/ 5779 h 706585"/>
              <a:gd name="connsiteX434" fmla="*/ 151604 w 222103"/>
              <a:gd name="connsiteY434" fmla="*/ 5779 h 706585"/>
              <a:gd name="connsiteX435" fmla="*/ 151604 w 222103"/>
              <a:gd name="connsiteY435" fmla="*/ 5779 h 706585"/>
              <a:gd name="connsiteX436" fmla="*/ 61052 w 222103"/>
              <a:gd name="connsiteY436" fmla="*/ 264172 h 706585"/>
              <a:gd name="connsiteX437" fmla="*/ 64288 w 222103"/>
              <a:gd name="connsiteY437" fmla="*/ 244351 h 706585"/>
              <a:gd name="connsiteX438" fmla="*/ 64548 w 222103"/>
              <a:gd name="connsiteY438" fmla="*/ 246171 h 706585"/>
              <a:gd name="connsiteX439" fmla="*/ 64346 w 222103"/>
              <a:gd name="connsiteY439" fmla="*/ 248020 h 706585"/>
              <a:gd name="connsiteX440" fmla="*/ 64086 w 222103"/>
              <a:gd name="connsiteY440" fmla="*/ 250649 h 706585"/>
              <a:gd name="connsiteX441" fmla="*/ 64374 w 222103"/>
              <a:gd name="connsiteY441" fmla="*/ 253857 h 706585"/>
              <a:gd name="connsiteX442" fmla="*/ 64663 w 222103"/>
              <a:gd name="connsiteY442" fmla="*/ 256948 h 706585"/>
              <a:gd name="connsiteX443" fmla="*/ 63768 w 222103"/>
              <a:gd name="connsiteY443" fmla="*/ 258422 h 706585"/>
              <a:gd name="connsiteX444" fmla="*/ 62583 w 222103"/>
              <a:gd name="connsiteY444" fmla="*/ 260386 h 706585"/>
              <a:gd name="connsiteX445" fmla="*/ 61052 w 222103"/>
              <a:gd name="connsiteY445" fmla="*/ 264172 h 706585"/>
              <a:gd name="connsiteX446" fmla="*/ 61052 w 222103"/>
              <a:gd name="connsiteY446" fmla="*/ 264172 h 706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</a:cxnLst>
            <a:rect l="l" t="t" r="r" b="b"/>
            <a:pathLst>
              <a:path w="222103" h="706585">
                <a:moveTo>
                  <a:pt x="151604" y="2889"/>
                </a:moveTo>
                <a:cubicBezTo>
                  <a:pt x="151517" y="3438"/>
                  <a:pt x="151661" y="3525"/>
                  <a:pt x="151921" y="3525"/>
                </a:cubicBezTo>
                <a:cubicBezTo>
                  <a:pt x="152066" y="3525"/>
                  <a:pt x="152268" y="3496"/>
                  <a:pt x="152470" y="3496"/>
                </a:cubicBezTo>
                <a:cubicBezTo>
                  <a:pt x="152528" y="3496"/>
                  <a:pt x="152615" y="3496"/>
                  <a:pt x="152673" y="3496"/>
                </a:cubicBezTo>
                <a:cubicBezTo>
                  <a:pt x="154377" y="3843"/>
                  <a:pt x="156891" y="4218"/>
                  <a:pt x="158422" y="4883"/>
                </a:cubicBezTo>
                <a:cubicBezTo>
                  <a:pt x="160329" y="5721"/>
                  <a:pt x="161716" y="7628"/>
                  <a:pt x="164085" y="8495"/>
                </a:cubicBezTo>
                <a:cubicBezTo>
                  <a:pt x="165992" y="9217"/>
                  <a:pt x="169460" y="9130"/>
                  <a:pt x="170182" y="11528"/>
                </a:cubicBezTo>
                <a:lnTo>
                  <a:pt x="169257" y="11528"/>
                </a:lnTo>
                <a:cubicBezTo>
                  <a:pt x="169922" y="12251"/>
                  <a:pt x="170875" y="11846"/>
                  <a:pt x="171338" y="12222"/>
                </a:cubicBezTo>
                <a:cubicBezTo>
                  <a:pt x="173129" y="13695"/>
                  <a:pt x="178272" y="21872"/>
                  <a:pt x="179312" y="24213"/>
                </a:cubicBezTo>
                <a:cubicBezTo>
                  <a:pt x="183646" y="33950"/>
                  <a:pt x="183242" y="44814"/>
                  <a:pt x="183531" y="55273"/>
                </a:cubicBezTo>
                <a:cubicBezTo>
                  <a:pt x="183762" y="63305"/>
                  <a:pt x="184369" y="73331"/>
                  <a:pt x="182751" y="81161"/>
                </a:cubicBezTo>
                <a:cubicBezTo>
                  <a:pt x="181190" y="88616"/>
                  <a:pt x="178272" y="95897"/>
                  <a:pt x="177954" y="103583"/>
                </a:cubicBezTo>
                <a:cubicBezTo>
                  <a:pt x="177839" y="105865"/>
                  <a:pt x="177694" y="108379"/>
                  <a:pt x="178908" y="110430"/>
                </a:cubicBezTo>
                <a:lnTo>
                  <a:pt x="178301" y="111297"/>
                </a:lnTo>
                <a:cubicBezTo>
                  <a:pt x="178503" y="112279"/>
                  <a:pt x="179312" y="112077"/>
                  <a:pt x="180006" y="112713"/>
                </a:cubicBezTo>
                <a:cubicBezTo>
                  <a:pt x="180641" y="113320"/>
                  <a:pt x="180815" y="114273"/>
                  <a:pt x="181277" y="114880"/>
                </a:cubicBezTo>
                <a:cubicBezTo>
                  <a:pt x="184715" y="119329"/>
                  <a:pt x="187778" y="120370"/>
                  <a:pt x="192401" y="122912"/>
                </a:cubicBezTo>
                <a:cubicBezTo>
                  <a:pt x="193759" y="123634"/>
                  <a:pt x="195753" y="125339"/>
                  <a:pt x="196908" y="125830"/>
                </a:cubicBezTo>
                <a:cubicBezTo>
                  <a:pt x="198584" y="126553"/>
                  <a:pt x="199249" y="125975"/>
                  <a:pt x="200665" y="127940"/>
                </a:cubicBezTo>
                <a:cubicBezTo>
                  <a:pt x="202080" y="129933"/>
                  <a:pt x="202023" y="131898"/>
                  <a:pt x="202514" y="134123"/>
                </a:cubicBezTo>
                <a:cubicBezTo>
                  <a:pt x="202687" y="134903"/>
                  <a:pt x="203380" y="135856"/>
                  <a:pt x="203467" y="136550"/>
                </a:cubicBezTo>
                <a:cubicBezTo>
                  <a:pt x="203525" y="137157"/>
                  <a:pt x="202976" y="137763"/>
                  <a:pt x="203149" y="138139"/>
                </a:cubicBezTo>
                <a:cubicBezTo>
                  <a:pt x="203294" y="138515"/>
                  <a:pt x="204421" y="139266"/>
                  <a:pt x="204796" y="139873"/>
                </a:cubicBezTo>
                <a:cubicBezTo>
                  <a:pt x="205056" y="140277"/>
                  <a:pt x="207715" y="144929"/>
                  <a:pt x="206270" y="144929"/>
                </a:cubicBezTo>
                <a:cubicBezTo>
                  <a:pt x="206270" y="144929"/>
                  <a:pt x="206270" y="144929"/>
                  <a:pt x="206241" y="144929"/>
                </a:cubicBezTo>
                <a:cubicBezTo>
                  <a:pt x="205547" y="144091"/>
                  <a:pt x="204912" y="143137"/>
                  <a:pt x="204190" y="142357"/>
                </a:cubicBezTo>
                <a:cubicBezTo>
                  <a:pt x="204045" y="142184"/>
                  <a:pt x="203843" y="141779"/>
                  <a:pt x="203612" y="141779"/>
                </a:cubicBezTo>
                <a:cubicBezTo>
                  <a:pt x="203525" y="141779"/>
                  <a:pt x="203438" y="141837"/>
                  <a:pt x="203323" y="141982"/>
                </a:cubicBezTo>
                <a:cubicBezTo>
                  <a:pt x="204218" y="143426"/>
                  <a:pt x="203987" y="145102"/>
                  <a:pt x="204392" y="146489"/>
                </a:cubicBezTo>
                <a:cubicBezTo>
                  <a:pt x="204825" y="148020"/>
                  <a:pt x="205519" y="149378"/>
                  <a:pt x="205952" y="151112"/>
                </a:cubicBezTo>
                <a:cubicBezTo>
                  <a:pt x="207686" y="158104"/>
                  <a:pt x="206761" y="162640"/>
                  <a:pt x="206154" y="169575"/>
                </a:cubicBezTo>
                <a:cubicBezTo>
                  <a:pt x="205808" y="173273"/>
                  <a:pt x="207772" y="172089"/>
                  <a:pt x="208235" y="173620"/>
                </a:cubicBezTo>
                <a:cubicBezTo>
                  <a:pt x="208610" y="174920"/>
                  <a:pt x="207281" y="175902"/>
                  <a:pt x="207483" y="177116"/>
                </a:cubicBezTo>
                <a:cubicBezTo>
                  <a:pt x="207657" y="178185"/>
                  <a:pt x="209766" y="181306"/>
                  <a:pt x="210373" y="182895"/>
                </a:cubicBezTo>
                <a:cubicBezTo>
                  <a:pt x="211442" y="185668"/>
                  <a:pt x="211933" y="188673"/>
                  <a:pt x="212915" y="191505"/>
                </a:cubicBezTo>
                <a:cubicBezTo>
                  <a:pt x="214504" y="196070"/>
                  <a:pt x="217192" y="201646"/>
                  <a:pt x="218347" y="206183"/>
                </a:cubicBezTo>
                <a:cubicBezTo>
                  <a:pt x="219127" y="209303"/>
                  <a:pt x="218694" y="212164"/>
                  <a:pt x="218810" y="215313"/>
                </a:cubicBezTo>
                <a:cubicBezTo>
                  <a:pt x="218810" y="215833"/>
                  <a:pt x="218550" y="216411"/>
                  <a:pt x="219156" y="216411"/>
                </a:cubicBezTo>
                <a:cubicBezTo>
                  <a:pt x="219243" y="216411"/>
                  <a:pt x="219330" y="216411"/>
                  <a:pt x="219416" y="216411"/>
                </a:cubicBezTo>
                <a:lnTo>
                  <a:pt x="219416" y="224154"/>
                </a:lnTo>
                <a:cubicBezTo>
                  <a:pt x="219416" y="224154"/>
                  <a:pt x="219214" y="224125"/>
                  <a:pt x="219127" y="224125"/>
                </a:cubicBezTo>
                <a:cubicBezTo>
                  <a:pt x="218550" y="224125"/>
                  <a:pt x="218867" y="224703"/>
                  <a:pt x="218752" y="225194"/>
                </a:cubicBezTo>
                <a:cubicBezTo>
                  <a:pt x="216296" y="235740"/>
                  <a:pt x="212915" y="239410"/>
                  <a:pt x="204045" y="245160"/>
                </a:cubicBezTo>
                <a:cubicBezTo>
                  <a:pt x="201791" y="246633"/>
                  <a:pt x="200318" y="247211"/>
                  <a:pt x="198815" y="247211"/>
                </a:cubicBezTo>
                <a:cubicBezTo>
                  <a:pt x="197313" y="247211"/>
                  <a:pt x="195695" y="246575"/>
                  <a:pt x="193239" y="245564"/>
                </a:cubicBezTo>
                <a:cubicBezTo>
                  <a:pt x="190263" y="244351"/>
                  <a:pt x="187287" y="242733"/>
                  <a:pt x="184802" y="240710"/>
                </a:cubicBezTo>
                <a:lnTo>
                  <a:pt x="182635" y="238399"/>
                </a:lnTo>
                <a:cubicBezTo>
                  <a:pt x="182433" y="240479"/>
                  <a:pt x="184137" y="242126"/>
                  <a:pt x="184860" y="243744"/>
                </a:cubicBezTo>
                <a:cubicBezTo>
                  <a:pt x="185756" y="245795"/>
                  <a:pt x="188732" y="252065"/>
                  <a:pt x="189049" y="253770"/>
                </a:cubicBezTo>
                <a:cubicBezTo>
                  <a:pt x="189425" y="255821"/>
                  <a:pt x="188674" y="256601"/>
                  <a:pt x="186651" y="256659"/>
                </a:cubicBezTo>
                <a:cubicBezTo>
                  <a:pt x="186247" y="259462"/>
                  <a:pt x="188529" y="261744"/>
                  <a:pt x="189223" y="264143"/>
                </a:cubicBezTo>
                <a:cubicBezTo>
                  <a:pt x="189627" y="265501"/>
                  <a:pt x="189512" y="267148"/>
                  <a:pt x="189887" y="268419"/>
                </a:cubicBezTo>
                <a:cubicBezTo>
                  <a:pt x="191216" y="273013"/>
                  <a:pt x="195406" y="278531"/>
                  <a:pt x="196764" y="283183"/>
                </a:cubicBezTo>
                <a:cubicBezTo>
                  <a:pt x="197053" y="284195"/>
                  <a:pt x="197342" y="285004"/>
                  <a:pt x="196822" y="286015"/>
                </a:cubicBezTo>
                <a:lnTo>
                  <a:pt x="194077" y="285870"/>
                </a:lnTo>
                <a:cubicBezTo>
                  <a:pt x="200058" y="302831"/>
                  <a:pt x="204796" y="320225"/>
                  <a:pt x="209535" y="337561"/>
                </a:cubicBezTo>
                <a:cubicBezTo>
                  <a:pt x="207628" y="339872"/>
                  <a:pt x="206212" y="341952"/>
                  <a:pt x="203034" y="342501"/>
                </a:cubicBezTo>
                <a:cubicBezTo>
                  <a:pt x="202023" y="343339"/>
                  <a:pt x="202514" y="349262"/>
                  <a:pt x="202427" y="350851"/>
                </a:cubicBezTo>
                <a:cubicBezTo>
                  <a:pt x="202225" y="354087"/>
                  <a:pt x="201878" y="357497"/>
                  <a:pt x="201474" y="360704"/>
                </a:cubicBezTo>
                <a:cubicBezTo>
                  <a:pt x="196157" y="400317"/>
                  <a:pt x="184340" y="438716"/>
                  <a:pt x="181133" y="478647"/>
                </a:cubicBezTo>
                <a:cubicBezTo>
                  <a:pt x="178532" y="510747"/>
                  <a:pt x="178359" y="542992"/>
                  <a:pt x="177752" y="575208"/>
                </a:cubicBezTo>
                <a:cubicBezTo>
                  <a:pt x="177290" y="599421"/>
                  <a:pt x="175932" y="620253"/>
                  <a:pt x="171453" y="644090"/>
                </a:cubicBezTo>
                <a:cubicBezTo>
                  <a:pt x="169749" y="653104"/>
                  <a:pt x="169489" y="662003"/>
                  <a:pt x="168275" y="670989"/>
                </a:cubicBezTo>
                <a:cubicBezTo>
                  <a:pt x="167899" y="673734"/>
                  <a:pt x="164808" y="676941"/>
                  <a:pt x="162352" y="678010"/>
                </a:cubicBezTo>
                <a:cubicBezTo>
                  <a:pt x="161398" y="678415"/>
                  <a:pt x="158422" y="678993"/>
                  <a:pt x="158105" y="679628"/>
                </a:cubicBezTo>
                <a:cubicBezTo>
                  <a:pt x="157931" y="681362"/>
                  <a:pt x="158307" y="682951"/>
                  <a:pt x="158249" y="684743"/>
                </a:cubicBezTo>
                <a:cubicBezTo>
                  <a:pt x="157873" y="695780"/>
                  <a:pt x="153164" y="703725"/>
                  <a:pt x="143138" y="703725"/>
                </a:cubicBezTo>
                <a:cubicBezTo>
                  <a:pt x="141491" y="703725"/>
                  <a:pt x="139728" y="703523"/>
                  <a:pt x="137793" y="703061"/>
                </a:cubicBezTo>
                <a:cubicBezTo>
                  <a:pt x="127882" y="700778"/>
                  <a:pt x="124415" y="693844"/>
                  <a:pt x="123057" y="684396"/>
                </a:cubicBezTo>
                <a:cubicBezTo>
                  <a:pt x="122797" y="682633"/>
                  <a:pt x="122970" y="680206"/>
                  <a:pt x="122652" y="678617"/>
                </a:cubicBezTo>
                <a:cubicBezTo>
                  <a:pt x="122392" y="677288"/>
                  <a:pt x="120977" y="674717"/>
                  <a:pt x="120485" y="673070"/>
                </a:cubicBezTo>
                <a:cubicBezTo>
                  <a:pt x="113522" y="650273"/>
                  <a:pt x="115660" y="630105"/>
                  <a:pt x="118087" y="606759"/>
                </a:cubicBezTo>
                <a:cubicBezTo>
                  <a:pt x="121843" y="570932"/>
                  <a:pt x="128662" y="535971"/>
                  <a:pt x="128922" y="499681"/>
                </a:cubicBezTo>
                <a:cubicBezTo>
                  <a:pt x="128980" y="492486"/>
                  <a:pt x="129269" y="486130"/>
                  <a:pt x="129529" y="478964"/>
                </a:cubicBezTo>
                <a:cubicBezTo>
                  <a:pt x="129789" y="471365"/>
                  <a:pt x="128344" y="464055"/>
                  <a:pt x="128604" y="456370"/>
                </a:cubicBezTo>
                <a:cubicBezTo>
                  <a:pt x="128807" y="450100"/>
                  <a:pt x="129673" y="443772"/>
                  <a:pt x="129876" y="437531"/>
                </a:cubicBezTo>
                <a:cubicBezTo>
                  <a:pt x="130396" y="420311"/>
                  <a:pt x="129356" y="402166"/>
                  <a:pt x="128633" y="384888"/>
                </a:cubicBezTo>
                <a:cubicBezTo>
                  <a:pt x="128402" y="379514"/>
                  <a:pt x="127275" y="374226"/>
                  <a:pt x="128027" y="368852"/>
                </a:cubicBezTo>
                <a:cubicBezTo>
                  <a:pt x="128200" y="367552"/>
                  <a:pt x="129702" y="362987"/>
                  <a:pt x="129500" y="362351"/>
                </a:cubicBezTo>
                <a:cubicBezTo>
                  <a:pt x="129356" y="361860"/>
                  <a:pt x="129182" y="361658"/>
                  <a:pt x="128980" y="361658"/>
                </a:cubicBezTo>
                <a:cubicBezTo>
                  <a:pt x="128287" y="361658"/>
                  <a:pt x="127535" y="364749"/>
                  <a:pt x="127449" y="365183"/>
                </a:cubicBezTo>
                <a:cubicBezTo>
                  <a:pt x="125600" y="374775"/>
                  <a:pt x="125253" y="385263"/>
                  <a:pt x="123577" y="395029"/>
                </a:cubicBezTo>
                <a:cubicBezTo>
                  <a:pt x="121266" y="408494"/>
                  <a:pt x="117394" y="422189"/>
                  <a:pt x="114793" y="435740"/>
                </a:cubicBezTo>
                <a:cubicBezTo>
                  <a:pt x="112597" y="447124"/>
                  <a:pt x="110546" y="459317"/>
                  <a:pt x="110084" y="470932"/>
                </a:cubicBezTo>
                <a:cubicBezTo>
                  <a:pt x="109795" y="477866"/>
                  <a:pt x="111702" y="479542"/>
                  <a:pt x="113146" y="485494"/>
                </a:cubicBezTo>
                <a:cubicBezTo>
                  <a:pt x="114158" y="489655"/>
                  <a:pt x="111817" y="494538"/>
                  <a:pt x="109593" y="497976"/>
                </a:cubicBezTo>
                <a:cubicBezTo>
                  <a:pt x="109044" y="498814"/>
                  <a:pt x="107801" y="499854"/>
                  <a:pt x="107339" y="500663"/>
                </a:cubicBezTo>
                <a:cubicBezTo>
                  <a:pt x="106010" y="503061"/>
                  <a:pt x="106790" y="512134"/>
                  <a:pt x="106674" y="515486"/>
                </a:cubicBezTo>
                <a:cubicBezTo>
                  <a:pt x="106443" y="522275"/>
                  <a:pt x="106010" y="529094"/>
                  <a:pt x="105750" y="535884"/>
                </a:cubicBezTo>
                <a:cubicBezTo>
                  <a:pt x="105056" y="554867"/>
                  <a:pt x="104767" y="571654"/>
                  <a:pt x="99335" y="590117"/>
                </a:cubicBezTo>
                <a:cubicBezTo>
                  <a:pt x="98237" y="593844"/>
                  <a:pt x="95319" y="599681"/>
                  <a:pt x="95579" y="603292"/>
                </a:cubicBezTo>
                <a:cubicBezTo>
                  <a:pt x="95839" y="606904"/>
                  <a:pt x="97053" y="611180"/>
                  <a:pt x="97602" y="614878"/>
                </a:cubicBezTo>
                <a:cubicBezTo>
                  <a:pt x="99624" y="628603"/>
                  <a:pt x="98295" y="642125"/>
                  <a:pt x="99884" y="655907"/>
                </a:cubicBezTo>
                <a:cubicBezTo>
                  <a:pt x="100722" y="663101"/>
                  <a:pt x="103381" y="667031"/>
                  <a:pt x="100202" y="674572"/>
                </a:cubicBezTo>
                <a:cubicBezTo>
                  <a:pt x="99018" y="677404"/>
                  <a:pt x="96186" y="680495"/>
                  <a:pt x="95782" y="683124"/>
                </a:cubicBezTo>
                <a:cubicBezTo>
                  <a:pt x="94568" y="691070"/>
                  <a:pt x="92025" y="699074"/>
                  <a:pt x="83213" y="701183"/>
                </a:cubicBezTo>
                <a:cubicBezTo>
                  <a:pt x="81393" y="701616"/>
                  <a:pt x="79659" y="701818"/>
                  <a:pt x="77983" y="701818"/>
                </a:cubicBezTo>
                <a:cubicBezTo>
                  <a:pt x="68217" y="701818"/>
                  <a:pt x="61138" y="694711"/>
                  <a:pt x="60272" y="684078"/>
                </a:cubicBezTo>
                <a:cubicBezTo>
                  <a:pt x="60156" y="682633"/>
                  <a:pt x="60561" y="680091"/>
                  <a:pt x="60214" y="678877"/>
                </a:cubicBezTo>
                <a:cubicBezTo>
                  <a:pt x="60069" y="678386"/>
                  <a:pt x="58827" y="677346"/>
                  <a:pt x="58422" y="676363"/>
                </a:cubicBezTo>
                <a:cubicBezTo>
                  <a:pt x="57902" y="675063"/>
                  <a:pt x="57729" y="673416"/>
                  <a:pt x="57209" y="672029"/>
                </a:cubicBezTo>
                <a:cubicBezTo>
                  <a:pt x="55186" y="666540"/>
                  <a:pt x="51921" y="662235"/>
                  <a:pt x="53511" y="656283"/>
                </a:cubicBezTo>
                <a:cubicBezTo>
                  <a:pt x="56747" y="644147"/>
                  <a:pt x="60503" y="633746"/>
                  <a:pt x="62121" y="620946"/>
                </a:cubicBezTo>
                <a:cubicBezTo>
                  <a:pt x="63334" y="611382"/>
                  <a:pt x="62467" y="606153"/>
                  <a:pt x="61543" y="596849"/>
                </a:cubicBezTo>
                <a:cubicBezTo>
                  <a:pt x="60994" y="591244"/>
                  <a:pt x="60878" y="584685"/>
                  <a:pt x="59983" y="579253"/>
                </a:cubicBezTo>
                <a:cubicBezTo>
                  <a:pt x="59694" y="577462"/>
                  <a:pt x="58509" y="575584"/>
                  <a:pt x="57989" y="573821"/>
                </a:cubicBezTo>
                <a:cubicBezTo>
                  <a:pt x="50881" y="549984"/>
                  <a:pt x="52990" y="524500"/>
                  <a:pt x="54117" y="500028"/>
                </a:cubicBezTo>
                <a:cubicBezTo>
                  <a:pt x="54348" y="495347"/>
                  <a:pt x="53539" y="492255"/>
                  <a:pt x="53193" y="487950"/>
                </a:cubicBezTo>
                <a:cubicBezTo>
                  <a:pt x="52297" y="476653"/>
                  <a:pt x="53424" y="462437"/>
                  <a:pt x="54724" y="451140"/>
                </a:cubicBezTo>
                <a:cubicBezTo>
                  <a:pt x="55129" y="447731"/>
                  <a:pt x="56949" y="442790"/>
                  <a:pt x="56920" y="439698"/>
                </a:cubicBezTo>
                <a:cubicBezTo>
                  <a:pt x="56920" y="438340"/>
                  <a:pt x="56371" y="436462"/>
                  <a:pt x="56284" y="435047"/>
                </a:cubicBezTo>
                <a:cubicBezTo>
                  <a:pt x="54637" y="411123"/>
                  <a:pt x="51488" y="388615"/>
                  <a:pt x="52557" y="364489"/>
                </a:cubicBezTo>
                <a:cubicBezTo>
                  <a:pt x="52817" y="358508"/>
                  <a:pt x="52817" y="352498"/>
                  <a:pt x="53511" y="346546"/>
                </a:cubicBezTo>
                <a:cubicBezTo>
                  <a:pt x="53193" y="344582"/>
                  <a:pt x="48541" y="346084"/>
                  <a:pt x="48396" y="343455"/>
                </a:cubicBezTo>
                <a:cubicBezTo>
                  <a:pt x="48310" y="341808"/>
                  <a:pt x="48685" y="338716"/>
                  <a:pt x="48859" y="336954"/>
                </a:cubicBezTo>
                <a:cubicBezTo>
                  <a:pt x="49148" y="334093"/>
                  <a:pt x="49639" y="331204"/>
                  <a:pt x="50188" y="328372"/>
                </a:cubicBezTo>
                <a:cubicBezTo>
                  <a:pt x="52702" y="315948"/>
                  <a:pt x="56775" y="303755"/>
                  <a:pt x="59058" y="291302"/>
                </a:cubicBezTo>
                <a:cubicBezTo>
                  <a:pt x="58365" y="291620"/>
                  <a:pt x="57873" y="291736"/>
                  <a:pt x="57498" y="291736"/>
                </a:cubicBezTo>
                <a:cubicBezTo>
                  <a:pt x="55591" y="291736"/>
                  <a:pt x="57642" y="288066"/>
                  <a:pt x="58105" y="286477"/>
                </a:cubicBezTo>
                <a:cubicBezTo>
                  <a:pt x="60445" y="278503"/>
                  <a:pt x="62005" y="269026"/>
                  <a:pt x="65386" y="261600"/>
                </a:cubicBezTo>
                <a:cubicBezTo>
                  <a:pt x="65906" y="260444"/>
                  <a:pt x="67611" y="258480"/>
                  <a:pt x="67697" y="257382"/>
                </a:cubicBezTo>
                <a:cubicBezTo>
                  <a:pt x="67842" y="255764"/>
                  <a:pt x="67177" y="252441"/>
                  <a:pt x="67148" y="250592"/>
                </a:cubicBezTo>
                <a:cubicBezTo>
                  <a:pt x="67148" y="249320"/>
                  <a:pt x="67668" y="247269"/>
                  <a:pt x="67611" y="245998"/>
                </a:cubicBezTo>
                <a:cubicBezTo>
                  <a:pt x="67322" y="241086"/>
                  <a:pt x="64143" y="235480"/>
                  <a:pt x="63710" y="230164"/>
                </a:cubicBezTo>
                <a:cubicBezTo>
                  <a:pt x="63537" y="228286"/>
                  <a:pt x="64519" y="224443"/>
                  <a:pt x="62467" y="223836"/>
                </a:cubicBezTo>
                <a:cubicBezTo>
                  <a:pt x="62381" y="226552"/>
                  <a:pt x="62583" y="229326"/>
                  <a:pt x="62467" y="232042"/>
                </a:cubicBezTo>
                <a:cubicBezTo>
                  <a:pt x="61947" y="246807"/>
                  <a:pt x="59752" y="256659"/>
                  <a:pt x="56978" y="270788"/>
                </a:cubicBezTo>
                <a:cubicBezTo>
                  <a:pt x="51979" y="296243"/>
                  <a:pt x="48512" y="322709"/>
                  <a:pt x="44582" y="348424"/>
                </a:cubicBezTo>
                <a:cubicBezTo>
                  <a:pt x="43542" y="355185"/>
                  <a:pt x="43080" y="362813"/>
                  <a:pt x="41751" y="369401"/>
                </a:cubicBezTo>
                <a:cubicBezTo>
                  <a:pt x="41635" y="369892"/>
                  <a:pt x="41549" y="370037"/>
                  <a:pt x="41115" y="370326"/>
                </a:cubicBezTo>
                <a:cubicBezTo>
                  <a:pt x="40884" y="370499"/>
                  <a:pt x="36897" y="372030"/>
                  <a:pt x="36637" y="372030"/>
                </a:cubicBezTo>
                <a:lnTo>
                  <a:pt x="31523" y="372030"/>
                </a:lnTo>
                <a:cubicBezTo>
                  <a:pt x="31436" y="373648"/>
                  <a:pt x="31812" y="375208"/>
                  <a:pt x="31841" y="376798"/>
                </a:cubicBezTo>
                <a:cubicBezTo>
                  <a:pt x="31841" y="377953"/>
                  <a:pt x="31378" y="379022"/>
                  <a:pt x="31552" y="380496"/>
                </a:cubicBezTo>
                <a:cubicBezTo>
                  <a:pt x="31754" y="382056"/>
                  <a:pt x="32852" y="383790"/>
                  <a:pt x="33227" y="385321"/>
                </a:cubicBezTo>
                <a:cubicBezTo>
                  <a:pt x="33661" y="387026"/>
                  <a:pt x="33545" y="389684"/>
                  <a:pt x="34036" y="391013"/>
                </a:cubicBezTo>
                <a:cubicBezTo>
                  <a:pt x="34239" y="391562"/>
                  <a:pt x="34845" y="391418"/>
                  <a:pt x="35192" y="391707"/>
                </a:cubicBezTo>
                <a:cubicBezTo>
                  <a:pt x="35799" y="392198"/>
                  <a:pt x="35828" y="392862"/>
                  <a:pt x="36695" y="392862"/>
                </a:cubicBezTo>
                <a:cubicBezTo>
                  <a:pt x="36868" y="392862"/>
                  <a:pt x="37099" y="392862"/>
                  <a:pt x="37359" y="392776"/>
                </a:cubicBezTo>
                <a:cubicBezTo>
                  <a:pt x="38659" y="394018"/>
                  <a:pt x="31465" y="400548"/>
                  <a:pt x="30483" y="401501"/>
                </a:cubicBezTo>
                <a:cubicBezTo>
                  <a:pt x="28460" y="401935"/>
                  <a:pt x="26437" y="402368"/>
                  <a:pt x="24415" y="402368"/>
                </a:cubicBezTo>
                <a:cubicBezTo>
                  <a:pt x="23433" y="402368"/>
                  <a:pt x="22450" y="402282"/>
                  <a:pt x="21468" y="402021"/>
                </a:cubicBezTo>
                <a:lnTo>
                  <a:pt x="20717" y="402513"/>
                </a:lnTo>
                <a:cubicBezTo>
                  <a:pt x="21150" y="405749"/>
                  <a:pt x="24530" y="406702"/>
                  <a:pt x="25888" y="409100"/>
                </a:cubicBezTo>
                <a:cubicBezTo>
                  <a:pt x="27131" y="411296"/>
                  <a:pt x="27073" y="413665"/>
                  <a:pt x="25484" y="413665"/>
                </a:cubicBezTo>
                <a:cubicBezTo>
                  <a:pt x="24906" y="413665"/>
                  <a:pt x="24126" y="413348"/>
                  <a:pt x="23115" y="412596"/>
                </a:cubicBezTo>
                <a:cubicBezTo>
                  <a:pt x="21063" y="411065"/>
                  <a:pt x="12366" y="402657"/>
                  <a:pt x="11471" y="400635"/>
                </a:cubicBezTo>
                <a:cubicBezTo>
                  <a:pt x="10546" y="398525"/>
                  <a:pt x="10228" y="394278"/>
                  <a:pt x="9535" y="392689"/>
                </a:cubicBezTo>
                <a:cubicBezTo>
                  <a:pt x="9333" y="392227"/>
                  <a:pt x="8812" y="392256"/>
                  <a:pt x="8726" y="392111"/>
                </a:cubicBezTo>
                <a:cubicBezTo>
                  <a:pt x="8610" y="391938"/>
                  <a:pt x="9217" y="390955"/>
                  <a:pt x="7743" y="390464"/>
                </a:cubicBezTo>
                <a:cubicBezTo>
                  <a:pt x="10373" y="388239"/>
                  <a:pt x="5490" y="384946"/>
                  <a:pt x="5259" y="382692"/>
                </a:cubicBezTo>
                <a:cubicBezTo>
                  <a:pt x="5085" y="380785"/>
                  <a:pt x="6674" y="377838"/>
                  <a:pt x="6790" y="375873"/>
                </a:cubicBezTo>
                <a:cubicBezTo>
                  <a:pt x="6848" y="374891"/>
                  <a:pt x="6385" y="374111"/>
                  <a:pt x="6559" y="373215"/>
                </a:cubicBezTo>
                <a:cubicBezTo>
                  <a:pt x="6732" y="372377"/>
                  <a:pt x="8235" y="370037"/>
                  <a:pt x="8003" y="369141"/>
                </a:cubicBezTo>
                <a:lnTo>
                  <a:pt x="3092" y="366483"/>
                </a:lnTo>
                <a:lnTo>
                  <a:pt x="3092" y="365240"/>
                </a:lnTo>
                <a:cubicBezTo>
                  <a:pt x="3092" y="365240"/>
                  <a:pt x="3294" y="365269"/>
                  <a:pt x="3381" y="365269"/>
                </a:cubicBezTo>
                <a:cubicBezTo>
                  <a:pt x="3987" y="365269"/>
                  <a:pt x="3641" y="364691"/>
                  <a:pt x="3727" y="364171"/>
                </a:cubicBezTo>
                <a:cubicBezTo>
                  <a:pt x="6963" y="345419"/>
                  <a:pt x="9333" y="326205"/>
                  <a:pt x="10864" y="307251"/>
                </a:cubicBezTo>
                <a:cubicBezTo>
                  <a:pt x="15545" y="290118"/>
                  <a:pt x="14562" y="269257"/>
                  <a:pt x="21583" y="253019"/>
                </a:cubicBezTo>
                <a:cubicBezTo>
                  <a:pt x="22335" y="251256"/>
                  <a:pt x="24791" y="247442"/>
                  <a:pt x="25022" y="245940"/>
                </a:cubicBezTo>
                <a:cubicBezTo>
                  <a:pt x="25195" y="244755"/>
                  <a:pt x="24733" y="243917"/>
                  <a:pt x="24704" y="242877"/>
                </a:cubicBezTo>
                <a:cubicBezTo>
                  <a:pt x="24588" y="236867"/>
                  <a:pt x="24935" y="230309"/>
                  <a:pt x="25686" y="224328"/>
                </a:cubicBezTo>
                <a:cubicBezTo>
                  <a:pt x="26235" y="219820"/>
                  <a:pt x="28316" y="213464"/>
                  <a:pt x="28431" y="209419"/>
                </a:cubicBezTo>
                <a:cubicBezTo>
                  <a:pt x="28576" y="205200"/>
                  <a:pt x="27882" y="202051"/>
                  <a:pt x="28460" y="197399"/>
                </a:cubicBezTo>
                <a:cubicBezTo>
                  <a:pt x="29385" y="190089"/>
                  <a:pt x="30858" y="182779"/>
                  <a:pt x="31841" y="175411"/>
                </a:cubicBezTo>
                <a:cubicBezTo>
                  <a:pt x="32910" y="167668"/>
                  <a:pt x="36261" y="160011"/>
                  <a:pt x="37330" y="152759"/>
                </a:cubicBezTo>
                <a:cubicBezTo>
                  <a:pt x="38110" y="147414"/>
                  <a:pt x="37735" y="142097"/>
                  <a:pt x="38746" y="136550"/>
                </a:cubicBezTo>
                <a:cubicBezTo>
                  <a:pt x="38977" y="135336"/>
                  <a:pt x="39671" y="134065"/>
                  <a:pt x="39815" y="132967"/>
                </a:cubicBezTo>
                <a:cubicBezTo>
                  <a:pt x="40104" y="130800"/>
                  <a:pt x="39208" y="125657"/>
                  <a:pt x="41924" y="124559"/>
                </a:cubicBezTo>
                <a:cubicBezTo>
                  <a:pt x="44294" y="123606"/>
                  <a:pt x="47414" y="123143"/>
                  <a:pt x="49899" y="122305"/>
                </a:cubicBezTo>
                <a:cubicBezTo>
                  <a:pt x="59087" y="119214"/>
                  <a:pt x="68044" y="115573"/>
                  <a:pt x="77290" y="112597"/>
                </a:cubicBezTo>
                <a:cubicBezTo>
                  <a:pt x="80584" y="111528"/>
                  <a:pt x="81161" y="112193"/>
                  <a:pt x="83415" y="108841"/>
                </a:cubicBezTo>
                <a:cubicBezTo>
                  <a:pt x="85178" y="106241"/>
                  <a:pt x="84455" y="104565"/>
                  <a:pt x="84715" y="101820"/>
                </a:cubicBezTo>
                <a:cubicBezTo>
                  <a:pt x="84889" y="99913"/>
                  <a:pt x="86709" y="94423"/>
                  <a:pt x="87923" y="92921"/>
                </a:cubicBezTo>
                <a:cubicBezTo>
                  <a:pt x="89049" y="91534"/>
                  <a:pt x="91043" y="89916"/>
                  <a:pt x="92054" y="88327"/>
                </a:cubicBezTo>
                <a:cubicBezTo>
                  <a:pt x="93615" y="85929"/>
                  <a:pt x="97053" y="74660"/>
                  <a:pt x="97313" y="71684"/>
                </a:cubicBezTo>
                <a:cubicBezTo>
                  <a:pt x="98064" y="63132"/>
                  <a:pt x="96128" y="55966"/>
                  <a:pt x="99335" y="47414"/>
                </a:cubicBezTo>
                <a:cubicBezTo>
                  <a:pt x="105519" y="30829"/>
                  <a:pt x="123086" y="5663"/>
                  <a:pt x="141982" y="3467"/>
                </a:cubicBezTo>
                <a:cubicBezTo>
                  <a:pt x="142040" y="3467"/>
                  <a:pt x="142069" y="3467"/>
                  <a:pt x="142127" y="3467"/>
                </a:cubicBezTo>
                <a:cubicBezTo>
                  <a:pt x="142358" y="3467"/>
                  <a:pt x="142560" y="3525"/>
                  <a:pt x="142733" y="3525"/>
                </a:cubicBezTo>
                <a:cubicBezTo>
                  <a:pt x="142993" y="3525"/>
                  <a:pt x="143167" y="3409"/>
                  <a:pt x="143051" y="2860"/>
                </a:cubicBezTo>
                <a:lnTo>
                  <a:pt x="151719" y="2860"/>
                </a:lnTo>
                <a:moveTo>
                  <a:pt x="151604" y="0"/>
                </a:moveTo>
                <a:lnTo>
                  <a:pt x="142936" y="0"/>
                </a:lnTo>
                <a:cubicBezTo>
                  <a:pt x="142242" y="0"/>
                  <a:pt x="141578" y="260"/>
                  <a:pt x="141057" y="693"/>
                </a:cubicBezTo>
                <a:cubicBezTo>
                  <a:pt x="121121" y="3381"/>
                  <a:pt x="103034" y="28980"/>
                  <a:pt x="96504" y="46432"/>
                </a:cubicBezTo>
                <a:cubicBezTo>
                  <a:pt x="94221" y="52557"/>
                  <a:pt x="94337" y="58018"/>
                  <a:pt x="94452" y="63305"/>
                </a:cubicBezTo>
                <a:cubicBezTo>
                  <a:pt x="94510" y="65935"/>
                  <a:pt x="94568" y="68679"/>
                  <a:pt x="94308" y="71482"/>
                </a:cubicBezTo>
                <a:cubicBezTo>
                  <a:pt x="94077" y="74198"/>
                  <a:pt x="90696" y="84946"/>
                  <a:pt x="89512" y="86824"/>
                </a:cubicBezTo>
                <a:cubicBezTo>
                  <a:pt x="89078" y="87489"/>
                  <a:pt x="88269" y="88327"/>
                  <a:pt x="87460" y="89107"/>
                </a:cubicBezTo>
                <a:cubicBezTo>
                  <a:pt x="86796" y="89772"/>
                  <a:pt x="86102" y="90465"/>
                  <a:pt x="85553" y="91158"/>
                </a:cubicBezTo>
                <a:cubicBezTo>
                  <a:pt x="83849" y="93296"/>
                  <a:pt x="81942" y="99451"/>
                  <a:pt x="81739" y="101560"/>
                </a:cubicBezTo>
                <a:cubicBezTo>
                  <a:pt x="81653" y="102513"/>
                  <a:pt x="81653" y="103294"/>
                  <a:pt x="81653" y="104016"/>
                </a:cubicBezTo>
                <a:cubicBezTo>
                  <a:pt x="81653" y="105461"/>
                  <a:pt x="81653" y="106125"/>
                  <a:pt x="80901" y="107252"/>
                </a:cubicBezTo>
                <a:cubicBezTo>
                  <a:pt x="79746" y="108957"/>
                  <a:pt x="79688" y="108957"/>
                  <a:pt x="78301" y="109332"/>
                </a:cubicBezTo>
                <a:cubicBezTo>
                  <a:pt x="77752" y="109477"/>
                  <a:pt x="77088" y="109650"/>
                  <a:pt x="76307" y="109881"/>
                </a:cubicBezTo>
                <a:cubicBezTo>
                  <a:pt x="71164" y="111528"/>
                  <a:pt x="66050" y="113406"/>
                  <a:pt x="61081" y="115227"/>
                </a:cubicBezTo>
                <a:cubicBezTo>
                  <a:pt x="57093" y="116700"/>
                  <a:pt x="52962" y="118203"/>
                  <a:pt x="48859" y="119589"/>
                </a:cubicBezTo>
                <a:cubicBezTo>
                  <a:pt x="47876" y="119907"/>
                  <a:pt x="46749" y="120196"/>
                  <a:pt x="45565" y="120485"/>
                </a:cubicBezTo>
                <a:cubicBezTo>
                  <a:pt x="43947" y="120890"/>
                  <a:pt x="42271" y="121294"/>
                  <a:pt x="40740" y="121901"/>
                </a:cubicBezTo>
                <a:cubicBezTo>
                  <a:pt x="36868" y="123432"/>
                  <a:pt x="36868" y="128142"/>
                  <a:pt x="36868" y="130944"/>
                </a:cubicBezTo>
                <a:cubicBezTo>
                  <a:pt x="36868" y="131580"/>
                  <a:pt x="36868" y="132245"/>
                  <a:pt x="36810" y="132591"/>
                </a:cubicBezTo>
                <a:cubicBezTo>
                  <a:pt x="36781" y="132851"/>
                  <a:pt x="36579" y="133372"/>
                  <a:pt x="36435" y="133805"/>
                </a:cubicBezTo>
                <a:cubicBezTo>
                  <a:pt x="36203" y="134469"/>
                  <a:pt x="35943" y="135192"/>
                  <a:pt x="35770" y="136030"/>
                </a:cubicBezTo>
                <a:cubicBezTo>
                  <a:pt x="35163" y="139266"/>
                  <a:pt x="35019" y="142357"/>
                  <a:pt x="34874" y="145333"/>
                </a:cubicBezTo>
                <a:cubicBezTo>
                  <a:pt x="34759" y="147760"/>
                  <a:pt x="34643" y="150043"/>
                  <a:pt x="34325" y="152326"/>
                </a:cubicBezTo>
                <a:cubicBezTo>
                  <a:pt x="33834" y="155648"/>
                  <a:pt x="32823" y="159058"/>
                  <a:pt x="31783" y="162698"/>
                </a:cubicBezTo>
                <a:cubicBezTo>
                  <a:pt x="30627" y="166685"/>
                  <a:pt x="29413" y="170788"/>
                  <a:pt x="28836" y="175007"/>
                </a:cubicBezTo>
                <a:cubicBezTo>
                  <a:pt x="28373" y="178387"/>
                  <a:pt x="27795" y="181854"/>
                  <a:pt x="27246" y="185206"/>
                </a:cubicBezTo>
                <a:cubicBezTo>
                  <a:pt x="26611" y="189078"/>
                  <a:pt x="25946" y="193065"/>
                  <a:pt x="25426" y="197023"/>
                </a:cubicBezTo>
                <a:cubicBezTo>
                  <a:pt x="25022" y="200086"/>
                  <a:pt x="25166" y="202542"/>
                  <a:pt x="25282" y="204911"/>
                </a:cubicBezTo>
                <a:cubicBezTo>
                  <a:pt x="25368" y="206385"/>
                  <a:pt x="25426" y="207772"/>
                  <a:pt x="25368" y="209303"/>
                </a:cubicBezTo>
                <a:cubicBezTo>
                  <a:pt x="25311" y="211297"/>
                  <a:pt x="24646" y="214244"/>
                  <a:pt x="23982" y="217047"/>
                </a:cubicBezTo>
                <a:cubicBezTo>
                  <a:pt x="23433" y="219387"/>
                  <a:pt x="22884" y="221843"/>
                  <a:pt x="22624" y="223952"/>
                </a:cubicBezTo>
                <a:cubicBezTo>
                  <a:pt x="21872" y="230135"/>
                  <a:pt x="21497" y="236867"/>
                  <a:pt x="21612" y="242906"/>
                </a:cubicBezTo>
                <a:cubicBezTo>
                  <a:pt x="21612" y="243599"/>
                  <a:pt x="21757" y="244177"/>
                  <a:pt x="21843" y="244640"/>
                </a:cubicBezTo>
                <a:cubicBezTo>
                  <a:pt x="21930" y="245073"/>
                  <a:pt x="21988" y="245304"/>
                  <a:pt x="21959" y="245478"/>
                </a:cubicBezTo>
                <a:cubicBezTo>
                  <a:pt x="21815" y="246055"/>
                  <a:pt x="20745" y="247991"/>
                  <a:pt x="20168" y="249031"/>
                </a:cubicBezTo>
                <a:cubicBezTo>
                  <a:pt x="19590" y="250072"/>
                  <a:pt x="19041" y="251054"/>
                  <a:pt x="18723" y="251834"/>
                </a:cubicBezTo>
                <a:cubicBezTo>
                  <a:pt x="14476" y="261687"/>
                  <a:pt x="13031" y="273100"/>
                  <a:pt x="11673" y="284137"/>
                </a:cubicBezTo>
                <a:cubicBezTo>
                  <a:pt x="10691" y="292054"/>
                  <a:pt x="9766" y="299537"/>
                  <a:pt x="7859" y="306442"/>
                </a:cubicBezTo>
                <a:cubicBezTo>
                  <a:pt x="7801" y="306616"/>
                  <a:pt x="7772" y="306789"/>
                  <a:pt x="7772" y="306962"/>
                </a:cubicBezTo>
                <a:cubicBezTo>
                  <a:pt x="6241" y="326032"/>
                  <a:pt x="3872" y="344986"/>
                  <a:pt x="722" y="363247"/>
                </a:cubicBezTo>
                <a:cubicBezTo>
                  <a:pt x="260" y="363767"/>
                  <a:pt x="0" y="364460"/>
                  <a:pt x="0" y="365154"/>
                </a:cubicBezTo>
                <a:lnTo>
                  <a:pt x="0" y="366396"/>
                </a:lnTo>
                <a:cubicBezTo>
                  <a:pt x="0" y="367465"/>
                  <a:pt x="578" y="368447"/>
                  <a:pt x="1502" y="368939"/>
                </a:cubicBezTo>
                <a:lnTo>
                  <a:pt x="4305" y="370470"/>
                </a:lnTo>
                <a:cubicBezTo>
                  <a:pt x="3929" y="371250"/>
                  <a:pt x="3612" y="371915"/>
                  <a:pt x="3496" y="372608"/>
                </a:cubicBezTo>
                <a:cubicBezTo>
                  <a:pt x="3294" y="373648"/>
                  <a:pt x="3496" y="374486"/>
                  <a:pt x="3583" y="375122"/>
                </a:cubicBezTo>
                <a:cubicBezTo>
                  <a:pt x="3612" y="375324"/>
                  <a:pt x="3669" y="375584"/>
                  <a:pt x="3669" y="375671"/>
                </a:cubicBezTo>
                <a:cubicBezTo>
                  <a:pt x="3669" y="376191"/>
                  <a:pt x="3323" y="377173"/>
                  <a:pt x="3063" y="378011"/>
                </a:cubicBezTo>
                <a:cubicBezTo>
                  <a:pt x="2543" y="379600"/>
                  <a:pt x="2023" y="381247"/>
                  <a:pt x="2167" y="382894"/>
                </a:cubicBezTo>
                <a:cubicBezTo>
                  <a:pt x="2311" y="384512"/>
                  <a:pt x="3294" y="385841"/>
                  <a:pt x="4247" y="387141"/>
                </a:cubicBezTo>
                <a:cubicBezTo>
                  <a:pt x="4565" y="387546"/>
                  <a:pt x="5027" y="388182"/>
                  <a:pt x="5259" y="388644"/>
                </a:cubicBezTo>
                <a:cubicBezTo>
                  <a:pt x="4767" y="389308"/>
                  <a:pt x="4565" y="390146"/>
                  <a:pt x="4739" y="390955"/>
                </a:cubicBezTo>
                <a:cubicBezTo>
                  <a:pt x="4883" y="391591"/>
                  <a:pt x="5201" y="392169"/>
                  <a:pt x="5634" y="392573"/>
                </a:cubicBezTo>
                <a:cubicBezTo>
                  <a:pt x="5692" y="392891"/>
                  <a:pt x="5808" y="393238"/>
                  <a:pt x="6039" y="393585"/>
                </a:cubicBezTo>
                <a:cubicBezTo>
                  <a:pt x="6270" y="393960"/>
                  <a:pt x="6559" y="394220"/>
                  <a:pt x="6848" y="394423"/>
                </a:cubicBezTo>
                <a:cubicBezTo>
                  <a:pt x="6992" y="395029"/>
                  <a:pt x="7137" y="395896"/>
                  <a:pt x="7281" y="396590"/>
                </a:cubicBezTo>
                <a:cubicBezTo>
                  <a:pt x="7599" y="398410"/>
                  <a:pt x="7946" y="400288"/>
                  <a:pt x="8610" y="401733"/>
                </a:cubicBezTo>
                <a:cubicBezTo>
                  <a:pt x="9882" y="404622"/>
                  <a:pt x="19301" y="413434"/>
                  <a:pt x="21150" y="414850"/>
                </a:cubicBezTo>
                <a:cubicBezTo>
                  <a:pt x="22624" y="415977"/>
                  <a:pt x="23953" y="416497"/>
                  <a:pt x="25253" y="416497"/>
                </a:cubicBezTo>
                <a:cubicBezTo>
                  <a:pt x="26726" y="416497"/>
                  <a:pt x="28027" y="415746"/>
                  <a:pt x="28778" y="414503"/>
                </a:cubicBezTo>
                <a:cubicBezTo>
                  <a:pt x="29818" y="412741"/>
                  <a:pt x="29587" y="410112"/>
                  <a:pt x="28200" y="407627"/>
                </a:cubicBezTo>
                <a:cubicBezTo>
                  <a:pt x="27622" y="406587"/>
                  <a:pt x="26871" y="405806"/>
                  <a:pt x="26091" y="405142"/>
                </a:cubicBezTo>
                <a:cubicBezTo>
                  <a:pt x="27738" y="404969"/>
                  <a:pt x="29327" y="404651"/>
                  <a:pt x="30858" y="404304"/>
                </a:cubicBezTo>
                <a:cubicBezTo>
                  <a:pt x="31378" y="404188"/>
                  <a:pt x="31927" y="403928"/>
                  <a:pt x="32303" y="403553"/>
                </a:cubicBezTo>
                <a:lnTo>
                  <a:pt x="32650" y="403235"/>
                </a:lnTo>
                <a:cubicBezTo>
                  <a:pt x="39006" y="397254"/>
                  <a:pt x="40220" y="395000"/>
                  <a:pt x="40248" y="393151"/>
                </a:cubicBezTo>
                <a:cubicBezTo>
                  <a:pt x="40248" y="392169"/>
                  <a:pt x="39873" y="391302"/>
                  <a:pt x="39179" y="390638"/>
                </a:cubicBezTo>
                <a:cubicBezTo>
                  <a:pt x="38659" y="390146"/>
                  <a:pt x="37966" y="389857"/>
                  <a:pt x="37244" y="389857"/>
                </a:cubicBezTo>
                <a:cubicBezTo>
                  <a:pt x="37128" y="389742"/>
                  <a:pt x="36984" y="389597"/>
                  <a:pt x="36839" y="389482"/>
                </a:cubicBezTo>
                <a:cubicBezTo>
                  <a:pt x="36695" y="389366"/>
                  <a:pt x="36550" y="389251"/>
                  <a:pt x="36406" y="389164"/>
                </a:cubicBezTo>
                <a:cubicBezTo>
                  <a:pt x="36348" y="388731"/>
                  <a:pt x="36319" y="388239"/>
                  <a:pt x="36290" y="387864"/>
                </a:cubicBezTo>
                <a:cubicBezTo>
                  <a:pt x="36203" y="386766"/>
                  <a:pt x="36088" y="385639"/>
                  <a:pt x="35828" y="384628"/>
                </a:cubicBezTo>
                <a:cubicBezTo>
                  <a:pt x="35597" y="383761"/>
                  <a:pt x="35250" y="382952"/>
                  <a:pt x="34932" y="382172"/>
                </a:cubicBezTo>
                <a:cubicBezTo>
                  <a:pt x="34614" y="381421"/>
                  <a:pt x="34296" y="380669"/>
                  <a:pt x="34210" y="380149"/>
                </a:cubicBezTo>
                <a:cubicBezTo>
                  <a:pt x="34152" y="379716"/>
                  <a:pt x="34210" y="379282"/>
                  <a:pt x="34325" y="378705"/>
                </a:cubicBezTo>
                <a:cubicBezTo>
                  <a:pt x="34412" y="378156"/>
                  <a:pt x="34528" y="377491"/>
                  <a:pt x="34528" y="376769"/>
                </a:cubicBezTo>
                <a:cubicBezTo>
                  <a:pt x="34528" y="376133"/>
                  <a:pt x="34470" y="375526"/>
                  <a:pt x="34412" y="374920"/>
                </a:cubicBezTo>
                <a:lnTo>
                  <a:pt x="36435" y="374920"/>
                </a:lnTo>
                <a:cubicBezTo>
                  <a:pt x="37590" y="374920"/>
                  <a:pt x="42155" y="372955"/>
                  <a:pt x="42531" y="372695"/>
                </a:cubicBezTo>
                <a:cubicBezTo>
                  <a:pt x="43571" y="371972"/>
                  <a:pt x="44091" y="371192"/>
                  <a:pt x="44351" y="369950"/>
                </a:cubicBezTo>
                <a:cubicBezTo>
                  <a:pt x="45189" y="365876"/>
                  <a:pt x="45680" y="361455"/>
                  <a:pt x="46172" y="357150"/>
                </a:cubicBezTo>
                <a:cubicBezTo>
                  <a:pt x="46489" y="354376"/>
                  <a:pt x="46807" y="351487"/>
                  <a:pt x="47212" y="348829"/>
                </a:cubicBezTo>
                <a:cubicBezTo>
                  <a:pt x="47298" y="348280"/>
                  <a:pt x="47385" y="347702"/>
                  <a:pt x="47472" y="347153"/>
                </a:cubicBezTo>
                <a:cubicBezTo>
                  <a:pt x="48425" y="347702"/>
                  <a:pt x="49523" y="347933"/>
                  <a:pt x="50217" y="348049"/>
                </a:cubicBezTo>
                <a:cubicBezTo>
                  <a:pt x="49870" y="351776"/>
                  <a:pt x="49754" y="355532"/>
                  <a:pt x="49639" y="359144"/>
                </a:cubicBezTo>
                <a:cubicBezTo>
                  <a:pt x="49581" y="360849"/>
                  <a:pt x="49523" y="362582"/>
                  <a:pt x="49465" y="364287"/>
                </a:cubicBezTo>
                <a:cubicBezTo>
                  <a:pt x="48656" y="381998"/>
                  <a:pt x="50101" y="398468"/>
                  <a:pt x="51632" y="415861"/>
                </a:cubicBezTo>
                <a:cubicBezTo>
                  <a:pt x="52181" y="422160"/>
                  <a:pt x="52759" y="428632"/>
                  <a:pt x="53193" y="435162"/>
                </a:cubicBezTo>
                <a:cubicBezTo>
                  <a:pt x="53250" y="435942"/>
                  <a:pt x="53395" y="436780"/>
                  <a:pt x="53539" y="437589"/>
                </a:cubicBezTo>
                <a:cubicBezTo>
                  <a:pt x="53684" y="438340"/>
                  <a:pt x="53828" y="439149"/>
                  <a:pt x="53828" y="439641"/>
                </a:cubicBezTo>
                <a:cubicBezTo>
                  <a:pt x="53828" y="441056"/>
                  <a:pt x="53279" y="443281"/>
                  <a:pt x="52759" y="445419"/>
                </a:cubicBezTo>
                <a:cubicBezTo>
                  <a:pt x="52326" y="447211"/>
                  <a:pt x="51864" y="449089"/>
                  <a:pt x="51661" y="450736"/>
                </a:cubicBezTo>
                <a:cubicBezTo>
                  <a:pt x="49870" y="466049"/>
                  <a:pt x="49350" y="478618"/>
                  <a:pt x="50101" y="488124"/>
                </a:cubicBezTo>
                <a:cubicBezTo>
                  <a:pt x="50217" y="489597"/>
                  <a:pt x="50390" y="490955"/>
                  <a:pt x="50563" y="492255"/>
                </a:cubicBezTo>
                <a:cubicBezTo>
                  <a:pt x="50881" y="494769"/>
                  <a:pt x="51170" y="496965"/>
                  <a:pt x="51026" y="499825"/>
                </a:cubicBezTo>
                <a:cubicBezTo>
                  <a:pt x="50910" y="501992"/>
                  <a:pt x="50823" y="504188"/>
                  <a:pt x="50708" y="506384"/>
                </a:cubicBezTo>
                <a:cubicBezTo>
                  <a:pt x="49581" y="529008"/>
                  <a:pt x="48396" y="552411"/>
                  <a:pt x="55013" y="574601"/>
                </a:cubicBezTo>
                <a:cubicBezTo>
                  <a:pt x="55273" y="575497"/>
                  <a:pt x="55649" y="576364"/>
                  <a:pt x="56024" y="577173"/>
                </a:cubicBezTo>
                <a:cubicBezTo>
                  <a:pt x="56429" y="578097"/>
                  <a:pt x="56804" y="578993"/>
                  <a:pt x="56920" y="579686"/>
                </a:cubicBezTo>
                <a:cubicBezTo>
                  <a:pt x="57469" y="582951"/>
                  <a:pt x="57729" y="586765"/>
                  <a:pt x="57960" y="590464"/>
                </a:cubicBezTo>
                <a:cubicBezTo>
                  <a:pt x="58105" y="592688"/>
                  <a:pt x="58249" y="594971"/>
                  <a:pt x="58480" y="597109"/>
                </a:cubicBezTo>
                <a:lnTo>
                  <a:pt x="58798" y="600316"/>
                </a:lnTo>
                <a:cubicBezTo>
                  <a:pt x="59549" y="607626"/>
                  <a:pt x="60069" y="612480"/>
                  <a:pt x="59058" y="620570"/>
                </a:cubicBezTo>
                <a:cubicBezTo>
                  <a:pt x="57902" y="629816"/>
                  <a:pt x="55591" y="637849"/>
                  <a:pt x="53135" y="646314"/>
                </a:cubicBezTo>
                <a:cubicBezTo>
                  <a:pt x="52268" y="649319"/>
                  <a:pt x="51401" y="652353"/>
                  <a:pt x="50535" y="655502"/>
                </a:cubicBezTo>
                <a:cubicBezTo>
                  <a:pt x="49061" y="661021"/>
                  <a:pt x="50968" y="665326"/>
                  <a:pt x="52817" y="669458"/>
                </a:cubicBezTo>
                <a:cubicBezTo>
                  <a:pt x="53337" y="670614"/>
                  <a:pt x="53857" y="671798"/>
                  <a:pt x="54320" y="673012"/>
                </a:cubicBezTo>
                <a:cubicBezTo>
                  <a:pt x="54493" y="673503"/>
                  <a:pt x="54637" y="674139"/>
                  <a:pt x="54811" y="674803"/>
                </a:cubicBezTo>
                <a:cubicBezTo>
                  <a:pt x="55013" y="675670"/>
                  <a:pt x="55215" y="676566"/>
                  <a:pt x="55591" y="677461"/>
                </a:cubicBezTo>
                <a:cubicBezTo>
                  <a:pt x="55995" y="678444"/>
                  <a:pt x="56689" y="679253"/>
                  <a:pt x="57209" y="679860"/>
                </a:cubicBezTo>
                <a:cubicBezTo>
                  <a:pt x="57238" y="679917"/>
                  <a:pt x="57296" y="679946"/>
                  <a:pt x="57324" y="680004"/>
                </a:cubicBezTo>
                <a:cubicBezTo>
                  <a:pt x="57324" y="680466"/>
                  <a:pt x="57324" y="681304"/>
                  <a:pt x="57267" y="681824"/>
                </a:cubicBezTo>
                <a:cubicBezTo>
                  <a:pt x="57238" y="682662"/>
                  <a:pt x="57180" y="683558"/>
                  <a:pt x="57267" y="684338"/>
                </a:cubicBezTo>
                <a:cubicBezTo>
                  <a:pt x="58249" y="696531"/>
                  <a:pt x="66541" y="704737"/>
                  <a:pt x="77839" y="704737"/>
                </a:cubicBezTo>
                <a:cubicBezTo>
                  <a:pt x="79775" y="704737"/>
                  <a:pt x="81739" y="704506"/>
                  <a:pt x="83733" y="704014"/>
                </a:cubicBezTo>
                <a:cubicBezTo>
                  <a:pt x="94424" y="701443"/>
                  <a:pt x="97226" y="691735"/>
                  <a:pt x="98469" y="683587"/>
                </a:cubicBezTo>
                <a:cubicBezTo>
                  <a:pt x="98613" y="682604"/>
                  <a:pt x="99624" y="681044"/>
                  <a:pt x="100491" y="679657"/>
                </a:cubicBezTo>
                <a:cubicBezTo>
                  <a:pt x="101300" y="678386"/>
                  <a:pt x="102138" y="677086"/>
                  <a:pt x="102716" y="675699"/>
                </a:cubicBezTo>
                <a:cubicBezTo>
                  <a:pt x="105374" y="669400"/>
                  <a:pt x="104450" y="665153"/>
                  <a:pt x="103496" y="660674"/>
                </a:cubicBezTo>
                <a:cubicBezTo>
                  <a:pt x="103149" y="659085"/>
                  <a:pt x="102803" y="657438"/>
                  <a:pt x="102600" y="655589"/>
                </a:cubicBezTo>
                <a:cubicBezTo>
                  <a:pt x="101849" y="649290"/>
                  <a:pt x="101762" y="642876"/>
                  <a:pt x="101647" y="636693"/>
                </a:cubicBezTo>
                <a:cubicBezTo>
                  <a:pt x="101531" y="629470"/>
                  <a:pt x="101387" y="621986"/>
                  <a:pt x="100289" y="614503"/>
                </a:cubicBezTo>
                <a:cubicBezTo>
                  <a:pt x="100058" y="612943"/>
                  <a:pt x="99711" y="611267"/>
                  <a:pt x="99364" y="609678"/>
                </a:cubicBezTo>
                <a:cubicBezTo>
                  <a:pt x="98902" y="607424"/>
                  <a:pt x="98411" y="605113"/>
                  <a:pt x="98266" y="603148"/>
                </a:cubicBezTo>
                <a:cubicBezTo>
                  <a:pt x="98122" y="601270"/>
                  <a:pt x="99422" y="597831"/>
                  <a:pt x="100462" y="595087"/>
                </a:cubicBezTo>
                <a:cubicBezTo>
                  <a:pt x="101011" y="593613"/>
                  <a:pt x="101531" y="592255"/>
                  <a:pt x="101907" y="591013"/>
                </a:cubicBezTo>
                <a:cubicBezTo>
                  <a:pt x="107137" y="573243"/>
                  <a:pt x="107715" y="556774"/>
                  <a:pt x="108321" y="539294"/>
                </a:cubicBezTo>
                <a:lnTo>
                  <a:pt x="108437" y="536058"/>
                </a:lnTo>
                <a:cubicBezTo>
                  <a:pt x="108552" y="532764"/>
                  <a:pt x="108726" y="529441"/>
                  <a:pt x="108870" y="526147"/>
                </a:cubicBezTo>
                <a:cubicBezTo>
                  <a:pt x="109044" y="522651"/>
                  <a:pt x="109217" y="519126"/>
                  <a:pt x="109333" y="515630"/>
                </a:cubicBezTo>
                <a:cubicBezTo>
                  <a:pt x="109361" y="514619"/>
                  <a:pt x="109333" y="513203"/>
                  <a:pt x="109275" y="511585"/>
                </a:cubicBezTo>
                <a:cubicBezTo>
                  <a:pt x="109217" y="508898"/>
                  <a:pt x="109044" y="503321"/>
                  <a:pt x="109621" y="502050"/>
                </a:cubicBezTo>
                <a:cubicBezTo>
                  <a:pt x="109708" y="501935"/>
                  <a:pt x="110113" y="501501"/>
                  <a:pt x="110373" y="501212"/>
                </a:cubicBezTo>
                <a:cubicBezTo>
                  <a:pt x="110864" y="500692"/>
                  <a:pt x="111384" y="500143"/>
                  <a:pt x="111760" y="499536"/>
                </a:cubicBezTo>
                <a:cubicBezTo>
                  <a:pt x="114244" y="495665"/>
                  <a:pt x="116960" y="489973"/>
                  <a:pt x="115689" y="484801"/>
                </a:cubicBezTo>
                <a:cubicBezTo>
                  <a:pt x="115169" y="482721"/>
                  <a:pt x="114620" y="481131"/>
                  <a:pt x="114129" y="479744"/>
                </a:cubicBezTo>
                <a:cubicBezTo>
                  <a:pt x="113204" y="477086"/>
                  <a:pt x="112511" y="475150"/>
                  <a:pt x="112684" y="471048"/>
                </a:cubicBezTo>
                <a:cubicBezTo>
                  <a:pt x="113146" y="459404"/>
                  <a:pt x="115313" y="446951"/>
                  <a:pt x="117365" y="436289"/>
                </a:cubicBezTo>
                <a:cubicBezTo>
                  <a:pt x="118521" y="430221"/>
                  <a:pt x="119994" y="423980"/>
                  <a:pt x="121381" y="417971"/>
                </a:cubicBezTo>
                <a:cubicBezTo>
                  <a:pt x="123028" y="410949"/>
                  <a:pt x="124704" y="403697"/>
                  <a:pt x="125975" y="396590"/>
                </a:cubicBezTo>
                <a:cubicBezTo>
                  <a:pt x="126582" y="410198"/>
                  <a:pt x="127102" y="424125"/>
                  <a:pt x="126697" y="437445"/>
                </a:cubicBezTo>
                <a:cubicBezTo>
                  <a:pt x="126611" y="440536"/>
                  <a:pt x="126322" y="443715"/>
                  <a:pt x="126062" y="446806"/>
                </a:cubicBezTo>
                <a:cubicBezTo>
                  <a:pt x="125802" y="449898"/>
                  <a:pt x="125542" y="453105"/>
                  <a:pt x="125426" y="456283"/>
                </a:cubicBezTo>
                <a:cubicBezTo>
                  <a:pt x="125311" y="460270"/>
                  <a:pt x="125600" y="464142"/>
                  <a:pt x="125917" y="467898"/>
                </a:cubicBezTo>
                <a:cubicBezTo>
                  <a:pt x="126206" y="471654"/>
                  <a:pt x="126495" y="475237"/>
                  <a:pt x="126380" y="478878"/>
                </a:cubicBezTo>
                <a:lnTo>
                  <a:pt x="126235" y="483067"/>
                </a:lnTo>
                <a:cubicBezTo>
                  <a:pt x="126033" y="488615"/>
                  <a:pt x="125831" y="493873"/>
                  <a:pt x="125802" y="499681"/>
                </a:cubicBezTo>
                <a:cubicBezTo>
                  <a:pt x="125628" y="524125"/>
                  <a:pt x="122392" y="548511"/>
                  <a:pt x="119243" y="572087"/>
                </a:cubicBezTo>
                <a:cubicBezTo>
                  <a:pt x="117741" y="583327"/>
                  <a:pt x="116209" y="594942"/>
                  <a:pt x="114996" y="606471"/>
                </a:cubicBezTo>
                <a:cubicBezTo>
                  <a:pt x="112511" y="630163"/>
                  <a:pt x="110373" y="650562"/>
                  <a:pt x="117480" y="673908"/>
                </a:cubicBezTo>
                <a:cubicBezTo>
                  <a:pt x="117769" y="674832"/>
                  <a:pt x="118232" y="675872"/>
                  <a:pt x="118665" y="676884"/>
                </a:cubicBezTo>
                <a:cubicBezTo>
                  <a:pt x="119012" y="677635"/>
                  <a:pt x="119503" y="678790"/>
                  <a:pt x="119590" y="679195"/>
                </a:cubicBezTo>
                <a:cubicBezTo>
                  <a:pt x="119705" y="679802"/>
                  <a:pt x="119734" y="680813"/>
                  <a:pt x="119763" y="681767"/>
                </a:cubicBezTo>
                <a:cubicBezTo>
                  <a:pt x="119792" y="682778"/>
                  <a:pt x="119821" y="683818"/>
                  <a:pt x="119965" y="684800"/>
                </a:cubicBezTo>
                <a:cubicBezTo>
                  <a:pt x="121150" y="693064"/>
                  <a:pt x="124155" y="702916"/>
                  <a:pt x="136897" y="705864"/>
                </a:cubicBezTo>
                <a:cubicBezTo>
                  <a:pt x="139006" y="706355"/>
                  <a:pt x="141029" y="706586"/>
                  <a:pt x="142907" y="706586"/>
                </a:cubicBezTo>
                <a:cubicBezTo>
                  <a:pt x="153713" y="706586"/>
                  <a:pt x="160445" y="698438"/>
                  <a:pt x="160907" y="684800"/>
                </a:cubicBezTo>
                <a:cubicBezTo>
                  <a:pt x="160936" y="683818"/>
                  <a:pt x="160878" y="682922"/>
                  <a:pt x="160792" y="682142"/>
                </a:cubicBezTo>
                <a:cubicBezTo>
                  <a:pt x="160792" y="681882"/>
                  <a:pt x="160763" y="681651"/>
                  <a:pt x="160734" y="681420"/>
                </a:cubicBezTo>
                <a:cubicBezTo>
                  <a:pt x="160994" y="681333"/>
                  <a:pt x="161225" y="681275"/>
                  <a:pt x="161427" y="681218"/>
                </a:cubicBezTo>
                <a:cubicBezTo>
                  <a:pt x="162150" y="681015"/>
                  <a:pt x="162785" y="680842"/>
                  <a:pt x="163276" y="680611"/>
                </a:cubicBezTo>
                <a:cubicBezTo>
                  <a:pt x="166541" y="679195"/>
                  <a:pt x="170384" y="675237"/>
                  <a:pt x="170904" y="671336"/>
                </a:cubicBezTo>
                <a:cubicBezTo>
                  <a:pt x="171396" y="667753"/>
                  <a:pt x="171713" y="664142"/>
                  <a:pt x="172060" y="660645"/>
                </a:cubicBezTo>
                <a:cubicBezTo>
                  <a:pt x="172551" y="655387"/>
                  <a:pt x="173071" y="649926"/>
                  <a:pt x="174054" y="644581"/>
                </a:cubicBezTo>
                <a:cubicBezTo>
                  <a:pt x="178966" y="618375"/>
                  <a:pt x="180006" y="595751"/>
                  <a:pt x="180381" y="575208"/>
                </a:cubicBezTo>
                <a:cubicBezTo>
                  <a:pt x="180468" y="570296"/>
                  <a:pt x="180555" y="565355"/>
                  <a:pt x="180641" y="560443"/>
                </a:cubicBezTo>
                <a:cubicBezTo>
                  <a:pt x="181104" y="533659"/>
                  <a:pt x="181566" y="505951"/>
                  <a:pt x="183762" y="478820"/>
                </a:cubicBezTo>
                <a:cubicBezTo>
                  <a:pt x="185582" y="456283"/>
                  <a:pt x="190263" y="433775"/>
                  <a:pt x="194770" y="412019"/>
                </a:cubicBezTo>
                <a:cubicBezTo>
                  <a:pt x="198209" y="395405"/>
                  <a:pt x="201791" y="378213"/>
                  <a:pt x="204103" y="361022"/>
                </a:cubicBezTo>
                <a:cubicBezTo>
                  <a:pt x="204536" y="357728"/>
                  <a:pt x="204883" y="354261"/>
                  <a:pt x="205085" y="350967"/>
                </a:cubicBezTo>
                <a:cubicBezTo>
                  <a:pt x="205114" y="350505"/>
                  <a:pt x="205085" y="349696"/>
                  <a:pt x="205085" y="348742"/>
                </a:cubicBezTo>
                <a:cubicBezTo>
                  <a:pt x="205085" y="347818"/>
                  <a:pt x="205027" y="345997"/>
                  <a:pt x="205114" y="344813"/>
                </a:cubicBezTo>
                <a:cubicBezTo>
                  <a:pt x="207975" y="343773"/>
                  <a:pt x="209621" y="341721"/>
                  <a:pt x="211124" y="339872"/>
                </a:cubicBezTo>
                <a:lnTo>
                  <a:pt x="211557" y="339323"/>
                </a:lnTo>
                <a:cubicBezTo>
                  <a:pt x="212135" y="338601"/>
                  <a:pt x="212366" y="337647"/>
                  <a:pt x="212106" y="336723"/>
                </a:cubicBezTo>
                <a:lnTo>
                  <a:pt x="211817" y="335654"/>
                </a:lnTo>
                <a:cubicBezTo>
                  <a:pt x="207570" y="320109"/>
                  <a:pt x="203178" y="304102"/>
                  <a:pt x="197862" y="288529"/>
                </a:cubicBezTo>
                <a:cubicBezTo>
                  <a:pt x="198411" y="288269"/>
                  <a:pt x="198873" y="287835"/>
                  <a:pt x="199162" y="287257"/>
                </a:cubicBezTo>
                <a:cubicBezTo>
                  <a:pt x="200202" y="285293"/>
                  <a:pt x="199711" y="283588"/>
                  <a:pt x="199364" y="282490"/>
                </a:cubicBezTo>
                <a:lnTo>
                  <a:pt x="199307" y="282317"/>
                </a:lnTo>
                <a:cubicBezTo>
                  <a:pt x="198555" y="279658"/>
                  <a:pt x="197053" y="276942"/>
                  <a:pt x="195608" y="274284"/>
                </a:cubicBezTo>
                <a:cubicBezTo>
                  <a:pt x="194337" y="271944"/>
                  <a:pt x="193008" y="269517"/>
                  <a:pt x="192430" y="267552"/>
                </a:cubicBezTo>
                <a:cubicBezTo>
                  <a:pt x="192314" y="267176"/>
                  <a:pt x="192257" y="266599"/>
                  <a:pt x="192228" y="266021"/>
                </a:cubicBezTo>
                <a:cubicBezTo>
                  <a:pt x="192141" y="265183"/>
                  <a:pt x="192054" y="264229"/>
                  <a:pt x="191765" y="263276"/>
                </a:cubicBezTo>
                <a:cubicBezTo>
                  <a:pt x="191448" y="262149"/>
                  <a:pt x="190899" y="261138"/>
                  <a:pt x="190407" y="260184"/>
                </a:cubicBezTo>
                <a:cubicBezTo>
                  <a:pt x="190118" y="259664"/>
                  <a:pt x="189858" y="259173"/>
                  <a:pt x="189656" y="258711"/>
                </a:cubicBezTo>
                <a:cubicBezTo>
                  <a:pt x="190090" y="258451"/>
                  <a:pt x="190465" y="258104"/>
                  <a:pt x="190812" y="257728"/>
                </a:cubicBezTo>
                <a:cubicBezTo>
                  <a:pt x="191736" y="256573"/>
                  <a:pt x="192025" y="255070"/>
                  <a:pt x="191679" y="253192"/>
                </a:cubicBezTo>
                <a:cubicBezTo>
                  <a:pt x="191476" y="252065"/>
                  <a:pt x="190696" y="250129"/>
                  <a:pt x="189309" y="247038"/>
                </a:cubicBezTo>
                <a:cubicBezTo>
                  <a:pt x="190176" y="247442"/>
                  <a:pt x="191043" y="247847"/>
                  <a:pt x="191939" y="248222"/>
                </a:cubicBezTo>
                <a:cubicBezTo>
                  <a:pt x="194597" y="249291"/>
                  <a:pt x="196504" y="250072"/>
                  <a:pt x="198613" y="250072"/>
                </a:cubicBezTo>
                <a:cubicBezTo>
                  <a:pt x="201185" y="250072"/>
                  <a:pt x="203409" y="248858"/>
                  <a:pt x="205432" y="247558"/>
                </a:cubicBezTo>
                <a:cubicBezTo>
                  <a:pt x="214822" y="241461"/>
                  <a:pt x="218665" y="237301"/>
                  <a:pt x="221294" y="226148"/>
                </a:cubicBezTo>
                <a:cubicBezTo>
                  <a:pt x="221814" y="225599"/>
                  <a:pt x="222103" y="224905"/>
                  <a:pt x="222103" y="224154"/>
                </a:cubicBezTo>
                <a:lnTo>
                  <a:pt x="222103" y="216411"/>
                </a:lnTo>
                <a:cubicBezTo>
                  <a:pt x="222103" y="215746"/>
                  <a:pt x="221872" y="215111"/>
                  <a:pt x="221468" y="214591"/>
                </a:cubicBezTo>
                <a:cubicBezTo>
                  <a:pt x="221468" y="213868"/>
                  <a:pt x="221468" y="213146"/>
                  <a:pt x="221468" y="212452"/>
                </a:cubicBezTo>
                <a:cubicBezTo>
                  <a:pt x="221497" y="210257"/>
                  <a:pt x="221554" y="208003"/>
                  <a:pt x="220919" y="205489"/>
                </a:cubicBezTo>
                <a:cubicBezTo>
                  <a:pt x="220168" y="202513"/>
                  <a:pt x="218838" y="199219"/>
                  <a:pt x="217538" y="196041"/>
                </a:cubicBezTo>
                <a:cubicBezTo>
                  <a:pt x="216758" y="194105"/>
                  <a:pt x="216007" y="192256"/>
                  <a:pt x="215429" y="190551"/>
                </a:cubicBezTo>
                <a:cubicBezTo>
                  <a:pt x="215025" y="189367"/>
                  <a:pt x="214707" y="188124"/>
                  <a:pt x="214360" y="186824"/>
                </a:cubicBezTo>
                <a:cubicBezTo>
                  <a:pt x="213927" y="185206"/>
                  <a:pt x="213493" y="183530"/>
                  <a:pt x="212858" y="181883"/>
                </a:cubicBezTo>
                <a:cubicBezTo>
                  <a:pt x="212511" y="180959"/>
                  <a:pt x="211904" y="179861"/>
                  <a:pt x="211239" y="178734"/>
                </a:cubicBezTo>
                <a:cubicBezTo>
                  <a:pt x="210922" y="178156"/>
                  <a:pt x="210459" y="177347"/>
                  <a:pt x="210228" y="176827"/>
                </a:cubicBezTo>
                <a:lnTo>
                  <a:pt x="210286" y="176711"/>
                </a:lnTo>
                <a:cubicBezTo>
                  <a:pt x="210633" y="175960"/>
                  <a:pt x="211297" y="174544"/>
                  <a:pt x="210806" y="172811"/>
                </a:cubicBezTo>
                <a:cubicBezTo>
                  <a:pt x="210402" y="171366"/>
                  <a:pt x="209419" y="170644"/>
                  <a:pt x="208812" y="170268"/>
                </a:cubicBezTo>
                <a:cubicBezTo>
                  <a:pt x="208812" y="170153"/>
                  <a:pt x="208812" y="170008"/>
                  <a:pt x="208812" y="169806"/>
                </a:cubicBezTo>
                <a:cubicBezTo>
                  <a:pt x="208899" y="168737"/>
                  <a:pt x="209015" y="167726"/>
                  <a:pt x="209101" y="166743"/>
                </a:cubicBezTo>
                <a:cubicBezTo>
                  <a:pt x="209650" y="161398"/>
                  <a:pt x="210113" y="156804"/>
                  <a:pt x="208524" y="150390"/>
                </a:cubicBezTo>
                <a:cubicBezTo>
                  <a:pt x="208235" y="149263"/>
                  <a:pt x="207888" y="148309"/>
                  <a:pt x="207541" y="147443"/>
                </a:cubicBezTo>
                <a:cubicBezTo>
                  <a:pt x="207541" y="147443"/>
                  <a:pt x="207541" y="147443"/>
                  <a:pt x="207541" y="147443"/>
                </a:cubicBezTo>
                <a:cubicBezTo>
                  <a:pt x="208119" y="147154"/>
                  <a:pt x="208610" y="146691"/>
                  <a:pt x="208928" y="146085"/>
                </a:cubicBezTo>
                <a:cubicBezTo>
                  <a:pt x="210170" y="143831"/>
                  <a:pt x="208235" y="140219"/>
                  <a:pt x="206992" y="138283"/>
                </a:cubicBezTo>
                <a:cubicBezTo>
                  <a:pt x="206732" y="137879"/>
                  <a:pt x="206385" y="137503"/>
                  <a:pt x="206068" y="137185"/>
                </a:cubicBezTo>
                <a:cubicBezTo>
                  <a:pt x="206125" y="136896"/>
                  <a:pt x="206125" y="136550"/>
                  <a:pt x="206068" y="136203"/>
                </a:cubicBezTo>
                <a:cubicBezTo>
                  <a:pt x="205981" y="135307"/>
                  <a:pt x="205605" y="134585"/>
                  <a:pt x="205316" y="133978"/>
                </a:cubicBezTo>
                <a:cubicBezTo>
                  <a:pt x="205230" y="133776"/>
                  <a:pt x="205114" y="133603"/>
                  <a:pt x="205056" y="133429"/>
                </a:cubicBezTo>
                <a:cubicBezTo>
                  <a:pt x="204941" y="132938"/>
                  <a:pt x="204854" y="132418"/>
                  <a:pt x="204767" y="131927"/>
                </a:cubicBezTo>
                <a:cubicBezTo>
                  <a:pt x="204478" y="130193"/>
                  <a:pt x="204161" y="128257"/>
                  <a:pt x="202716" y="126235"/>
                </a:cubicBezTo>
                <a:cubicBezTo>
                  <a:pt x="201242" y="124155"/>
                  <a:pt x="199913" y="123721"/>
                  <a:pt x="198584" y="123403"/>
                </a:cubicBezTo>
                <a:cubicBezTo>
                  <a:pt x="198266" y="123317"/>
                  <a:pt x="198035" y="123288"/>
                  <a:pt x="197746" y="123143"/>
                </a:cubicBezTo>
                <a:cubicBezTo>
                  <a:pt x="197400" y="122999"/>
                  <a:pt x="196475" y="122334"/>
                  <a:pt x="195868" y="121901"/>
                </a:cubicBezTo>
                <a:cubicBezTo>
                  <a:pt x="195059" y="121323"/>
                  <a:pt x="194250" y="120745"/>
                  <a:pt x="193470" y="120341"/>
                </a:cubicBezTo>
                <a:cubicBezTo>
                  <a:pt x="192661" y="119907"/>
                  <a:pt x="191910" y="119503"/>
                  <a:pt x="191216" y="119127"/>
                </a:cubicBezTo>
                <a:cubicBezTo>
                  <a:pt x="187923" y="117394"/>
                  <a:pt x="185727" y="116267"/>
                  <a:pt x="183242" y="113060"/>
                </a:cubicBezTo>
                <a:cubicBezTo>
                  <a:pt x="183242" y="113031"/>
                  <a:pt x="183184" y="112886"/>
                  <a:pt x="183126" y="112771"/>
                </a:cubicBezTo>
                <a:cubicBezTo>
                  <a:pt x="182866" y="112193"/>
                  <a:pt x="182491" y="111326"/>
                  <a:pt x="181682" y="110575"/>
                </a:cubicBezTo>
                <a:cubicBezTo>
                  <a:pt x="181624" y="110517"/>
                  <a:pt x="181566" y="110459"/>
                  <a:pt x="181479" y="110401"/>
                </a:cubicBezTo>
                <a:cubicBezTo>
                  <a:pt x="181479" y="109881"/>
                  <a:pt x="181364" y="109390"/>
                  <a:pt x="181075" y="108928"/>
                </a:cubicBezTo>
                <a:cubicBezTo>
                  <a:pt x="180352" y="107685"/>
                  <a:pt x="180439" y="105749"/>
                  <a:pt x="180526" y="103900"/>
                </a:cubicBezTo>
                <a:lnTo>
                  <a:pt x="180526" y="103669"/>
                </a:lnTo>
                <a:cubicBezTo>
                  <a:pt x="180757" y="98931"/>
                  <a:pt x="181999" y="94366"/>
                  <a:pt x="183328" y="89511"/>
                </a:cubicBezTo>
                <a:cubicBezTo>
                  <a:pt x="184022" y="86969"/>
                  <a:pt x="184744" y="84368"/>
                  <a:pt x="185293" y="81739"/>
                </a:cubicBezTo>
                <a:cubicBezTo>
                  <a:pt x="186767" y="74660"/>
                  <a:pt x="186507" y="66108"/>
                  <a:pt x="186247" y="58567"/>
                </a:cubicBezTo>
                <a:cubicBezTo>
                  <a:pt x="186218" y="57411"/>
                  <a:pt x="186160" y="56284"/>
                  <a:pt x="186131" y="55186"/>
                </a:cubicBezTo>
                <a:cubicBezTo>
                  <a:pt x="186102" y="53857"/>
                  <a:pt x="186073" y="52528"/>
                  <a:pt x="186044" y="51170"/>
                </a:cubicBezTo>
                <a:cubicBezTo>
                  <a:pt x="185871" y="41751"/>
                  <a:pt x="185698" y="32043"/>
                  <a:pt x="181682" y="23028"/>
                </a:cubicBezTo>
                <a:cubicBezTo>
                  <a:pt x="180584" y="20572"/>
                  <a:pt x="175238" y="11875"/>
                  <a:pt x="172898" y="9968"/>
                </a:cubicBezTo>
                <a:cubicBezTo>
                  <a:pt x="172667" y="9795"/>
                  <a:pt x="172436" y="9650"/>
                  <a:pt x="172205" y="9535"/>
                </a:cubicBezTo>
                <a:cubicBezTo>
                  <a:pt x="170847" y="7108"/>
                  <a:pt x="168015" y="6501"/>
                  <a:pt x="166224" y="6125"/>
                </a:cubicBezTo>
                <a:cubicBezTo>
                  <a:pt x="165704" y="6010"/>
                  <a:pt x="165155" y="5894"/>
                  <a:pt x="164837" y="5779"/>
                </a:cubicBezTo>
                <a:cubicBezTo>
                  <a:pt x="163970" y="5461"/>
                  <a:pt x="163190" y="4854"/>
                  <a:pt x="162352" y="4190"/>
                </a:cubicBezTo>
                <a:cubicBezTo>
                  <a:pt x="161485" y="3525"/>
                  <a:pt x="160503" y="2745"/>
                  <a:pt x="159318" y="2225"/>
                </a:cubicBezTo>
                <a:cubicBezTo>
                  <a:pt x="157787" y="1560"/>
                  <a:pt x="155793" y="1185"/>
                  <a:pt x="154059" y="867"/>
                </a:cubicBezTo>
                <a:lnTo>
                  <a:pt x="153308" y="722"/>
                </a:lnTo>
                <a:cubicBezTo>
                  <a:pt x="152788" y="260"/>
                  <a:pt x="152095" y="0"/>
                  <a:pt x="151372" y="0"/>
                </a:cubicBezTo>
                <a:lnTo>
                  <a:pt x="151372" y="0"/>
                </a:lnTo>
                <a:close/>
                <a:moveTo>
                  <a:pt x="151604" y="5779"/>
                </a:moveTo>
                <a:lnTo>
                  <a:pt x="151604" y="5779"/>
                </a:lnTo>
                <a:lnTo>
                  <a:pt x="151604" y="5779"/>
                </a:lnTo>
                <a:close/>
                <a:moveTo>
                  <a:pt x="61052" y="264172"/>
                </a:moveTo>
                <a:cubicBezTo>
                  <a:pt x="62381" y="257353"/>
                  <a:pt x="63537" y="251170"/>
                  <a:pt x="64288" y="244351"/>
                </a:cubicBezTo>
                <a:cubicBezTo>
                  <a:pt x="64403" y="244986"/>
                  <a:pt x="64490" y="245593"/>
                  <a:pt x="64548" y="246171"/>
                </a:cubicBezTo>
                <a:cubicBezTo>
                  <a:pt x="64548" y="246547"/>
                  <a:pt x="64432" y="247356"/>
                  <a:pt x="64346" y="248020"/>
                </a:cubicBezTo>
                <a:cubicBezTo>
                  <a:pt x="64201" y="248916"/>
                  <a:pt x="64086" y="249812"/>
                  <a:pt x="64086" y="250649"/>
                </a:cubicBezTo>
                <a:cubicBezTo>
                  <a:pt x="64086" y="251574"/>
                  <a:pt x="64230" y="252701"/>
                  <a:pt x="64374" y="253857"/>
                </a:cubicBezTo>
                <a:cubicBezTo>
                  <a:pt x="64490" y="254868"/>
                  <a:pt x="64663" y="256255"/>
                  <a:pt x="64663" y="256948"/>
                </a:cubicBezTo>
                <a:cubicBezTo>
                  <a:pt x="64519" y="257295"/>
                  <a:pt x="64057" y="257988"/>
                  <a:pt x="63768" y="258422"/>
                </a:cubicBezTo>
                <a:cubicBezTo>
                  <a:pt x="63305" y="259115"/>
                  <a:pt x="62901" y="259751"/>
                  <a:pt x="62583" y="260386"/>
                </a:cubicBezTo>
                <a:cubicBezTo>
                  <a:pt x="62034" y="261600"/>
                  <a:pt x="61514" y="262871"/>
                  <a:pt x="61052" y="264172"/>
                </a:cubicBezTo>
                <a:lnTo>
                  <a:pt x="61052" y="264172"/>
                </a:lnTo>
                <a:close/>
              </a:path>
            </a:pathLst>
          </a:custGeom>
          <a:solidFill>
            <a:srgbClr val="FEFEFE"/>
          </a:solidFill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CDB4563-8223-FF16-24BA-6A8F95FB35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1498" y="5348390"/>
            <a:ext cx="133746" cy="427169"/>
          </a:xfrm>
          <a:custGeom>
            <a:avLst/>
            <a:gdLst>
              <a:gd name="connsiteX0" fmla="*/ 104588 w 180472"/>
              <a:gd name="connsiteY0" fmla="*/ 2356 h 576406"/>
              <a:gd name="connsiteX1" fmla="*/ 114815 w 180472"/>
              <a:gd name="connsiteY1" fmla="*/ 4666 h 576406"/>
              <a:gd name="connsiteX2" fmla="*/ 130508 w 180472"/>
              <a:gd name="connsiteY2" fmla="*/ 30821 h 576406"/>
              <a:gd name="connsiteX3" fmla="*/ 119528 w 180472"/>
              <a:gd name="connsiteY3" fmla="*/ 67156 h 576406"/>
              <a:gd name="connsiteX4" fmla="*/ 111327 w 180472"/>
              <a:gd name="connsiteY4" fmla="*/ 79126 h 576406"/>
              <a:gd name="connsiteX5" fmla="*/ 113566 w 180472"/>
              <a:gd name="connsiteY5" fmla="*/ 82472 h 576406"/>
              <a:gd name="connsiteX6" fmla="*/ 146202 w 180472"/>
              <a:gd name="connsiteY6" fmla="*/ 93900 h 576406"/>
              <a:gd name="connsiteX7" fmla="*/ 156240 w 180472"/>
              <a:gd name="connsiteY7" fmla="*/ 101299 h 576406"/>
              <a:gd name="connsiteX8" fmla="*/ 169435 w 180472"/>
              <a:gd name="connsiteY8" fmla="*/ 147671 h 576406"/>
              <a:gd name="connsiteX9" fmla="*/ 172075 w 180472"/>
              <a:gd name="connsiteY9" fmla="*/ 165697 h 576406"/>
              <a:gd name="connsiteX10" fmla="*/ 175680 w 180472"/>
              <a:gd name="connsiteY10" fmla="*/ 174392 h 576406"/>
              <a:gd name="connsiteX11" fmla="*/ 174572 w 180472"/>
              <a:gd name="connsiteY11" fmla="*/ 184383 h 576406"/>
              <a:gd name="connsiteX12" fmla="*/ 177895 w 180472"/>
              <a:gd name="connsiteY12" fmla="*/ 196047 h 576406"/>
              <a:gd name="connsiteX13" fmla="*/ 166207 w 180472"/>
              <a:gd name="connsiteY13" fmla="*/ 215605 h 576406"/>
              <a:gd name="connsiteX14" fmla="*/ 154590 w 180472"/>
              <a:gd name="connsiteY14" fmla="*/ 218173 h 576406"/>
              <a:gd name="connsiteX15" fmla="*/ 153742 w 180472"/>
              <a:gd name="connsiteY15" fmla="*/ 218126 h 576406"/>
              <a:gd name="connsiteX16" fmla="*/ 150490 w 180472"/>
              <a:gd name="connsiteY16" fmla="*/ 217231 h 576406"/>
              <a:gd name="connsiteX17" fmla="*/ 148982 w 180472"/>
              <a:gd name="connsiteY17" fmla="*/ 217608 h 576406"/>
              <a:gd name="connsiteX18" fmla="*/ 151079 w 180472"/>
              <a:gd name="connsiteY18" fmla="*/ 233654 h 576406"/>
              <a:gd name="connsiteX19" fmla="*/ 143916 w 180472"/>
              <a:gd name="connsiteY19" fmla="*/ 238532 h 576406"/>
              <a:gd name="connsiteX20" fmla="*/ 144670 w 180472"/>
              <a:gd name="connsiteY20" fmla="*/ 247910 h 576406"/>
              <a:gd name="connsiteX21" fmla="*/ 152328 w 180472"/>
              <a:gd name="connsiteY21" fmla="*/ 289381 h 576406"/>
              <a:gd name="connsiteX22" fmla="*/ 150137 w 180472"/>
              <a:gd name="connsiteY22" fmla="*/ 307832 h 576406"/>
              <a:gd name="connsiteX23" fmla="*/ 144034 w 180472"/>
              <a:gd name="connsiteY23" fmla="*/ 338605 h 576406"/>
              <a:gd name="connsiteX24" fmla="*/ 136753 w 180472"/>
              <a:gd name="connsiteY24" fmla="*/ 395534 h 576406"/>
              <a:gd name="connsiteX25" fmla="*/ 135080 w 180472"/>
              <a:gd name="connsiteY25" fmla="*/ 398880 h 576406"/>
              <a:gd name="connsiteX26" fmla="*/ 136211 w 180472"/>
              <a:gd name="connsiteY26" fmla="*/ 410026 h 576406"/>
              <a:gd name="connsiteX27" fmla="*/ 135716 w 180472"/>
              <a:gd name="connsiteY27" fmla="*/ 414385 h 576406"/>
              <a:gd name="connsiteX28" fmla="*/ 138944 w 180472"/>
              <a:gd name="connsiteY28" fmla="*/ 418980 h 576406"/>
              <a:gd name="connsiteX29" fmla="*/ 138944 w 180472"/>
              <a:gd name="connsiteY29" fmla="*/ 426803 h 576406"/>
              <a:gd name="connsiteX30" fmla="*/ 140099 w 180472"/>
              <a:gd name="connsiteY30" fmla="*/ 479302 h 576406"/>
              <a:gd name="connsiteX31" fmla="*/ 141489 w 180472"/>
              <a:gd name="connsiteY31" fmla="*/ 502441 h 576406"/>
              <a:gd name="connsiteX32" fmla="*/ 145118 w 180472"/>
              <a:gd name="connsiteY32" fmla="*/ 510005 h 576406"/>
              <a:gd name="connsiteX33" fmla="*/ 140429 w 180472"/>
              <a:gd name="connsiteY33" fmla="*/ 514247 h 576406"/>
              <a:gd name="connsiteX34" fmla="*/ 138426 w 180472"/>
              <a:gd name="connsiteY34" fmla="*/ 527772 h 576406"/>
              <a:gd name="connsiteX35" fmla="*/ 153459 w 180472"/>
              <a:gd name="connsiteY35" fmla="*/ 562481 h 576406"/>
              <a:gd name="connsiteX36" fmla="*/ 150137 w 180472"/>
              <a:gd name="connsiteY36" fmla="*/ 572024 h 576406"/>
              <a:gd name="connsiteX37" fmla="*/ 141583 w 180472"/>
              <a:gd name="connsiteY37" fmla="*/ 572236 h 576406"/>
              <a:gd name="connsiteX38" fmla="*/ 120093 w 180472"/>
              <a:gd name="connsiteY38" fmla="*/ 565756 h 576406"/>
              <a:gd name="connsiteX39" fmla="*/ 119528 w 180472"/>
              <a:gd name="connsiteY39" fmla="*/ 552466 h 576406"/>
              <a:gd name="connsiteX40" fmla="*/ 119268 w 180472"/>
              <a:gd name="connsiteY40" fmla="*/ 552466 h 576406"/>
              <a:gd name="connsiteX41" fmla="*/ 111375 w 180472"/>
              <a:gd name="connsiteY41" fmla="*/ 547659 h 576406"/>
              <a:gd name="connsiteX42" fmla="*/ 110974 w 180472"/>
              <a:gd name="connsiteY42" fmla="*/ 533545 h 576406"/>
              <a:gd name="connsiteX43" fmla="*/ 105531 w 180472"/>
              <a:gd name="connsiteY43" fmla="*/ 528385 h 576406"/>
              <a:gd name="connsiteX44" fmla="*/ 97142 w 180472"/>
              <a:gd name="connsiteY44" fmla="*/ 499944 h 576406"/>
              <a:gd name="connsiteX45" fmla="*/ 101077 w 180472"/>
              <a:gd name="connsiteY45" fmla="*/ 426756 h 576406"/>
              <a:gd name="connsiteX46" fmla="*/ 94432 w 180472"/>
              <a:gd name="connsiteY46" fmla="*/ 380902 h 576406"/>
              <a:gd name="connsiteX47" fmla="*/ 93773 w 180472"/>
              <a:gd name="connsiteY47" fmla="*/ 367612 h 576406"/>
              <a:gd name="connsiteX48" fmla="*/ 92783 w 180472"/>
              <a:gd name="connsiteY48" fmla="*/ 365609 h 576406"/>
              <a:gd name="connsiteX49" fmla="*/ 92712 w 180472"/>
              <a:gd name="connsiteY49" fmla="*/ 365609 h 576406"/>
              <a:gd name="connsiteX50" fmla="*/ 88801 w 180472"/>
              <a:gd name="connsiteY50" fmla="*/ 394356 h 576406"/>
              <a:gd name="connsiteX51" fmla="*/ 86539 w 180472"/>
              <a:gd name="connsiteY51" fmla="*/ 403852 h 576406"/>
              <a:gd name="connsiteX52" fmla="*/ 88282 w 180472"/>
              <a:gd name="connsiteY52" fmla="*/ 417802 h 576406"/>
              <a:gd name="connsiteX53" fmla="*/ 87670 w 180472"/>
              <a:gd name="connsiteY53" fmla="*/ 436841 h 576406"/>
              <a:gd name="connsiteX54" fmla="*/ 83499 w 180472"/>
              <a:gd name="connsiteY54" fmla="*/ 504656 h 576406"/>
              <a:gd name="connsiteX55" fmla="*/ 78810 w 180472"/>
              <a:gd name="connsiteY55" fmla="*/ 515024 h 576406"/>
              <a:gd name="connsiteX56" fmla="*/ 85360 w 180472"/>
              <a:gd name="connsiteY56" fmla="*/ 524096 h 576406"/>
              <a:gd name="connsiteX57" fmla="*/ 80011 w 180472"/>
              <a:gd name="connsiteY57" fmla="*/ 532461 h 576406"/>
              <a:gd name="connsiteX58" fmla="*/ 81001 w 180472"/>
              <a:gd name="connsiteY58" fmla="*/ 537928 h 576406"/>
              <a:gd name="connsiteX59" fmla="*/ 81543 w 180472"/>
              <a:gd name="connsiteY59" fmla="*/ 546811 h 576406"/>
              <a:gd name="connsiteX60" fmla="*/ 71151 w 180472"/>
              <a:gd name="connsiteY60" fmla="*/ 553550 h 576406"/>
              <a:gd name="connsiteX61" fmla="*/ 69384 w 180472"/>
              <a:gd name="connsiteY61" fmla="*/ 553362 h 576406"/>
              <a:gd name="connsiteX62" fmla="*/ 65402 w 180472"/>
              <a:gd name="connsiteY62" fmla="*/ 569196 h 576406"/>
              <a:gd name="connsiteX63" fmla="*/ 52018 w 180472"/>
              <a:gd name="connsiteY63" fmla="*/ 573932 h 576406"/>
              <a:gd name="connsiteX64" fmla="*/ 45326 w 180472"/>
              <a:gd name="connsiteY64" fmla="*/ 573932 h 576406"/>
              <a:gd name="connsiteX65" fmla="*/ 34133 w 180472"/>
              <a:gd name="connsiteY65" fmla="*/ 568631 h 576406"/>
              <a:gd name="connsiteX66" fmla="*/ 34769 w 180472"/>
              <a:gd name="connsiteY66" fmla="*/ 559182 h 576406"/>
              <a:gd name="connsiteX67" fmla="*/ 48884 w 180472"/>
              <a:gd name="connsiteY67" fmla="*/ 537032 h 576406"/>
              <a:gd name="connsiteX68" fmla="*/ 51452 w 180472"/>
              <a:gd name="connsiteY68" fmla="*/ 531707 h 576406"/>
              <a:gd name="connsiteX69" fmla="*/ 47423 w 180472"/>
              <a:gd name="connsiteY69" fmla="*/ 524072 h 576406"/>
              <a:gd name="connsiteX70" fmla="*/ 47234 w 180472"/>
              <a:gd name="connsiteY70" fmla="*/ 515260 h 576406"/>
              <a:gd name="connsiteX71" fmla="*/ 50910 w 180472"/>
              <a:gd name="connsiteY71" fmla="*/ 509416 h 576406"/>
              <a:gd name="connsiteX72" fmla="*/ 48672 w 180472"/>
              <a:gd name="connsiteY72" fmla="*/ 435686 h 576406"/>
              <a:gd name="connsiteX73" fmla="*/ 49261 w 180472"/>
              <a:gd name="connsiteY73" fmla="*/ 403946 h 576406"/>
              <a:gd name="connsiteX74" fmla="*/ 50863 w 180472"/>
              <a:gd name="connsiteY74" fmla="*/ 397184 h 576406"/>
              <a:gd name="connsiteX75" fmla="*/ 44265 w 180472"/>
              <a:gd name="connsiteY75" fmla="*/ 368036 h 576406"/>
              <a:gd name="connsiteX76" fmla="*/ 41320 w 180472"/>
              <a:gd name="connsiteY76" fmla="*/ 344190 h 576406"/>
              <a:gd name="connsiteX77" fmla="*/ 34840 w 180472"/>
              <a:gd name="connsiteY77" fmla="*/ 267185 h 576406"/>
              <a:gd name="connsiteX78" fmla="*/ 40000 w 180472"/>
              <a:gd name="connsiteY78" fmla="*/ 253942 h 576406"/>
              <a:gd name="connsiteX79" fmla="*/ 41414 w 180472"/>
              <a:gd name="connsiteY79" fmla="*/ 240865 h 576406"/>
              <a:gd name="connsiteX80" fmla="*/ 32978 w 180472"/>
              <a:gd name="connsiteY80" fmla="*/ 239050 h 576406"/>
              <a:gd name="connsiteX81" fmla="*/ 38587 w 180472"/>
              <a:gd name="connsiteY81" fmla="*/ 229036 h 576406"/>
              <a:gd name="connsiteX82" fmla="*/ 36890 w 180472"/>
              <a:gd name="connsiteY82" fmla="*/ 215982 h 576406"/>
              <a:gd name="connsiteX83" fmla="*/ 36466 w 180472"/>
              <a:gd name="connsiteY83" fmla="*/ 215911 h 576406"/>
              <a:gd name="connsiteX84" fmla="*/ 26710 w 180472"/>
              <a:gd name="connsiteY84" fmla="*/ 217160 h 576406"/>
              <a:gd name="connsiteX85" fmla="*/ 17945 w 180472"/>
              <a:gd name="connsiteY85" fmla="*/ 218739 h 576406"/>
              <a:gd name="connsiteX86" fmla="*/ 15730 w 180472"/>
              <a:gd name="connsiteY86" fmla="*/ 218479 h 576406"/>
              <a:gd name="connsiteX87" fmla="*/ 5739 w 180472"/>
              <a:gd name="connsiteY87" fmla="*/ 208394 h 576406"/>
              <a:gd name="connsiteX88" fmla="*/ 2369 w 180472"/>
              <a:gd name="connsiteY88" fmla="*/ 201985 h 576406"/>
              <a:gd name="connsiteX89" fmla="*/ 2369 w 180472"/>
              <a:gd name="connsiteY89" fmla="*/ 196966 h 576406"/>
              <a:gd name="connsiteX90" fmla="*/ 4042 w 180472"/>
              <a:gd name="connsiteY90" fmla="*/ 190533 h 576406"/>
              <a:gd name="connsiteX91" fmla="*/ 15659 w 180472"/>
              <a:gd name="connsiteY91" fmla="*/ 104975 h 576406"/>
              <a:gd name="connsiteX92" fmla="*/ 58309 w 180472"/>
              <a:gd name="connsiteY92" fmla="*/ 83485 h 576406"/>
              <a:gd name="connsiteX93" fmla="*/ 70939 w 180472"/>
              <a:gd name="connsiteY93" fmla="*/ 68876 h 576406"/>
              <a:gd name="connsiteX94" fmla="*/ 72612 w 180472"/>
              <a:gd name="connsiteY94" fmla="*/ 69041 h 576406"/>
              <a:gd name="connsiteX95" fmla="*/ 74827 w 180472"/>
              <a:gd name="connsiteY95" fmla="*/ 51180 h 576406"/>
              <a:gd name="connsiteX96" fmla="*/ 73249 w 180472"/>
              <a:gd name="connsiteY96" fmla="*/ 51462 h 576406"/>
              <a:gd name="connsiteX97" fmla="*/ 67028 w 180472"/>
              <a:gd name="connsiteY97" fmla="*/ 40859 h 576406"/>
              <a:gd name="connsiteX98" fmla="*/ 73531 w 180472"/>
              <a:gd name="connsiteY98" fmla="*/ 28088 h 576406"/>
              <a:gd name="connsiteX99" fmla="*/ 75157 w 180472"/>
              <a:gd name="connsiteY99" fmla="*/ 28794 h 576406"/>
              <a:gd name="connsiteX100" fmla="*/ 76477 w 180472"/>
              <a:gd name="connsiteY100" fmla="*/ 31080 h 576406"/>
              <a:gd name="connsiteX101" fmla="*/ 86774 w 180472"/>
              <a:gd name="connsiteY101" fmla="*/ 8176 h 576406"/>
              <a:gd name="connsiteX102" fmla="*/ 104541 w 180472"/>
              <a:gd name="connsiteY102" fmla="*/ 2427 h 576406"/>
              <a:gd name="connsiteX103" fmla="*/ 104588 w 180472"/>
              <a:gd name="connsiteY103" fmla="*/ 0 h 576406"/>
              <a:gd name="connsiteX104" fmla="*/ 85266 w 180472"/>
              <a:gd name="connsiteY104" fmla="*/ 6339 h 576406"/>
              <a:gd name="connsiteX105" fmla="*/ 75110 w 180472"/>
              <a:gd name="connsiteY105" fmla="*/ 25943 h 576406"/>
              <a:gd name="connsiteX106" fmla="*/ 73579 w 180472"/>
              <a:gd name="connsiteY106" fmla="*/ 25660 h 576406"/>
              <a:gd name="connsiteX107" fmla="*/ 64719 w 180472"/>
              <a:gd name="connsiteY107" fmla="*/ 40670 h 576406"/>
              <a:gd name="connsiteX108" fmla="*/ 68300 w 180472"/>
              <a:gd name="connsiteY108" fmla="*/ 51486 h 576406"/>
              <a:gd name="connsiteX109" fmla="*/ 71882 w 180472"/>
              <a:gd name="connsiteY109" fmla="*/ 53630 h 576406"/>
              <a:gd name="connsiteX110" fmla="*/ 70256 w 180472"/>
              <a:gd name="connsiteY110" fmla="*/ 66519 h 576406"/>
              <a:gd name="connsiteX111" fmla="*/ 60077 w 180472"/>
              <a:gd name="connsiteY111" fmla="*/ 76180 h 576406"/>
              <a:gd name="connsiteX112" fmla="*/ 56990 w 180472"/>
              <a:gd name="connsiteY112" fmla="*/ 81435 h 576406"/>
              <a:gd name="connsiteX113" fmla="*/ 44807 w 180472"/>
              <a:gd name="connsiteY113" fmla="*/ 84969 h 576406"/>
              <a:gd name="connsiteX114" fmla="*/ 13585 w 180472"/>
              <a:gd name="connsiteY114" fmla="*/ 103867 h 576406"/>
              <a:gd name="connsiteX115" fmla="*/ 2888 w 180472"/>
              <a:gd name="connsiteY115" fmla="*/ 168690 h 576406"/>
              <a:gd name="connsiteX116" fmla="*/ 1733 w 180472"/>
              <a:gd name="connsiteY116" fmla="*/ 190274 h 576406"/>
              <a:gd name="connsiteX117" fmla="*/ 932 w 180472"/>
              <a:gd name="connsiteY117" fmla="*/ 193384 h 576406"/>
              <a:gd name="connsiteX118" fmla="*/ 84 w 180472"/>
              <a:gd name="connsiteY118" fmla="*/ 196613 h 576406"/>
              <a:gd name="connsiteX119" fmla="*/ 60 w 180472"/>
              <a:gd name="connsiteY119" fmla="*/ 199676 h 576406"/>
              <a:gd name="connsiteX120" fmla="*/ 60 w 180472"/>
              <a:gd name="connsiteY120" fmla="*/ 201749 h 576406"/>
              <a:gd name="connsiteX121" fmla="*/ 107 w 180472"/>
              <a:gd name="connsiteY121" fmla="*/ 202456 h 576406"/>
              <a:gd name="connsiteX122" fmla="*/ 3477 w 180472"/>
              <a:gd name="connsiteY122" fmla="*/ 209219 h 576406"/>
              <a:gd name="connsiteX123" fmla="*/ 3877 w 180472"/>
              <a:gd name="connsiteY123" fmla="*/ 209761 h 576406"/>
              <a:gd name="connsiteX124" fmla="*/ 15164 w 180472"/>
              <a:gd name="connsiteY124" fmla="*/ 220741 h 576406"/>
              <a:gd name="connsiteX125" fmla="*/ 17968 w 180472"/>
              <a:gd name="connsiteY125" fmla="*/ 221095 h 576406"/>
              <a:gd name="connsiteX126" fmla="*/ 23953 w 180472"/>
              <a:gd name="connsiteY126" fmla="*/ 220152 h 576406"/>
              <a:gd name="connsiteX127" fmla="*/ 27087 w 180472"/>
              <a:gd name="connsiteY127" fmla="*/ 219493 h 576406"/>
              <a:gd name="connsiteX128" fmla="*/ 27771 w 180472"/>
              <a:gd name="connsiteY128" fmla="*/ 219398 h 576406"/>
              <a:gd name="connsiteX129" fmla="*/ 34675 w 180472"/>
              <a:gd name="connsiteY129" fmla="*/ 218432 h 576406"/>
              <a:gd name="connsiteX130" fmla="*/ 35500 w 180472"/>
              <a:gd name="connsiteY130" fmla="*/ 223168 h 576406"/>
              <a:gd name="connsiteX131" fmla="*/ 36277 w 180472"/>
              <a:gd name="connsiteY131" fmla="*/ 228753 h 576406"/>
              <a:gd name="connsiteX132" fmla="*/ 33897 w 180472"/>
              <a:gd name="connsiteY132" fmla="*/ 232217 h 576406"/>
              <a:gd name="connsiteX133" fmla="*/ 30716 w 180472"/>
              <a:gd name="connsiteY133" fmla="*/ 239592 h 576406"/>
              <a:gd name="connsiteX134" fmla="*/ 37479 w 180472"/>
              <a:gd name="connsiteY134" fmla="*/ 242467 h 576406"/>
              <a:gd name="connsiteX135" fmla="*/ 39011 w 180472"/>
              <a:gd name="connsiteY135" fmla="*/ 242585 h 576406"/>
              <a:gd name="connsiteX136" fmla="*/ 37738 w 180472"/>
              <a:gd name="connsiteY136" fmla="*/ 253377 h 576406"/>
              <a:gd name="connsiteX137" fmla="*/ 35358 w 180472"/>
              <a:gd name="connsiteY137" fmla="*/ 259362 h 576406"/>
              <a:gd name="connsiteX138" fmla="*/ 32554 w 180472"/>
              <a:gd name="connsiteY138" fmla="*/ 266690 h 576406"/>
              <a:gd name="connsiteX139" fmla="*/ 36442 w 180472"/>
              <a:gd name="connsiteY139" fmla="*/ 329227 h 576406"/>
              <a:gd name="connsiteX140" fmla="*/ 39011 w 180472"/>
              <a:gd name="connsiteY140" fmla="*/ 344567 h 576406"/>
              <a:gd name="connsiteX141" fmla="*/ 40189 w 180472"/>
              <a:gd name="connsiteY141" fmla="*/ 354723 h 576406"/>
              <a:gd name="connsiteX142" fmla="*/ 41956 w 180472"/>
              <a:gd name="connsiteY142" fmla="*/ 368507 h 576406"/>
              <a:gd name="connsiteX143" fmla="*/ 45137 w 180472"/>
              <a:gd name="connsiteY143" fmla="*/ 379535 h 576406"/>
              <a:gd name="connsiteX144" fmla="*/ 48530 w 180472"/>
              <a:gd name="connsiteY144" fmla="*/ 396972 h 576406"/>
              <a:gd name="connsiteX145" fmla="*/ 47847 w 180472"/>
              <a:gd name="connsiteY145" fmla="*/ 399799 h 576406"/>
              <a:gd name="connsiteX146" fmla="*/ 46928 w 180472"/>
              <a:gd name="connsiteY146" fmla="*/ 403734 h 576406"/>
              <a:gd name="connsiteX147" fmla="*/ 46315 w 180472"/>
              <a:gd name="connsiteY147" fmla="*/ 426402 h 576406"/>
              <a:gd name="connsiteX148" fmla="*/ 46315 w 180472"/>
              <a:gd name="connsiteY148" fmla="*/ 435710 h 576406"/>
              <a:gd name="connsiteX149" fmla="*/ 46198 w 180472"/>
              <a:gd name="connsiteY149" fmla="*/ 443203 h 576406"/>
              <a:gd name="connsiteX150" fmla="*/ 48554 w 180472"/>
              <a:gd name="connsiteY150" fmla="*/ 509722 h 576406"/>
              <a:gd name="connsiteX151" fmla="*/ 47258 w 180472"/>
              <a:gd name="connsiteY151" fmla="*/ 511419 h 576406"/>
              <a:gd name="connsiteX152" fmla="*/ 44949 w 180472"/>
              <a:gd name="connsiteY152" fmla="*/ 514647 h 576406"/>
              <a:gd name="connsiteX153" fmla="*/ 45114 w 180472"/>
              <a:gd name="connsiteY153" fmla="*/ 524826 h 576406"/>
              <a:gd name="connsiteX154" fmla="*/ 47470 w 180472"/>
              <a:gd name="connsiteY154" fmla="*/ 529256 h 576406"/>
              <a:gd name="connsiteX155" fmla="*/ 48931 w 180472"/>
              <a:gd name="connsiteY155" fmla="*/ 531731 h 576406"/>
              <a:gd name="connsiteX156" fmla="*/ 46810 w 180472"/>
              <a:gd name="connsiteY156" fmla="*/ 535948 h 576406"/>
              <a:gd name="connsiteX157" fmla="*/ 41744 w 180472"/>
              <a:gd name="connsiteY157" fmla="*/ 543253 h 576406"/>
              <a:gd name="connsiteX158" fmla="*/ 32413 w 180472"/>
              <a:gd name="connsiteY158" fmla="*/ 558970 h 576406"/>
              <a:gd name="connsiteX159" fmla="*/ 31753 w 180472"/>
              <a:gd name="connsiteY159" fmla="*/ 568749 h 576406"/>
              <a:gd name="connsiteX160" fmla="*/ 40189 w 180472"/>
              <a:gd name="connsiteY160" fmla="*/ 575676 h 576406"/>
              <a:gd name="connsiteX161" fmla="*/ 44383 w 180472"/>
              <a:gd name="connsiteY161" fmla="*/ 576218 h 576406"/>
              <a:gd name="connsiteX162" fmla="*/ 45302 w 180472"/>
              <a:gd name="connsiteY162" fmla="*/ 576407 h 576406"/>
              <a:gd name="connsiteX163" fmla="*/ 51994 w 180472"/>
              <a:gd name="connsiteY163" fmla="*/ 576407 h 576406"/>
              <a:gd name="connsiteX164" fmla="*/ 52183 w 180472"/>
              <a:gd name="connsiteY164" fmla="*/ 576407 h 576406"/>
              <a:gd name="connsiteX165" fmla="*/ 66910 w 180472"/>
              <a:gd name="connsiteY165" fmla="*/ 571105 h 576406"/>
              <a:gd name="connsiteX166" fmla="*/ 70892 w 180472"/>
              <a:gd name="connsiteY166" fmla="*/ 560313 h 576406"/>
              <a:gd name="connsiteX167" fmla="*/ 70939 w 180472"/>
              <a:gd name="connsiteY167" fmla="*/ 556024 h 576406"/>
              <a:gd name="connsiteX168" fmla="*/ 71128 w 180472"/>
              <a:gd name="connsiteY168" fmla="*/ 556024 h 576406"/>
              <a:gd name="connsiteX169" fmla="*/ 83852 w 180472"/>
              <a:gd name="connsiteY169" fmla="*/ 547235 h 576406"/>
              <a:gd name="connsiteX170" fmla="*/ 83405 w 180472"/>
              <a:gd name="connsiteY170" fmla="*/ 538682 h 576406"/>
              <a:gd name="connsiteX171" fmla="*/ 83334 w 180472"/>
              <a:gd name="connsiteY171" fmla="*/ 537810 h 576406"/>
              <a:gd name="connsiteX172" fmla="*/ 82768 w 180472"/>
              <a:gd name="connsiteY172" fmla="*/ 535124 h 576406"/>
              <a:gd name="connsiteX173" fmla="*/ 82321 w 180472"/>
              <a:gd name="connsiteY173" fmla="*/ 532932 h 576406"/>
              <a:gd name="connsiteX174" fmla="*/ 84017 w 180472"/>
              <a:gd name="connsiteY174" fmla="*/ 531071 h 576406"/>
              <a:gd name="connsiteX175" fmla="*/ 87693 w 180472"/>
              <a:gd name="connsiteY175" fmla="*/ 523955 h 576406"/>
              <a:gd name="connsiteX176" fmla="*/ 83428 w 180472"/>
              <a:gd name="connsiteY176" fmla="*/ 517522 h 576406"/>
              <a:gd name="connsiteX177" fmla="*/ 81213 w 180472"/>
              <a:gd name="connsiteY177" fmla="*/ 515118 h 576406"/>
              <a:gd name="connsiteX178" fmla="*/ 83852 w 180472"/>
              <a:gd name="connsiteY178" fmla="*/ 509487 h 576406"/>
              <a:gd name="connsiteX179" fmla="*/ 85690 w 180472"/>
              <a:gd name="connsiteY179" fmla="*/ 505622 h 576406"/>
              <a:gd name="connsiteX180" fmla="*/ 90662 w 180472"/>
              <a:gd name="connsiteY180" fmla="*/ 451309 h 576406"/>
              <a:gd name="connsiteX181" fmla="*/ 90026 w 180472"/>
              <a:gd name="connsiteY181" fmla="*/ 436888 h 576406"/>
              <a:gd name="connsiteX182" fmla="*/ 90332 w 180472"/>
              <a:gd name="connsiteY182" fmla="*/ 427156 h 576406"/>
              <a:gd name="connsiteX183" fmla="*/ 90639 w 180472"/>
              <a:gd name="connsiteY183" fmla="*/ 417872 h 576406"/>
              <a:gd name="connsiteX184" fmla="*/ 89720 w 180472"/>
              <a:gd name="connsiteY184" fmla="*/ 410780 h 576406"/>
              <a:gd name="connsiteX185" fmla="*/ 88895 w 180472"/>
              <a:gd name="connsiteY185" fmla="*/ 404017 h 576406"/>
              <a:gd name="connsiteX186" fmla="*/ 89932 w 180472"/>
              <a:gd name="connsiteY186" fmla="*/ 399658 h 576406"/>
              <a:gd name="connsiteX187" fmla="*/ 91157 w 180472"/>
              <a:gd name="connsiteY187" fmla="*/ 394804 h 576406"/>
              <a:gd name="connsiteX188" fmla="*/ 92029 w 180472"/>
              <a:gd name="connsiteY188" fmla="*/ 384412 h 576406"/>
              <a:gd name="connsiteX189" fmla="*/ 92170 w 180472"/>
              <a:gd name="connsiteY189" fmla="*/ 381632 h 576406"/>
              <a:gd name="connsiteX190" fmla="*/ 94880 w 180472"/>
              <a:gd name="connsiteY190" fmla="*/ 396665 h 576406"/>
              <a:gd name="connsiteX191" fmla="*/ 98744 w 180472"/>
              <a:gd name="connsiteY191" fmla="*/ 426685 h 576406"/>
              <a:gd name="connsiteX192" fmla="*/ 94833 w 180472"/>
              <a:gd name="connsiteY192" fmla="*/ 500250 h 576406"/>
              <a:gd name="connsiteX193" fmla="*/ 103787 w 180472"/>
              <a:gd name="connsiteY193" fmla="*/ 530081 h 576406"/>
              <a:gd name="connsiteX194" fmla="*/ 106520 w 180472"/>
              <a:gd name="connsiteY194" fmla="*/ 532508 h 576406"/>
              <a:gd name="connsiteX195" fmla="*/ 108806 w 180472"/>
              <a:gd name="connsiteY195" fmla="*/ 534605 h 576406"/>
              <a:gd name="connsiteX196" fmla="*/ 108759 w 180472"/>
              <a:gd name="connsiteY196" fmla="*/ 540190 h 576406"/>
              <a:gd name="connsiteX197" fmla="*/ 109277 w 180472"/>
              <a:gd name="connsiteY197" fmla="*/ 548790 h 576406"/>
              <a:gd name="connsiteX198" fmla="*/ 117666 w 180472"/>
              <a:gd name="connsiteY198" fmla="*/ 554799 h 576406"/>
              <a:gd name="connsiteX199" fmla="*/ 117383 w 180472"/>
              <a:gd name="connsiteY199" fmla="*/ 558687 h 576406"/>
              <a:gd name="connsiteX200" fmla="*/ 118020 w 180472"/>
              <a:gd name="connsiteY200" fmla="*/ 566981 h 576406"/>
              <a:gd name="connsiteX201" fmla="*/ 141607 w 180472"/>
              <a:gd name="connsiteY201" fmla="*/ 574734 h 576406"/>
              <a:gd name="connsiteX202" fmla="*/ 148534 w 180472"/>
              <a:gd name="connsiteY202" fmla="*/ 574569 h 576406"/>
              <a:gd name="connsiteX203" fmla="*/ 150231 w 180472"/>
              <a:gd name="connsiteY203" fmla="*/ 574498 h 576406"/>
              <a:gd name="connsiteX204" fmla="*/ 150726 w 180472"/>
              <a:gd name="connsiteY204" fmla="*/ 574427 h 576406"/>
              <a:gd name="connsiteX205" fmla="*/ 155816 w 180472"/>
              <a:gd name="connsiteY205" fmla="*/ 562504 h 576406"/>
              <a:gd name="connsiteX206" fmla="*/ 147875 w 180472"/>
              <a:gd name="connsiteY206" fmla="*/ 542782 h 576406"/>
              <a:gd name="connsiteX207" fmla="*/ 140853 w 180472"/>
              <a:gd name="connsiteY207" fmla="*/ 528008 h 576406"/>
              <a:gd name="connsiteX208" fmla="*/ 141277 w 180472"/>
              <a:gd name="connsiteY208" fmla="*/ 522423 h 576406"/>
              <a:gd name="connsiteX209" fmla="*/ 141842 w 180472"/>
              <a:gd name="connsiteY209" fmla="*/ 516297 h 576406"/>
              <a:gd name="connsiteX210" fmla="*/ 142832 w 180472"/>
              <a:gd name="connsiteY210" fmla="*/ 516084 h 576406"/>
              <a:gd name="connsiteX211" fmla="*/ 147498 w 180472"/>
              <a:gd name="connsiteY211" fmla="*/ 510052 h 576406"/>
              <a:gd name="connsiteX212" fmla="*/ 144953 w 180472"/>
              <a:gd name="connsiteY212" fmla="*/ 503808 h 576406"/>
              <a:gd name="connsiteX213" fmla="*/ 143657 w 180472"/>
              <a:gd name="connsiteY213" fmla="*/ 501593 h 576406"/>
              <a:gd name="connsiteX214" fmla="*/ 141960 w 180472"/>
              <a:gd name="connsiteY214" fmla="*/ 486465 h 576406"/>
              <a:gd name="connsiteX215" fmla="*/ 142479 w 180472"/>
              <a:gd name="connsiteY215" fmla="*/ 479443 h 576406"/>
              <a:gd name="connsiteX216" fmla="*/ 141324 w 180472"/>
              <a:gd name="connsiteY216" fmla="*/ 426756 h 576406"/>
              <a:gd name="connsiteX217" fmla="*/ 141395 w 180472"/>
              <a:gd name="connsiteY217" fmla="*/ 423716 h 576406"/>
              <a:gd name="connsiteX218" fmla="*/ 141300 w 180472"/>
              <a:gd name="connsiteY218" fmla="*/ 418626 h 576406"/>
              <a:gd name="connsiteX219" fmla="*/ 139038 w 180472"/>
              <a:gd name="connsiteY219" fmla="*/ 415163 h 576406"/>
              <a:gd name="connsiteX220" fmla="*/ 138096 w 180472"/>
              <a:gd name="connsiteY220" fmla="*/ 414126 h 576406"/>
              <a:gd name="connsiteX221" fmla="*/ 138284 w 180472"/>
              <a:gd name="connsiteY221" fmla="*/ 412995 h 576406"/>
              <a:gd name="connsiteX222" fmla="*/ 138614 w 180472"/>
              <a:gd name="connsiteY222" fmla="*/ 409979 h 576406"/>
              <a:gd name="connsiteX223" fmla="*/ 137954 w 180472"/>
              <a:gd name="connsiteY223" fmla="*/ 405619 h 576406"/>
              <a:gd name="connsiteX224" fmla="*/ 137460 w 180472"/>
              <a:gd name="connsiteY224" fmla="*/ 399422 h 576406"/>
              <a:gd name="connsiteX225" fmla="*/ 137931 w 180472"/>
              <a:gd name="connsiteY225" fmla="*/ 398598 h 576406"/>
              <a:gd name="connsiteX226" fmla="*/ 139109 w 180472"/>
              <a:gd name="connsiteY226" fmla="*/ 396265 h 576406"/>
              <a:gd name="connsiteX227" fmla="*/ 144481 w 180472"/>
              <a:gd name="connsiteY227" fmla="*/ 359035 h 576406"/>
              <a:gd name="connsiteX228" fmla="*/ 146461 w 180472"/>
              <a:gd name="connsiteY228" fmla="*/ 339029 h 576406"/>
              <a:gd name="connsiteX229" fmla="*/ 149312 w 180472"/>
              <a:gd name="connsiteY229" fmla="*/ 325080 h 576406"/>
              <a:gd name="connsiteX230" fmla="*/ 152587 w 180472"/>
              <a:gd name="connsiteY230" fmla="*/ 308185 h 576406"/>
              <a:gd name="connsiteX231" fmla="*/ 153436 w 180472"/>
              <a:gd name="connsiteY231" fmla="*/ 301587 h 576406"/>
              <a:gd name="connsiteX232" fmla="*/ 154779 w 180472"/>
              <a:gd name="connsiteY232" fmla="*/ 289617 h 576406"/>
              <a:gd name="connsiteX233" fmla="*/ 150726 w 180472"/>
              <a:gd name="connsiteY233" fmla="*/ 262472 h 576406"/>
              <a:gd name="connsiteX234" fmla="*/ 147097 w 180472"/>
              <a:gd name="connsiteY234" fmla="*/ 247651 h 576406"/>
              <a:gd name="connsiteX235" fmla="*/ 146814 w 180472"/>
              <a:gd name="connsiteY235" fmla="*/ 243692 h 576406"/>
              <a:gd name="connsiteX236" fmla="*/ 146390 w 180472"/>
              <a:gd name="connsiteY236" fmla="*/ 238555 h 576406"/>
              <a:gd name="connsiteX237" fmla="*/ 149736 w 180472"/>
              <a:gd name="connsiteY237" fmla="*/ 236953 h 576406"/>
              <a:gd name="connsiteX238" fmla="*/ 152729 w 180472"/>
              <a:gd name="connsiteY238" fmla="*/ 235516 h 576406"/>
              <a:gd name="connsiteX239" fmla="*/ 152446 w 180472"/>
              <a:gd name="connsiteY239" fmla="*/ 220341 h 576406"/>
              <a:gd name="connsiteX240" fmla="*/ 153530 w 180472"/>
              <a:gd name="connsiteY240" fmla="*/ 220576 h 576406"/>
              <a:gd name="connsiteX241" fmla="*/ 154685 w 180472"/>
              <a:gd name="connsiteY241" fmla="*/ 220647 h 576406"/>
              <a:gd name="connsiteX242" fmla="*/ 167432 w 180472"/>
              <a:gd name="connsiteY242" fmla="*/ 217796 h 576406"/>
              <a:gd name="connsiteX243" fmla="*/ 180322 w 180472"/>
              <a:gd name="connsiteY243" fmla="*/ 196471 h 576406"/>
              <a:gd name="connsiteX244" fmla="*/ 178130 w 180472"/>
              <a:gd name="connsiteY244" fmla="*/ 186763 h 576406"/>
              <a:gd name="connsiteX245" fmla="*/ 176999 w 180472"/>
              <a:gd name="connsiteY245" fmla="*/ 184242 h 576406"/>
              <a:gd name="connsiteX246" fmla="*/ 177494 w 180472"/>
              <a:gd name="connsiteY246" fmla="*/ 180024 h 576406"/>
              <a:gd name="connsiteX247" fmla="*/ 178107 w 180472"/>
              <a:gd name="connsiteY247" fmla="*/ 174298 h 576406"/>
              <a:gd name="connsiteX248" fmla="*/ 175798 w 180472"/>
              <a:gd name="connsiteY248" fmla="*/ 167960 h 576406"/>
              <a:gd name="connsiteX249" fmla="*/ 174431 w 180472"/>
              <a:gd name="connsiteY249" fmla="*/ 165108 h 576406"/>
              <a:gd name="connsiteX250" fmla="*/ 172805 w 180472"/>
              <a:gd name="connsiteY250" fmla="*/ 154764 h 576406"/>
              <a:gd name="connsiteX251" fmla="*/ 171862 w 180472"/>
              <a:gd name="connsiteY251" fmla="*/ 147342 h 576406"/>
              <a:gd name="connsiteX252" fmla="*/ 171391 w 180472"/>
              <a:gd name="connsiteY252" fmla="*/ 144797 h 576406"/>
              <a:gd name="connsiteX253" fmla="*/ 158148 w 180472"/>
              <a:gd name="connsiteY253" fmla="*/ 99885 h 576406"/>
              <a:gd name="connsiteX254" fmla="*/ 147309 w 180472"/>
              <a:gd name="connsiteY254" fmla="*/ 91873 h 576406"/>
              <a:gd name="connsiteX255" fmla="*/ 133336 w 180472"/>
              <a:gd name="connsiteY255" fmla="*/ 87349 h 576406"/>
              <a:gd name="connsiteX256" fmla="*/ 115263 w 180472"/>
              <a:gd name="connsiteY256" fmla="*/ 80869 h 576406"/>
              <a:gd name="connsiteX257" fmla="*/ 114249 w 180472"/>
              <a:gd name="connsiteY257" fmla="*/ 79338 h 576406"/>
              <a:gd name="connsiteX258" fmla="*/ 114014 w 180472"/>
              <a:gd name="connsiteY258" fmla="*/ 78937 h 576406"/>
              <a:gd name="connsiteX259" fmla="*/ 118373 w 180472"/>
              <a:gd name="connsiteY259" fmla="*/ 72952 h 576406"/>
              <a:gd name="connsiteX260" fmla="*/ 121672 w 180472"/>
              <a:gd name="connsiteY260" fmla="*/ 68428 h 576406"/>
              <a:gd name="connsiteX261" fmla="*/ 132959 w 180472"/>
              <a:gd name="connsiteY261" fmla="*/ 30797 h 576406"/>
              <a:gd name="connsiteX262" fmla="*/ 116087 w 180472"/>
              <a:gd name="connsiteY262" fmla="*/ 2757 h 576406"/>
              <a:gd name="connsiteX263" fmla="*/ 104683 w 180472"/>
              <a:gd name="connsiteY263" fmla="*/ 141 h 576406"/>
              <a:gd name="connsiteX264" fmla="*/ 104683 w 180472"/>
              <a:gd name="connsiteY264" fmla="*/ 141 h 576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</a:cxnLst>
            <a:rect l="l" t="t" r="r" b="b"/>
            <a:pathLst>
              <a:path w="180472" h="576406">
                <a:moveTo>
                  <a:pt x="104588" y="2356"/>
                </a:moveTo>
                <a:cubicBezTo>
                  <a:pt x="108429" y="2356"/>
                  <a:pt x="112081" y="3087"/>
                  <a:pt x="114815" y="4666"/>
                </a:cubicBezTo>
                <a:cubicBezTo>
                  <a:pt x="123533" y="9685"/>
                  <a:pt x="129919" y="20830"/>
                  <a:pt x="130508" y="30821"/>
                </a:cubicBezTo>
                <a:cubicBezTo>
                  <a:pt x="131074" y="40034"/>
                  <a:pt x="124146" y="58979"/>
                  <a:pt x="119528" y="67156"/>
                </a:cubicBezTo>
                <a:cubicBezTo>
                  <a:pt x="118279" y="69370"/>
                  <a:pt x="111021" y="77688"/>
                  <a:pt x="111327" y="79126"/>
                </a:cubicBezTo>
                <a:cubicBezTo>
                  <a:pt x="112034" y="80115"/>
                  <a:pt x="112718" y="81647"/>
                  <a:pt x="113566" y="82472"/>
                </a:cubicBezTo>
                <a:cubicBezTo>
                  <a:pt x="117855" y="86525"/>
                  <a:pt x="139274" y="90578"/>
                  <a:pt x="146202" y="93900"/>
                </a:cubicBezTo>
                <a:cubicBezTo>
                  <a:pt x="148063" y="94795"/>
                  <a:pt x="155014" y="99814"/>
                  <a:pt x="156240" y="101299"/>
                </a:cubicBezTo>
                <a:cubicBezTo>
                  <a:pt x="162790" y="109122"/>
                  <a:pt x="167432" y="136738"/>
                  <a:pt x="169435" y="147671"/>
                </a:cubicBezTo>
                <a:cubicBezTo>
                  <a:pt x="170472" y="153303"/>
                  <a:pt x="170472" y="160278"/>
                  <a:pt x="172075" y="165697"/>
                </a:cubicBezTo>
                <a:cubicBezTo>
                  <a:pt x="172946" y="168666"/>
                  <a:pt x="175397" y="170834"/>
                  <a:pt x="175680" y="174392"/>
                </a:cubicBezTo>
                <a:cubicBezTo>
                  <a:pt x="175939" y="177621"/>
                  <a:pt x="174266" y="181414"/>
                  <a:pt x="174572" y="184383"/>
                </a:cubicBezTo>
                <a:cubicBezTo>
                  <a:pt x="174949" y="187965"/>
                  <a:pt x="178790" y="189355"/>
                  <a:pt x="177895" y="196047"/>
                </a:cubicBezTo>
                <a:cubicBezTo>
                  <a:pt x="177353" y="200241"/>
                  <a:pt x="170001" y="213531"/>
                  <a:pt x="166207" y="215605"/>
                </a:cubicBezTo>
                <a:cubicBezTo>
                  <a:pt x="164063" y="216783"/>
                  <a:pt x="157724" y="218173"/>
                  <a:pt x="154590" y="218173"/>
                </a:cubicBezTo>
                <a:cubicBezTo>
                  <a:pt x="154260" y="218173"/>
                  <a:pt x="153978" y="218173"/>
                  <a:pt x="153742" y="218126"/>
                </a:cubicBezTo>
                <a:cubicBezTo>
                  <a:pt x="152587" y="217985"/>
                  <a:pt x="151716" y="217231"/>
                  <a:pt x="150490" y="217231"/>
                </a:cubicBezTo>
                <a:cubicBezTo>
                  <a:pt x="150043" y="217231"/>
                  <a:pt x="149548" y="217325"/>
                  <a:pt x="148982" y="217608"/>
                </a:cubicBezTo>
                <a:cubicBezTo>
                  <a:pt x="150043" y="221189"/>
                  <a:pt x="154378" y="230709"/>
                  <a:pt x="151079" y="233654"/>
                </a:cubicBezTo>
                <a:cubicBezTo>
                  <a:pt x="149901" y="234715"/>
                  <a:pt x="143892" y="235327"/>
                  <a:pt x="143916" y="238532"/>
                </a:cubicBezTo>
                <a:cubicBezTo>
                  <a:pt x="144552" y="241595"/>
                  <a:pt x="144199" y="244870"/>
                  <a:pt x="144670" y="247910"/>
                </a:cubicBezTo>
                <a:cubicBezTo>
                  <a:pt x="147003" y="263038"/>
                  <a:pt x="153436" y="272157"/>
                  <a:pt x="152328" y="289381"/>
                </a:cubicBezTo>
                <a:cubicBezTo>
                  <a:pt x="151951" y="295414"/>
                  <a:pt x="150820" y="301894"/>
                  <a:pt x="150137" y="307832"/>
                </a:cubicBezTo>
                <a:cubicBezTo>
                  <a:pt x="148935" y="318576"/>
                  <a:pt x="145471" y="328308"/>
                  <a:pt x="144034" y="338605"/>
                </a:cubicBezTo>
                <a:cubicBezTo>
                  <a:pt x="141442" y="357315"/>
                  <a:pt x="141889" y="377014"/>
                  <a:pt x="136753" y="395534"/>
                </a:cubicBezTo>
                <a:cubicBezTo>
                  <a:pt x="136399" y="396807"/>
                  <a:pt x="135292" y="397726"/>
                  <a:pt x="135080" y="398880"/>
                </a:cubicBezTo>
                <a:cubicBezTo>
                  <a:pt x="134373" y="402556"/>
                  <a:pt x="135975" y="406444"/>
                  <a:pt x="136211" y="410026"/>
                </a:cubicBezTo>
                <a:cubicBezTo>
                  <a:pt x="136305" y="411605"/>
                  <a:pt x="135551" y="413278"/>
                  <a:pt x="135716" y="414385"/>
                </a:cubicBezTo>
                <a:cubicBezTo>
                  <a:pt x="135999" y="416294"/>
                  <a:pt x="138614" y="417213"/>
                  <a:pt x="138944" y="418980"/>
                </a:cubicBezTo>
                <a:cubicBezTo>
                  <a:pt x="139345" y="421148"/>
                  <a:pt x="138803" y="424423"/>
                  <a:pt x="138944" y="426803"/>
                </a:cubicBezTo>
                <a:cubicBezTo>
                  <a:pt x="139957" y="444193"/>
                  <a:pt x="140523" y="461771"/>
                  <a:pt x="140099" y="479302"/>
                </a:cubicBezTo>
                <a:cubicBezTo>
                  <a:pt x="139887" y="488468"/>
                  <a:pt x="137483" y="493487"/>
                  <a:pt x="141489" y="502441"/>
                </a:cubicBezTo>
                <a:cubicBezTo>
                  <a:pt x="142573" y="504868"/>
                  <a:pt x="145047" y="507201"/>
                  <a:pt x="145118" y="510005"/>
                </a:cubicBezTo>
                <a:cubicBezTo>
                  <a:pt x="145259" y="514600"/>
                  <a:pt x="142502" y="512998"/>
                  <a:pt x="140429" y="514247"/>
                </a:cubicBezTo>
                <a:cubicBezTo>
                  <a:pt x="138143" y="515637"/>
                  <a:pt x="139439" y="524991"/>
                  <a:pt x="138426" y="527772"/>
                </a:cubicBezTo>
                <a:cubicBezTo>
                  <a:pt x="140735" y="540449"/>
                  <a:pt x="152917" y="549639"/>
                  <a:pt x="153459" y="562481"/>
                </a:cubicBezTo>
                <a:cubicBezTo>
                  <a:pt x="153577" y="565238"/>
                  <a:pt x="153412" y="571199"/>
                  <a:pt x="150137" y="572024"/>
                </a:cubicBezTo>
                <a:cubicBezTo>
                  <a:pt x="148016" y="572095"/>
                  <a:pt x="144953" y="572236"/>
                  <a:pt x="141583" y="572236"/>
                </a:cubicBezTo>
                <a:cubicBezTo>
                  <a:pt x="133218" y="572236"/>
                  <a:pt x="122921" y="571293"/>
                  <a:pt x="120093" y="565756"/>
                </a:cubicBezTo>
                <a:cubicBezTo>
                  <a:pt x="118020" y="561727"/>
                  <a:pt x="121153" y="556637"/>
                  <a:pt x="119528" y="552466"/>
                </a:cubicBezTo>
                <a:cubicBezTo>
                  <a:pt x="119433" y="552466"/>
                  <a:pt x="119363" y="552466"/>
                  <a:pt x="119268" y="552466"/>
                </a:cubicBezTo>
                <a:cubicBezTo>
                  <a:pt x="116582" y="552466"/>
                  <a:pt x="112411" y="549921"/>
                  <a:pt x="111375" y="547659"/>
                </a:cubicBezTo>
                <a:cubicBezTo>
                  <a:pt x="110079" y="544808"/>
                  <a:pt x="111822" y="536985"/>
                  <a:pt x="110974" y="533545"/>
                </a:cubicBezTo>
                <a:cubicBezTo>
                  <a:pt x="109654" y="531306"/>
                  <a:pt x="107180" y="530293"/>
                  <a:pt x="105531" y="528385"/>
                </a:cubicBezTo>
                <a:cubicBezTo>
                  <a:pt x="101878" y="524143"/>
                  <a:pt x="97566" y="505834"/>
                  <a:pt x="97142" y="499944"/>
                </a:cubicBezTo>
                <a:cubicBezTo>
                  <a:pt x="95493" y="477064"/>
                  <a:pt x="97260" y="449212"/>
                  <a:pt x="101077" y="426756"/>
                </a:cubicBezTo>
                <a:cubicBezTo>
                  <a:pt x="101219" y="411063"/>
                  <a:pt x="96671" y="396241"/>
                  <a:pt x="94432" y="380902"/>
                </a:cubicBezTo>
                <a:cubicBezTo>
                  <a:pt x="93796" y="376542"/>
                  <a:pt x="94220" y="371877"/>
                  <a:pt x="93773" y="367612"/>
                </a:cubicBezTo>
                <a:cubicBezTo>
                  <a:pt x="93725" y="367093"/>
                  <a:pt x="93537" y="365609"/>
                  <a:pt x="92783" y="365609"/>
                </a:cubicBezTo>
                <a:cubicBezTo>
                  <a:pt x="92759" y="365609"/>
                  <a:pt x="92736" y="365609"/>
                  <a:pt x="92712" y="365609"/>
                </a:cubicBezTo>
                <a:cubicBezTo>
                  <a:pt x="88966" y="374964"/>
                  <a:pt x="90238" y="384601"/>
                  <a:pt x="88801" y="394356"/>
                </a:cubicBezTo>
                <a:cubicBezTo>
                  <a:pt x="88353" y="397372"/>
                  <a:pt x="86586" y="401496"/>
                  <a:pt x="86539" y="403852"/>
                </a:cubicBezTo>
                <a:cubicBezTo>
                  <a:pt x="86468" y="408046"/>
                  <a:pt x="88212" y="413490"/>
                  <a:pt x="88282" y="417802"/>
                </a:cubicBezTo>
                <a:cubicBezTo>
                  <a:pt x="88376" y="423858"/>
                  <a:pt x="87528" y="430597"/>
                  <a:pt x="87670" y="436841"/>
                </a:cubicBezTo>
                <a:cubicBezTo>
                  <a:pt x="88212" y="459697"/>
                  <a:pt x="92076" y="482789"/>
                  <a:pt x="83499" y="504656"/>
                </a:cubicBezTo>
                <a:cubicBezTo>
                  <a:pt x="82768" y="506541"/>
                  <a:pt x="78763" y="513869"/>
                  <a:pt x="78810" y="515024"/>
                </a:cubicBezTo>
                <a:cubicBezTo>
                  <a:pt x="78880" y="517663"/>
                  <a:pt x="85030" y="520774"/>
                  <a:pt x="85360" y="524096"/>
                </a:cubicBezTo>
                <a:cubicBezTo>
                  <a:pt x="85737" y="527890"/>
                  <a:pt x="80577" y="529728"/>
                  <a:pt x="80011" y="532461"/>
                </a:cubicBezTo>
                <a:cubicBezTo>
                  <a:pt x="79776" y="533639"/>
                  <a:pt x="80860" y="536373"/>
                  <a:pt x="81001" y="537928"/>
                </a:cubicBezTo>
                <a:cubicBezTo>
                  <a:pt x="81166" y="539766"/>
                  <a:pt x="81755" y="545397"/>
                  <a:pt x="81543" y="546811"/>
                </a:cubicBezTo>
                <a:cubicBezTo>
                  <a:pt x="81001" y="550723"/>
                  <a:pt x="75322" y="553550"/>
                  <a:pt x="71151" y="553550"/>
                </a:cubicBezTo>
                <a:cubicBezTo>
                  <a:pt x="70515" y="553550"/>
                  <a:pt x="69926" y="553479"/>
                  <a:pt x="69384" y="553362"/>
                </a:cubicBezTo>
                <a:cubicBezTo>
                  <a:pt x="66321" y="559912"/>
                  <a:pt x="71976" y="563635"/>
                  <a:pt x="65402" y="569196"/>
                </a:cubicBezTo>
                <a:cubicBezTo>
                  <a:pt x="61349" y="572660"/>
                  <a:pt x="57084" y="573555"/>
                  <a:pt x="52018" y="573932"/>
                </a:cubicBezTo>
                <a:lnTo>
                  <a:pt x="45326" y="573932"/>
                </a:lnTo>
                <a:cubicBezTo>
                  <a:pt x="40754" y="572000"/>
                  <a:pt x="34157" y="575464"/>
                  <a:pt x="34133" y="568631"/>
                </a:cubicBezTo>
                <a:cubicBezTo>
                  <a:pt x="34133" y="566298"/>
                  <a:pt x="34463" y="561491"/>
                  <a:pt x="34769" y="559182"/>
                </a:cubicBezTo>
                <a:cubicBezTo>
                  <a:pt x="35429" y="554328"/>
                  <a:pt x="45915" y="542263"/>
                  <a:pt x="48884" y="537032"/>
                </a:cubicBezTo>
                <a:cubicBezTo>
                  <a:pt x="49850" y="535336"/>
                  <a:pt x="50816" y="533592"/>
                  <a:pt x="51452" y="531707"/>
                </a:cubicBezTo>
                <a:cubicBezTo>
                  <a:pt x="51523" y="530529"/>
                  <a:pt x="47988" y="526005"/>
                  <a:pt x="47423" y="524072"/>
                </a:cubicBezTo>
                <a:cubicBezTo>
                  <a:pt x="46834" y="522046"/>
                  <a:pt x="46622" y="517263"/>
                  <a:pt x="47234" y="515260"/>
                </a:cubicBezTo>
                <a:cubicBezTo>
                  <a:pt x="47847" y="513257"/>
                  <a:pt x="51146" y="512032"/>
                  <a:pt x="50910" y="509416"/>
                </a:cubicBezTo>
                <a:cubicBezTo>
                  <a:pt x="47541" y="485146"/>
                  <a:pt x="48342" y="460216"/>
                  <a:pt x="48672" y="435686"/>
                </a:cubicBezTo>
                <a:cubicBezTo>
                  <a:pt x="48813" y="425860"/>
                  <a:pt x="48248" y="413702"/>
                  <a:pt x="49261" y="403946"/>
                </a:cubicBezTo>
                <a:cubicBezTo>
                  <a:pt x="49496" y="401637"/>
                  <a:pt x="50628" y="399352"/>
                  <a:pt x="50863" y="397184"/>
                </a:cubicBezTo>
                <a:cubicBezTo>
                  <a:pt x="51924" y="387240"/>
                  <a:pt x="46056" y="377720"/>
                  <a:pt x="44265" y="368036"/>
                </a:cubicBezTo>
                <a:cubicBezTo>
                  <a:pt x="42804" y="360142"/>
                  <a:pt x="42498" y="352084"/>
                  <a:pt x="41320" y="344190"/>
                </a:cubicBezTo>
                <a:cubicBezTo>
                  <a:pt x="37950" y="321475"/>
                  <a:pt x="29962" y="289311"/>
                  <a:pt x="34840" y="267185"/>
                </a:cubicBezTo>
                <a:cubicBezTo>
                  <a:pt x="35806" y="262778"/>
                  <a:pt x="38916" y="258325"/>
                  <a:pt x="40000" y="253942"/>
                </a:cubicBezTo>
                <a:cubicBezTo>
                  <a:pt x="41037" y="249795"/>
                  <a:pt x="41273" y="245106"/>
                  <a:pt x="41414" y="240865"/>
                </a:cubicBezTo>
                <a:cubicBezTo>
                  <a:pt x="41226" y="239804"/>
                  <a:pt x="33285" y="240417"/>
                  <a:pt x="32978" y="239050"/>
                </a:cubicBezTo>
                <a:cubicBezTo>
                  <a:pt x="32130" y="235304"/>
                  <a:pt x="38092" y="233065"/>
                  <a:pt x="38587" y="229036"/>
                </a:cubicBezTo>
                <a:cubicBezTo>
                  <a:pt x="38964" y="225996"/>
                  <a:pt x="36631" y="219516"/>
                  <a:pt x="36890" y="215982"/>
                </a:cubicBezTo>
                <a:cubicBezTo>
                  <a:pt x="36843" y="215935"/>
                  <a:pt x="36701" y="215911"/>
                  <a:pt x="36466" y="215911"/>
                </a:cubicBezTo>
                <a:cubicBezTo>
                  <a:pt x="34651" y="215911"/>
                  <a:pt x="27889" y="216971"/>
                  <a:pt x="26710" y="217160"/>
                </a:cubicBezTo>
                <a:cubicBezTo>
                  <a:pt x="23859" y="217584"/>
                  <a:pt x="20820" y="218739"/>
                  <a:pt x="17945" y="218739"/>
                </a:cubicBezTo>
                <a:cubicBezTo>
                  <a:pt x="17191" y="218739"/>
                  <a:pt x="16460" y="218668"/>
                  <a:pt x="15730" y="218479"/>
                </a:cubicBezTo>
                <a:cubicBezTo>
                  <a:pt x="13185" y="217796"/>
                  <a:pt x="7459" y="210774"/>
                  <a:pt x="5739" y="208394"/>
                </a:cubicBezTo>
                <a:cubicBezTo>
                  <a:pt x="4089" y="206132"/>
                  <a:pt x="3029" y="204860"/>
                  <a:pt x="2369" y="201985"/>
                </a:cubicBezTo>
                <a:cubicBezTo>
                  <a:pt x="2511" y="200383"/>
                  <a:pt x="2181" y="198521"/>
                  <a:pt x="2369" y="196966"/>
                </a:cubicBezTo>
                <a:cubicBezTo>
                  <a:pt x="2605" y="195152"/>
                  <a:pt x="3830" y="192677"/>
                  <a:pt x="4042" y="190533"/>
                </a:cubicBezTo>
                <a:cubicBezTo>
                  <a:pt x="6351" y="165226"/>
                  <a:pt x="3948" y="127878"/>
                  <a:pt x="15659" y="104975"/>
                </a:cubicBezTo>
                <a:cubicBezTo>
                  <a:pt x="23883" y="88905"/>
                  <a:pt x="43276" y="89234"/>
                  <a:pt x="58309" y="83485"/>
                </a:cubicBezTo>
                <a:cubicBezTo>
                  <a:pt x="62739" y="79102"/>
                  <a:pt x="63611" y="68899"/>
                  <a:pt x="70939" y="68876"/>
                </a:cubicBezTo>
                <a:cubicBezTo>
                  <a:pt x="71458" y="68876"/>
                  <a:pt x="72023" y="68923"/>
                  <a:pt x="72612" y="69041"/>
                </a:cubicBezTo>
                <a:cubicBezTo>
                  <a:pt x="72400" y="63032"/>
                  <a:pt x="73437" y="57000"/>
                  <a:pt x="74827" y="51180"/>
                </a:cubicBezTo>
                <a:cubicBezTo>
                  <a:pt x="74285" y="51368"/>
                  <a:pt x="73743" y="51462"/>
                  <a:pt x="73249" y="51462"/>
                </a:cubicBezTo>
                <a:cubicBezTo>
                  <a:pt x="68960" y="51462"/>
                  <a:pt x="66792" y="44723"/>
                  <a:pt x="67028" y="40859"/>
                </a:cubicBezTo>
                <a:cubicBezTo>
                  <a:pt x="67169" y="38361"/>
                  <a:pt x="69879" y="28088"/>
                  <a:pt x="73531" y="28088"/>
                </a:cubicBezTo>
                <a:cubicBezTo>
                  <a:pt x="74050" y="28088"/>
                  <a:pt x="74615" y="28300"/>
                  <a:pt x="75157" y="28794"/>
                </a:cubicBezTo>
                <a:cubicBezTo>
                  <a:pt x="76053" y="29572"/>
                  <a:pt x="75464" y="31056"/>
                  <a:pt x="76477" y="31080"/>
                </a:cubicBezTo>
                <a:cubicBezTo>
                  <a:pt x="77184" y="24365"/>
                  <a:pt x="81755" y="12677"/>
                  <a:pt x="86774" y="8176"/>
                </a:cubicBezTo>
                <a:cubicBezTo>
                  <a:pt x="90827" y="4548"/>
                  <a:pt x="97967" y="2427"/>
                  <a:pt x="104541" y="2427"/>
                </a:cubicBezTo>
                <a:moveTo>
                  <a:pt x="104588" y="0"/>
                </a:moveTo>
                <a:cubicBezTo>
                  <a:pt x="97166" y="0"/>
                  <a:pt x="89578" y="2498"/>
                  <a:pt x="85266" y="6339"/>
                </a:cubicBezTo>
                <a:cubicBezTo>
                  <a:pt x="80648" y="10462"/>
                  <a:pt x="76854" y="19157"/>
                  <a:pt x="75110" y="25943"/>
                </a:cubicBezTo>
                <a:cubicBezTo>
                  <a:pt x="74615" y="25755"/>
                  <a:pt x="74097" y="25660"/>
                  <a:pt x="73579" y="25660"/>
                </a:cubicBezTo>
                <a:cubicBezTo>
                  <a:pt x="66839" y="25660"/>
                  <a:pt x="64742" y="40505"/>
                  <a:pt x="64719" y="40670"/>
                </a:cubicBezTo>
                <a:cubicBezTo>
                  <a:pt x="64530" y="43946"/>
                  <a:pt x="65708" y="48705"/>
                  <a:pt x="68300" y="51486"/>
                </a:cubicBezTo>
                <a:cubicBezTo>
                  <a:pt x="69361" y="52593"/>
                  <a:pt x="70562" y="53324"/>
                  <a:pt x="71882" y="53630"/>
                </a:cubicBezTo>
                <a:cubicBezTo>
                  <a:pt x="70869" y="58437"/>
                  <a:pt x="70327" y="62631"/>
                  <a:pt x="70256" y="66519"/>
                </a:cubicBezTo>
                <a:cubicBezTo>
                  <a:pt x="64601" y="66920"/>
                  <a:pt x="62103" y="72033"/>
                  <a:pt x="60077" y="76180"/>
                </a:cubicBezTo>
                <a:cubicBezTo>
                  <a:pt x="59087" y="78207"/>
                  <a:pt x="58144" y="80139"/>
                  <a:pt x="56990" y="81435"/>
                </a:cubicBezTo>
                <a:cubicBezTo>
                  <a:pt x="53149" y="82849"/>
                  <a:pt x="48907" y="83933"/>
                  <a:pt x="44807" y="84969"/>
                </a:cubicBezTo>
                <a:cubicBezTo>
                  <a:pt x="32625" y="88033"/>
                  <a:pt x="20042" y="91214"/>
                  <a:pt x="13585" y="103867"/>
                </a:cubicBezTo>
                <a:cubicBezTo>
                  <a:pt x="4702" y="121257"/>
                  <a:pt x="3736" y="146470"/>
                  <a:pt x="2888" y="168690"/>
                </a:cubicBezTo>
                <a:cubicBezTo>
                  <a:pt x="2581" y="176442"/>
                  <a:pt x="2322" y="183771"/>
                  <a:pt x="1733" y="190274"/>
                </a:cubicBezTo>
                <a:cubicBezTo>
                  <a:pt x="1662" y="191169"/>
                  <a:pt x="1285" y="192300"/>
                  <a:pt x="932" y="193384"/>
                </a:cubicBezTo>
                <a:cubicBezTo>
                  <a:pt x="578" y="194468"/>
                  <a:pt x="225" y="195576"/>
                  <a:pt x="84" y="196613"/>
                </a:cubicBezTo>
                <a:cubicBezTo>
                  <a:pt x="-58" y="197649"/>
                  <a:pt x="13" y="198686"/>
                  <a:pt x="60" y="199676"/>
                </a:cubicBezTo>
                <a:cubicBezTo>
                  <a:pt x="107" y="200430"/>
                  <a:pt x="131" y="201137"/>
                  <a:pt x="60" y="201749"/>
                </a:cubicBezTo>
                <a:cubicBezTo>
                  <a:pt x="60" y="201985"/>
                  <a:pt x="60" y="202221"/>
                  <a:pt x="107" y="202456"/>
                </a:cubicBezTo>
                <a:cubicBezTo>
                  <a:pt x="814" y="205590"/>
                  <a:pt x="1969" y="207193"/>
                  <a:pt x="3477" y="209219"/>
                </a:cubicBezTo>
                <a:lnTo>
                  <a:pt x="3877" y="209761"/>
                </a:lnTo>
                <a:cubicBezTo>
                  <a:pt x="4184" y="210162"/>
                  <a:pt x="11158" y="219658"/>
                  <a:pt x="15164" y="220741"/>
                </a:cubicBezTo>
                <a:cubicBezTo>
                  <a:pt x="16060" y="220977"/>
                  <a:pt x="16979" y="221095"/>
                  <a:pt x="17968" y="221095"/>
                </a:cubicBezTo>
                <a:cubicBezTo>
                  <a:pt x="20018" y="221095"/>
                  <a:pt x="22021" y="220600"/>
                  <a:pt x="23953" y="220152"/>
                </a:cubicBezTo>
                <a:cubicBezTo>
                  <a:pt x="25061" y="219893"/>
                  <a:pt x="26098" y="219634"/>
                  <a:pt x="27087" y="219493"/>
                </a:cubicBezTo>
                <a:lnTo>
                  <a:pt x="27771" y="219398"/>
                </a:lnTo>
                <a:cubicBezTo>
                  <a:pt x="30858" y="218927"/>
                  <a:pt x="33143" y="218597"/>
                  <a:pt x="34675" y="218432"/>
                </a:cubicBezTo>
                <a:cubicBezTo>
                  <a:pt x="34840" y="219940"/>
                  <a:pt x="35193" y="221566"/>
                  <a:pt x="35500" y="223168"/>
                </a:cubicBezTo>
                <a:cubicBezTo>
                  <a:pt x="35924" y="225242"/>
                  <a:pt x="36419" y="227622"/>
                  <a:pt x="36277" y="228753"/>
                </a:cubicBezTo>
                <a:cubicBezTo>
                  <a:pt x="36136" y="229860"/>
                  <a:pt x="35052" y="230991"/>
                  <a:pt x="33897" y="232217"/>
                </a:cubicBezTo>
                <a:cubicBezTo>
                  <a:pt x="32154" y="234055"/>
                  <a:pt x="29962" y="236340"/>
                  <a:pt x="30716" y="239592"/>
                </a:cubicBezTo>
                <a:cubicBezTo>
                  <a:pt x="31258" y="242019"/>
                  <a:pt x="34015" y="242208"/>
                  <a:pt x="37479" y="242467"/>
                </a:cubicBezTo>
                <a:cubicBezTo>
                  <a:pt x="37927" y="242490"/>
                  <a:pt x="38492" y="242538"/>
                  <a:pt x="39011" y="242585"/>
                </a:cubicBezTo>
                <a:cubicBezTo>
                  <a:pt x="38846" y="246284"/>
                  <a:pt x="38563" y="250078"/>
                  <a:pt x="37738" y="253377"/>
                </a:cubicBezTo>
                <a:cubicBezTo>
                  <a:pt x="37267" y="255285"/>
                  <a:pt x="36348" y="257265"/>
                  <a:pt x="35358" y="259362"/>
                </a:cubicBezTo>
                <a:cubicBezTo>
                  <a:pt x="34251" y="261718"/>
                  <a:pt x="33120" y="264169"/>
                  <a:pt x="32554" y="266690"/>
                </a:cubicBezTo>
                <a:cubicBezTo>
                  <a:pt x="28596" y="284622"/>
                  <a:pt x="32766" y="308326"/>
                  <a:pt x="36442" y="329227"/>
                </a:cubicBezTo>
                <a:cubicBezTo>
                  <a:pt x="37408" y="334670"/>
                  <a:pt x="38304" y="339831"/>
                  <a:pt x="39011" y="344567"/>
                </a:cubicBezTo>
                <a:cubicBezTo>
                  <a:pt x="39505" y="347913"/>
                  <a:pt x="39859" y="351377"/>
                  <a:pt x="40189" y="354723"/>
                </a:cubicBezTo>
                <a:cubicBezTo>
                  <a:pt x="40637" y="359247"/>
                  <a:pt x="41108" y="363912"/>
                  <a:pt x="41956" y="368507"/>
                </a:cubicBezTo>
                <a:cubicBezTo>
                  <a:pt x="42639" y="372254"/>
                  <a:pt x="43912" y="375953"/>
                  <a:pt x="45137" y="379535"/>
                </a:cubicBezTo>
                <a:cubicBezTo>
                  <a:pt x="47187" y="385543"/>
                  <a:pt x="49143" y="391222"/>
                  <a:pt x="48530" y="396972"/>
                </a:cubicBezTo>
                <a:cubicBezTo>
                  <a:pt x="48436" y="397820"/>
                  <a:pt x="48153" y="398786"/>
                  <a:pt x="47847" y="399799"/>
                </a:cubicBezTo>
                <a:cubicBezTo>
                  <a:pt x="47470" y="401048"/>
                  <a:pt x="47069" y="402344"/>
                  <a:pt x="46928" y="403734"/>
                </a:cubicBezTo>
                <a:cubicBezTo>
                  <a:pt x="46198" y="410709"/>
                  <a:pt x="46245" y="418674"/>
                  <a:pt x="46315" y="426402"/>
                </a:cubicBezTo>
                <a:cubicBezTo>
                  <a:pt x="46315" y="429678"/>
                  <a:pt x="46363" y="432788"/>
                  <a:pt x="46315" y="435710"/>
                </a:cubicBezTo>
                <a:cubicBezTo>
                  <a:pt x="46292" y="438208"/>
                  <a:pt x="46245" y="440705"/>
                  <a:pt x="46198" y="443203"/>
                </a:cubicBezTo>
                <a:cubicBezTo>
                  <a:pt x="45868" y="465117"/>
                  <a:pt x="45514" y="487761"/>
                  <a:pt x="48554" y="509722"/>
                </a:cubicBezTo>
                <a:cubicBezTo>
                  <a:pt x="48554" y="510123"/>
                  <a:pt x="48036" y="510665"/>
                  <a:pt x="47258" y="511419"/>
                </a:cubicBezTo>
                <a:cubicBezTo>
                  <a:pt x="46386" y="512267"/>
                  <a:pt x="45396" y="513233"/>
                  <a:pt x="44949" y="514647"/>
                </a:cubicBezTo>
                <a:cubicBezTo>
                  <a:pt x="44195" y="517121"/>
                  <a:pt x="44407" y="522399"/>
                  <a:pt x="45114" y="524826"/>
                </a:cubicBezTo>
                <a:cubicBezTo>
                  <a:pt x="45467" y="526052"/>
                  <a:pt x="46433" y="527607"/>
                  <a:pt x="47470" y="529256"/>
                </a:cubicBezTo>
                <a:cubicBezTo>
                  <a:pt x="47941" y="530010"/>
                  <a:pt x="48625" y="531094"/>
                  <a:pt x="48931" y="531731"/>
                </a:cubicBezTo>
                <a:cubicBezTo>
                  <a:pt x="48389" y="533121"/>
                  <a:pt x="47635" y="534464"/>
                  <a:pt x="46810" y="535948"/>
                </a:cubicBezTo>
                <a:cubicBezTo>
                  <a:pt x="45821" y="537692"/>
                  <a:pt x="43841" y="540378"/>
                  <a:pt x="41744" y="543253"/>
                </a:cubicBezTo>
                <a:cubicBezTo>
                  <a:pt x="36584" y="550275"/>
                  <a:pt x="32884" y="555506"/>
                  <a:pt x="32413" y="558970"/>
                </a:cubicBezTo>
                <a:cubicBezTo>
                  <a:pt x="32107" y="561255"/>
                  <a:pt x="31729" y="566227"/>
                  <a:pt x="31753" y="568749"/>
                </a:cubicBezTo>
                <a:cubicBezTo>
                  <a:pt x="31777" y="575535"/>
                  <a:pt x="37055" y="575629"/>
                  <a:pt x="40189" y="575676"/>
                </a:cubicBezTo>
                <a:cubicBezTo>
                  <a:pt x="41673" y="575700"/>
                  <a:pt x="43229" y="575723"/>
                  <a:pt x="44383" y="576218"/>
                </a:cubicBezTo>
                <a:cubicBezTo>
                  <a:pt x="44666" y="576336"/>
                  <a:pt x="44996" y="576407"/>
                  <a:pt x="45302" y="576407"/>
                </a:cubicBezTo>
                <a:lnTo>
                  <a:pt x="51994" y="576407"/>
                </a:lnTo>
                <a:cubicBezTo>
                  <a:pt x="51994" y="576407"/>
                  <a:pt x="52112" y="576407"/>
                  <a:pt x="52183" y="576407"/>
                </a:cubicBezTo>
                <a:cubicBezTo>
                  <a:pt x="57791" y="575982"/>
                  <a:pt x="62433" y="574922"/>
                  <a:pt x="66910" y="571105"/>
                </a:cubicBezTo>
                <a:cubicBezTo>
                  <a:pt x="71670" y="567052"/>
                  <a:pt x="71246" y="563329"/>
                  <a:pt x="70892" y="560313"/>
                </a:cubicBezTo>
                <a:cubicBezTo>
                  <a:pt x="70727" y="558828"/>
                  <a:pt x="70586" y="557509"/>
                  <a:pt x="70939" y="556024"/>
                </a:cubicBezTo>
                <a:cubicBezTo>
                  <a:pt x="71010" y="556024"/>
                  <a:pt x="71057" y="556024"/>
                  <a:pt x="71128" y="556024"/>
                </a:cubicBezTo>
                <a:cubicBezTo>
                  <a:pt x="76571" y="556024"/>
                  <a:pt x="83145" y="552419"/>
                  <a:pt x="83852" y="547235"/>
                </a:cubicBezTo>
                <a:cubicBezTo>
                  <a:pt x="84017" y="545986"/>
                  <a:pt x="83829" y="543159"/>
                  <a:pt x="83405" y="538682"/>
                </a:cubicBezTo>
                <a:lnTo>
                  <a:pt x="83334" y="537810"/>
                </a:lnTo>
                <a:cubicBezTo>
                  <a:pt x="83263" y="536985"/>
                  <a:pt x="83004" y="536043"/>
                  <a:pt x="82768" y="535124"/>
                </a:cubicBezTo>
                <a:cubicBezTo>
                  <a:pt x="82580" y="534440"/>
                  <a:pt x="82297" y="533309"/>
                  <a:pt x="82321" y="532932"/>
                </a:cubicBezTo>
                <a:cubicBezTo>
                  <a:pt x="82391" y="532602"/>
                  <a:pt x="83381" y="531683"/>
                  <a:pt x="84017" y="531071"/>
                </a:cubicBezTo>
                <a:cubicBezTo>
                  <a:pt x="85714" y="529468"/>
                  <a:pt x="88023" y="527301"/>
                  <a:pt x="87693" y="523955"/>
                </a:cubicBezTo>
                <a:cubicBezTo>
                  <a:pt x="87434" y="521363"/>
                  <a:pt x="85313" y="519313"/>
                  <a:pt x="83428" y="517522"/>
                </a:cubicBezTo>
                <a:cubicBezTo>
                  <a:pt x="82698" y="516838"/>
                  <a:pt x="81543" y="515707"/>
                  <a:pt x="81213" y="515118"/>
                </a:cubicBezTo>
                <a:cubicBezTo>
                  <a:pt x="81590" y="514011"/>
                  <a:pt x="83051" y="511113"/>
                  <a:pt x="83852" y="509487"/>
                </a:cubicBezTo>
                <a:cubicBezTo>
                  <a:pt x="84677" y="507837"/>
                  <a:pt x="85384" y="506423"/>
                  <a:pt x="85690" y="505622"/>
                </a:cubicBezTo>
                <a:cubicBezTo>
                  <a:pt x="92641" y="487903"/>
                  <a:pt x="91652" y="469288"/>
                  <a:pt x="90662" y="451309"/>
                </a:cubicBezTo>
                <a:cubicBezTo>
                  <a:pt x="90403" y="446573"/>
                  <a:pt x="90144" y="441671"/>
                  <a:pt x="90026" y="436888"/>
                </a:cubicBezTo>
                <a:cubicBezTo>
                  <a:pt x="89955" y="433754"/>
                  <a:pt x="90144" y="430408"/>
                  <a:pt x="90332" y="427156"/>
                </a:cubicBezTo>
                <a:cubicBezTo>
                  <a:pt x="90497" y="424070"/>
                  <a:pt x="90686" y="420889"/>
                  <a:pt x="90639" y="417872"/>
                </a:cubicBezTo>
                <a:cubicBezTo>
                  <a:pt x="90615" y="415610"/>
                  <a:pt x="90167" y="413160"/>
                  <a:pt x="89720" y="410780"/>
                </a:cubicBezTo>
                <a:cubicBezTo>
                  <a:pt x="89295" y="408424"/>
                  <a:pt x="88848" y="405973"/>
                  <a:pt x="88895" y="404017"/>
                </a:cubicBezTo>
                <a:cubicBezTo>
                  <a:pt x="88895" y="403051"/>
                  <a:pt x="89437" y="401331"/>
                  <a:pt x="89932" y="399658"/>
                </a:cubicBezTo>
                <a:cubicBezTo>
                  <a:pt x="90427" y="398032"/>
                  <a:pt x="90921" y="396336"/>
                  <a:pt x="91157" y="394804"/>
                </a:cubicBezTo>
                <a:cubicBezTo>
                  <a:pt x="91675" y="391293"/>
                  <a:pt x="91864" y="387782"/>
                  <a:pt x="92029" y="384412"/>
                </a:cubicBezTo>
                <a:cubicBezTo>
                  <a:pt x="92076" y="383470"/>
                  <a:pt x="92123" y="382551"/>
                  <a:pt x="92170" y="381632"/>
                </a:cubicBezTo>
                <a:cubicBezTo>
                  <a:pt x="92924" y="386698"/>
                  <a:pt x="93914" y="391764"/>
                  <a:pt x="94880" y="396665"/>
                </a:cubicBezTo>
                <a:cubicBezTo>
                  <a:pt x="96812" y="406421"/>
                  <a:pt x="98792" y="416506"/>
                  <a:pt x="98744" y="426685"/>
                </a:cubicBezTo>
                <a:cubicBezTo>
                  <a:pt x="94762" y="450296"/>
                  <a:pt x="93254" y="478477"/>
                  <a:pt x="94833" y="500250"/>
                </a:cubicBezTo>
                <a:cubicBezTo>
                  <a:pt x="95257" y="506211"/>
                  <a:pt x="99663" y="525274"/>
                  <a:pt x="103787" y="530081"/>
                </a:cubicBezTo>
                <a:cubicBezTo>
                  <a:pt x="104635" y="531071"/>
                  <a:pt x="105625" y="531825"/>
                  <a:pt x="106520" y="532508"/>
                </a:cubicBezTo>
                <a:cubicBezTo>
                  <a:pt x="107439" y="533215"/>
                  <a:pt x="108264" y="533851"/>
                  <a:pt x="108806" y="534605"/>
                </a:cubicBezTo>
                <a:cubicBezTo>
                  <a:pt x="109018" y="535925"/>
                  <a:pt x="108877" y="538187"/>
                  <a:pt x="108759" y="540190"/>
                </a:cubicBezTo>
                <a:cubicBezTo>
                  <a:pt x="108547" y="543536"/>
                  <a:pt x="108358" y="546717"/>
                  <a:pt x="109277" y="548790"/>
                </a:cubicBezTo>
                <a:cubicBezTo>
                  <a:pt x="110479" y="551453"/>
                  <a:pt x="114296" y="554092"/>
                  <a:pt x="117666" y="554799"/>
                </a:cubicBezTo>
                <a:cubicBezTo>
                  <a:pt x="117784" y="555977"/>
                  <a:pt x="117595" y="557297"/>
                  <a:pt x="117383" y="558687"/>
                </a:cubicBezTo>
                <a:cubicBezTo>
                  <a:pt x="117030" y="561279"/>
                  <a:pt x="116606" y="564201"/>
                  <a:pt x="118020" y="566981"/>
                </a:cubicBezTo>
                <a:cubicBezTo>
                  <a:pt x="120729" y="572283"/>
                  <a:pt x="128223" y="574734"/>
                  <a:pt x="141607" y="574734"/>
                </a:cubicBezTo>
                <a:cubicBezTo>
                  <a:pt x="144199" y="574734"/>
                  <a:pt x="146602" y="574639"/>
                  <a:pt x="148534" y="574569"/>
                </a:cubicBezTo>
                <a:lnTo>
                  <a:pt x="150231" y="574498"/>
                </a:lnTo>
                <a:cubicBezTo>
                  <a:pt x="150396" y="574498"/>
                  <a:pt x="150561" y="574474"/>
                  <a:pt x="150726" y="574427"/>
                </a:cubicBezTo>
                <a:cubicBezTo>
                  <a:pt x="154284" y="573532"/>
                  <a:pt x="156098" y="569291"/>
                  <a:pt x="155816" y="562504"/>
                </a:cubicBezTo>
                <a:cubicBezTo>
                  <a:pt x="155509" y="555011"/>
                  <a:pt x="151621" y="548790"/>
                  <a:pt x="147875" y="542782"/>
                </a:cubicBezTo>
                <a:cubicBezTo>
                  <a:pt x="144835" y="537881"/>
                  <a:pt x="141937" y="533239"/>
                  <a:pt x="140853" y="528008"/>
                </a:cubicBezTo>
                <a:cubicBezTo>
                  <a:pt x="141206" y="526570"/>
                  <a:pt x="141230" y="524614"/>
                  <a:pt x="141277" y="522423"/>
                </a:cubicBezTo>
                <a:cubicBezTo>
                  <a:pt x="141324" y="520609"/>
                  <a:pt x="141371" y="517286"/>
                  <a:pt x="141842" y="516297"/>
                </a:cubicBezTo>
                <a:cubicBezTo>
                  <a:pt x="142102" y="516202"/>
                  <a:pt x="142455" y="516155"/>
                  <a:pt x="142832" y="516084"/>
                </a:cubicBezTo>
                <a:cubicBezTo>
                  <a:pt x="144387" y="515825"/>
                  <a:pt x="147663" y="515283"/>
                  <a:pt x="147498" y="510052"/>
                </a:cubicBezTo>
                <a:cubicBezTo>
                  <a:pt x="147427" y="507554"/>
                  <a:pt x="146107" y="505575"/>
                  <a:pt x="144953" y="503808"/>
                </a:cubicBezTo>
                <a:cubicBezTo>
                  <a:pt x="144434" y="503030"/>
                  <a:pt x="143940" y="502276"/>
                  <a:pt x="143657" y="501593"/>
                </a:cubicBezTo>
                <a:cubicBezTo>
                  <a:pt x="141018" y="495679"/>
                  <a:pt x="141418" y="491814"/>
                  <a:pt x="141960" y="486465"/>
                </a:cubicBezTo>
                <a:cubicBezTo>
                  <a:pt x="142172" y="484415"/>
                  <a:pt x="142408" y="482083"/>
                  <a:pt x="142479" y="479443"/>
                </a:cubicBezTo>
                <a:cubicBezTo>
                  <a:pt x="142856" y="463774"/>
                  <a:pt x="142479" y="446549"/>
                  <a:pt x="141324" y="426756"/>
                </a:cubicBezTo>
                <a:cubicBezTo>
                  <a:pt x="141277" y="425884"/>
                  <a:pt x="141324" y="424847"/>
                  <a:pt x="141395" y="423716"/>
                </a:cubicBezTo>
                <a:cubicBezTo>
                  <a:pt x="141489" y="421972"/>
                  <a:pt x="141583" y="420158"/>
                  <a:pt x="141300" y="418626"/>
                </a:cubicBezTo>
                <a:cubicBezTo>
                  <a:pt x="140994" y="417001"/>
                  <a:pt x="139910" y="415987"/>
                  <a:pt x="139038" y="415163"/>
                </a:cubicBezTo>
                <a:cubicBezTo>
                  <a:pt x="138708" y="414856"/>
                  <a:pt x="138166" y="414338"/>
                  <a:pt x="138096" y="414126"/>
                </a:cubicBezTo>
                <a:cubicBezTo>
                  <a:pt x="138096" y="413961"/>
                  <a:pt x="138214" y="413395"/>
                  <a:pt x="138284" y="412995"/>
                </a:cubicBezTo>
                <a:cubicBezTo>
                  <a:pt x="138449" y="412147"/>
                  <a:pt x="138685" y="411086"/>
                  <a:pt x="138614" y="409979"/>
                </a:cubicBezTo>
                <a:cubicBezTo>
                  <a:pt x="138520" y="408518"/>
                  <a:pt x="138237" y="407057"/>
                  <a:pt x="137954" y="405619"/>
                </a:cubicBezTo>
                <a:cubicBezTo>
                  <a:pt x="137507" y="403381"/>
                  <a:pt x="137106" y="401284"/>
                  <a:pt x="137460" y="399422"/>
                </a:cubicBezTo>
                <a:cubicBezTo>
                  <a:pt x="137483" y="399281"/>
                  <a:pt x="137766" y="398880"/>
                  <a:pt x="137931" y="398598"/>
                </a:cubicBezTo>
                <a:cubicBezTo>
                  <a:pt x="138331" y="397985"/>
                  <a:pt x="138826" y="397231"/>
                  <a:pt x="139109" y="396265"/>
                </a:cubicBezTo>
                <a:cubicBezTo>
                  <a:pt x="142479" y="384083"/>
                  <a:pt x="143492" y="371358"/>
                  <a:pt x="144481" y="359035"/>
                </a:cubicBezTo>
                <a:cubicBezTo>
                  <a:pt x="145000" y="352413"/>
                  <a:pt x="145565" y="345580"/>
                  <a:pt x="146461" y="339029"/>
                </a:cubicBezTo>
                <a:cubicBezTo>
                  <a:pt x="147097" y="334340"/>
                  <a:pt x="148181" y="329840"/>
                  <a:pt x="149312" y="325080"/>
                </a:cubicBezTo>
                <a:cubicBezTo>
                  <a:pt x="150584" y="319684"/>
                  <a:pt x="151928" y="314076"/>
                  <a:pt x="152587" y="308185"/>
                </a:cubicBezTo>
                <a:cubicBezTo>
                  <a:pt x="152823" y="306064"/>
                  <a:pt x="153129" y="303897"/>
                  <a:pt x="153436" y="301587"/>
                </a:cubicBezTo>
                <a:cubicBezTo>
                  <a:pt x="153978" y="297629"/>
                  <a:pt x="154520" y="293529"/>
                  <a:pt x="154779" y="289617"/>
                </a:cubicBezTo>
                <a:cubicBezTo>
                  <a:pt x="155509" y="278401"/>
                  <a:pt x="153082" y="270295"/>
                  <a:pt x="150726" y="262472"/>
                </a:cubicBezTo>
                <a:cubicBezTo>
                  <a:pt x="149359" y="257877"/>
                  <a:pt x="147922" y="253117"/>
                  <a:pt x="147097" y="247651"/>
                </a:cubicBezTo>
                <a:cubicBezTo>
                  <a:pt x="146909" y="246402"/>
                  <a:pt x="146861" y="245082"/>
                  <a:pt x="146814" y="243692"/>
                </a:cubicBezTo>
                <a:cubicBezTo>
                  <a:pt x="146767" y="242019"/>
                  <a:pt x="146720" y="240299"/>
                  <a:pt x="146390" y="238555"/>
                </a:cubicBezTo>
                <a:cubicBezTo>
                  <a:pt x="146744" y="237990"/>
                  <a:pt x="148911" y="237236"/>
                  <a:pt x="149736" y="236953"/>
                </a:cubicBezTo>
                <a:cubicBezTo>
                  <a:pt x="151009" y="236529"/>
                  <a:pt x="151998" y="236175"/>
                  <a:pt x="152729" y="235516"/>
                </a:cubicBezTo>
                <a:cubicBezTo>
                  <a:pt x="156381" y="232240"/>
                  <a:pt x="154308" y="225572"/>
                  <a:pt x="152446" y="220341"/>
                </a:cubicBezTo>
                <a:cubicBezTo>
                  <a:pt x="152776" y="220435"/>
                  <a:pt x="153129" y="220529"/>
                  <a:pt x="153530" y="220576"/>
                </a:cubicBezTo>
                <a:cubicBezTo>
                  <a:pt x="153860" y="220624"/>
                  <a:pt x="154237" y="220647"/>
                  <a:pt x="154685" y="220647"/>
                </a:cubicBezTo>
                <a:cubicBezTo>
                  <a:pt x="157960" y="220647"/>
                  <a:pt x="164723" y="219257"/>
                  <a:pt x="167432" y="217796"/>
                </a:cubicBezTo>
                <a:cubicBezTo>
                  <a:pt x="171980" y="215322"/>
                  <a:pt x="179709" y="201184"/>
                  <a:pt x="180322" y="196471"/>
                </a:cubicBezTo>
                <a:cubicBezTo>
                  <a:pt x="180982" y="191476"/>
                  <a:pt x="179332" y="188766"/>
                  <a:pt x="178130" y="186763"/>
                </a:cubicBezTo>
                <a:cubicBezTo>
                  <a:pt x="177471" y="185679"/>
                  <a:pt x="177094" y="185019"/>
                  <a:pt x="176999" y="184242"/>
                </a:cubicBezTo>
                <a:cubicBezTo>
                  <a:pt x="176881" y="183111"/>
                  <a:pt x="177188" y="181626"/>
                  <a:pt x="177494" y="180024"/>
                </a:cubicBezTo>
                <a:cubicBezTo>
                  <a:pt x="177871" y="178162"/>
                  <a:pt x="178248" y="176230"/>
                  <a:pt x="178107" y="174298"/>
                </a:cubicBezTo>
                <a:cubicBezTo>
                  <a:pt x="177895" y="171635"/>
                  <a:pt x="176787" y="169680"/>
                  <a:pt x="175798" y="167960"/>
                </a:cubicBezTo>
                <a:cubicBezTo>
                  <a:pt x="175232" y="166970"/>
                  <a:pt x="174690" y="166051"/>
                  <a:pt x="174431" y="165108"/>
                </a:cubicBezTo>
                <a:cubicBezTo>
                  <a:pt x="173535" y="162092"/>
                  <a:pt x="173158" y="158369"/>
                  <a:pt x="172805" y="154764"/>
                </a:cubicBezTo>
                <a:cubicBezTo>
                  <a:pt x="172546" y="152266"/>
                  <a:pt x="172287" y="149698"/>
                  <a:pt x="171862" y="147342"/>
                </a:cubicBezTo>
                <a:lnTo>
                  <a:pt x="171391" y="144797"/>
                </a:lnTo>
                <a:cubicBezTo>
                  <a:pt x="169035" y="131813"/>
                  <a:pt x="164628" y="107637"/>
                  <a:pt x="158148" y="99885"/>
                </a:cubicBezTo>
                <a:cubicBezTo>
                  <a:pt x="156570" y="98000"/>
                  <a:pt x="149312" y="92816"/>
                  <a:pt x="147309" y="91873"/>
                </a:cubicBezTo>
                <a:cubicBezTo>
                  <a:pt x="144293" y="90436"/>
                  <a:pt x="138968" y="88928"/>
                  <a:pt x="133336" y="87349"/>
                </a:cubicBezTo>
                <a:cubicBezTo>
                  <a:pt x="126220" y="85346"/>
                  <a:pt x="117383" y="82872"/>
                  <a:pt x="115263" y="80869"/>
                </a:cubicBezTo>
                <a:cubicBezTo>
                  <a:pt x="114980" y="80610"/>
                  <a:pt x="114579" y="79903"/>
                  <a:pt x="114249" y="79338"/>
                </a:cubicBezTo>
                <a:cubicBezTo>
                  <a:pt x="114179" y="79196"/>
                  <a:pt x="114084" y="79055"/>
                  <a:pt x="114014" y="78937"/>
                </a:cubicBezTo>
                <a:cubicBezTo>
                  <a:pt x="114838" y="77523"/>
                  <a:pt x="117077" y="74625"/>
                  <a:pt x="118373" y="72952"/>
                </a:cubicBezTo>
                <a:cubicBezTo>
                  <a:pt x="120093" y="70737"/>
                  <a:pt x="121153" y="69347"/>
                  <a:pt x="121672" y="68428"/>
                </a:cubicBezTo>
                <a:cubicBezTo>
                  <a:pt x="126550" y="59804"/>
                  <a:pt x="133548" y="40388"/>
                  <a:pt x="132959" y="30797"/>
                </a:cubicBezTo>
                <a:cubicBezTo>
                  <a:pt x="132276" y="19793"/>
                  <a:pt x="125183" y="7988"/>
                  <a:pt x="116087" y="2757"/>
                </a:cubicBezTo>
                <a:cubicBezTo>
                  <a:pt x="113118" y="1037"/>
                  <a:pt x="109160" y="141"/>
                  <a:pt x="104683" y="141"/>
                </a:cubicBezTo>
                <a:lnTo>
                  <a:pt x="104683" y="141"/>
                </a:lnTo>
                <a:close/>
              </a:path>
            </a:pathLst>
          </a:custGeom>
          <a:solidFill>
            <a:srgbClr val="FEFEFE"/>
          </a:solidFill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Graphic 3">
            <a:extLst>
              <a:ext uri="{FF2B5EF4-FFF2-40B4-BE49-F238E27FC236}">
                <a16:creationId xmlns:a16="http://schemas.microsoft.com/office/drawing/2014/main" id="{C46A121F-EF0D-F0C8-F762-ACFBD3E356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574284" y="5213675"/>
            <a:ext cx="109052" cy="348299"/>
          </a:xfrm>
          <a:custGeom>
            <a:avLst/>
            <a:gdLst>
              <a:gd name="connsiteX0" fmla="*/ 104588 w 180472"/>
              <a:gd name="connsiteY0" fmla="*/ 2356 h 576406"/>
              <a:gd name="connsiteX1" fmla="*/ 114815 w 180472"/>
              <a:gd name="connsiteY1" fmla="*/ 4666 h 576406"/>
              <a:gd name="connsiteX2" fmla="*/ 130508 w 180472"/>
              <a:gd name="connsiteY2" fmla="*/ 30821 h 576406"/>
              <a:gd name="connsiteX3" fmla="*/ 119528 w 180472"/>
              <a:gd name="connsiteY3" fmla="*/ 67156 h 576406"/>
              <a:gd name="connsiteX4" fmla="*/ 111327 w 180472"/>
              <a:gd name="connsiteY4" fmla="*/ 79126 h 576406"/>
              <a:gd name="connsiteX5" fmla="*/ 113566 w 180472"/>
              <a:gd name="connsiteY5" fmla="*/ 82472 h 576406"/>
              <a:gd name="connsiteX6" fmla="*/ 146202 w 180472"/>
              <a:gd name="connsiteY6" fmla="*/ 93900 h 576406"/>
              <a:gd name="connsiteX7" fmla="*/ 156240 w 180472"/>
              <a:gd name="connsiteY7" fmla="*/ 101299 h 576406"/>
              <a:gd name="connsiteX8" fmla="*/ 169435 w 180472"/>
              <a:gd name="connsiteY8" fmla="*/ 147671 h 576406"/>
              <a:gd name="connsiteX9" fmla="*/ 172075 w 180472"/>
              <a:gd name="connsiteY9" fmla="*/ 165697 h 576406"/>
              <a:gd name="connsiteX10" fmla="*/ 175680 w 180472"/>
              <a:gd name="connsiteY10" fmla="*/ 174392 h 576406"/>
              <a:gd name="connsiteX11" fmla="*/ 174572 w 180472"/>
              <a:gd name="connsiteY11" fmla="*/ 184383 h 576406"/>
              <a:gd name="connsiteX12" fmla="*/ 177895 w 180472"/>
              <a:gd name="connsiteY12" fmla="*/ 196047 h 576406"/>
              <a:gd name="connsiteX13" fmla="*/ 166207 w 180472"/>
              <a:gd name="connsiteY13" fmla="*/ 215605 h 576406"/>
              <a:gd name="connsiteX14" fmla="*/ 154590 w 180472"/>
              <a:gd name="connsiteY14" fmla="*/ 218173 h 576406"/>
              <a:gd name="connsiteX15" fmla="*/ 153742 w 180472"/>
              <a:gd name="connsiteY15" fmla="*/ 218126 h 576406"/>
              <a:gd name="connsiteX16" fmla="*/ 150490 w 180472"/>
              <a:gd name="connsiteY16" fmla="*/ 217231 h 576406"/>
              <a:gd name="connsiteX17" fmla="*/ 148982 w 180472"/>
              <a:gd name="connsiteY17" fmla="*/ 217608 h 576406"/>
              <a:gd name="connsiteX18" fmla="*/ 151079 w 180472"/>
              <a:gd name="connsiteY18" fmla="*/ 233654 h 576406"/>
              <a:gd name="connsiteX19" fmla="*/ 143916 w 180472"/>
              <a:gd name="connsiteY19" fmla="*/ 238532 h 576406"/>
              <a:gd name="connsiteX20" fmla="*/ 144670 w 180472"/>
              <a:gd name="connsiteY20" fmla="*/ 247910 h 576406"/>
              <a:gd name="connsiteX21" fmla="*/ 152328 w 180472"/>
              <a:gd name="connsiteY21" fmla="*/ 289381 h 576406"/>
              <a:gd name="connsiteX22" fmla="*/ 150137 w 180472"/>
              <a:gd name="connsiteY22" fmla="*/ 307832 h 576406"/>
              <a:gd name="connsiteX23" fmla="*/ 144034 w 180472"/>
              <a:gd name="connsiteY23" fmla="*/ 338605 h 576406"/>
              <a:gd name="connsiteX24" fmla="*/ 136753 w 180472"/>
              <a:gd name="connsiteY24" fmla="*/ 395534 h 576406"/>
              <a:gd name="connsiteX25" fmla="*/ 135080 w 180472"/>
              <a:gd name="connsiteY25" fmla="*/ 398880 h 576406"/>
              <a:gd name="connsiteX26" fmla="*/ 136211 w 180472"/>
              <a:gd name="connsiteY26" fmla="*/ 410026 h 576406"/>
              <a:gd name="connsiteX27" fmla="*/ 135716 w 180472"/>
              <a:gd name="connsiteY27" fmla="*/ 414385 h 576406"/>
              <a:gd name="connsiteX28" fmla="*/ 138944 w 180472"/>
              <a:gd name="connsiteY28" fmla="*/ 418980 h 576406"/>
              <a:gd name="connsiteX29" fmla="*/ 138944 w 180472"/>
              <a:gd name="connsiteY29" fmla="*/ 426803 h 576406"/>
              <a:gd name="connsiteX30" fmla="*/ 140099 w 180472"/>
              <a:gd name="connsiteY30" fmla="*/ 479302 h 576406"/>
              <a:gd name="connsiteX31" fmla="*/ 141489 w 180472"/>
              <a:gd name="connsiteY31" fmla="*/ 502441 h 576406"/>
              <a:gd name="connsiteX32" fmla="*/ 145118 w 180472"/>
              <a:gd name="connsiteY32" fmla="*/ 510005 h 576406"/>
              <a:gd name="connsiteX33" fmla="*/ 140429 w 180472"/>
              <a:gd name="connsiteY33" fmla="*/ 514247 h 576406"/>
              <a:gd name="connsiteX34" fmla="*/ 138426 w 180472"/>
              <a:gd name="connsiteY34" fmla="*/ 527772 h 576406"/>
              <a:gd name="connsiteX35" fmla="*/ 153459 w 180472"/>
              <a:gd name="connsiteY35" fmla="*/ 562481 h 576406"/>
              <a:gd name="connsiteX36" fmla="*/ 150137 w 180472"/>
              <a:gd name="connsiteY36" fmla="*/ 572024 h 576406"/>
              <a:gd name="connsiteX37" fmla="*/ 141583 w 180472"/>
              <a:gd name="connsiteY37" fmla="*/ 572236 h 576406"/>
              <a:gd name="connsiteX38" fmla="*/ 120093 w 180472"/>
              <a:gd name="connsiteY38" fmla="*/ 565756 h 576406"/>
              <a:gd name="connsiteX39" fmla="*/ 119528 w 180472"/>
              <a:gd name="connsiteY39" fmla="*/ 552466 h 576406"/>
              <a:gd name="connsiteX40" fmla="*/ 119268 w 180472"/>
              <a:gd name="connsiteY40" fmla="*/ 552466 h 576406"/>
              <a:gd name="connsiteX41" fmla="*/ 111375 w 180472"/>
              <a:gd name="connsiteY41" fmla="*/ 547659 h 576406"/>
              <a:gd name="connsiteX42" fmla="*/ 110974 w 180472"/>
              <a:gd name="connsiteY42" fmla="*/ 533545 h 576406"/>
              <a:gd name="connsiteX43" fmla="*/ 105531 w 180472"/>
              <a:gd name="connsiteY43" fmla="*/ 528385 h 576406"/>
              <a:gd name="connsiteX44" fmla="*/ 97142 w 180472"/>
              <a:gd name="connsiteY44" fmla="*/ 499944 h 576406"/>
              <a:gd name="connsiteX45" fmla="*/ 101077 w 180472"/>
              <a:gd name="connsiteY45" fmla="*/ 426756 h 576406"/>
              <a:gd name="connsiteX46" fmla="*/ 94432 w 180472"/>
              <a:gd name="connsiteY46" fmla="*/ 380902 h 576406"/>
              <a:gd name="connsiteX47" fmla="*/ 93773 w 180472"/>
              <a:gd name="connsiteY47" fmla="*/ 367612 h 576406"/>
              <a:gd name="connsiteX48" fmla="*/ 92783 w 180472"/>
              <a:gd name="connsiteY48" fmla="*/ 365609 h 576406"/>
              <a:gd name="connsiteX49" fmla="*/ 92712 w 180472"/>
              <a:gd name="connsiteY49" fmla="*/ 365609 h 576406"/>
              <a:gd name="connsiteX50" fmla="*/ 88801 w 180472"/>
              <a:gd name="connsiteY50" fmla="*/ 394356 h 576406"/>
              <a:gd name="connsiteX51" fmla="*/ 86539 w 180472"/>
              <a:gd name="connsiteY51" fmla="*/ 403852 h 576406"/>
              <a:gd name="connsiteX52" fmla="*/ 88282 w 180472"/>
              <a:gd name="connsiteY52" fmla="*/ 417802 h 576406"/>
              <a:gd name="connsiteX53" fmla="*/ 87670 w 180472"/>
              <a:gd name="connsiteY53" fmla="*/ 436841 h 576406"/>
              <a:gd name="connsiteX54" fmla="*/ 83499 w 180472"/>
              <a:gd name="connsiteY54" fmla="*/ 504656 h 576406"/>
              <a:gd name="connsiteX55" fmla="*/ 78810 w 180472"/>
              <a:gd name="connsiteY55" fmla="*/ 515024 h 576406"/>
              <a:gd name="connsiteX56" fmla="*/ 85360 w 180472"/>
              <a:gd name="connsiteY56" fmla="*/ 524096 h 576406"/>
              <a:gd name="connsiteX57" fmla="*/ 80011 w 180472"/>
              <a:gd name="connsiteY57" fmla="*/ 532461 h 576406"/>
              <a:gd name="connsiteX58" fmla="*/ 81001 w 180472"/>
              <a:gd name="connsiteY58" fmla="*/ 537928 h 576406"/>
              <a:gd name="connsiteX59" fmla="*/ 81543 w 180472"/>
              <a:gd name="connsiteY59" fmla="*/ 546811 h 576406"/>
              <a:gd name="connsiteX60" fmla="*/ 71151 w 180472"/>
              <a:gd name="connsiteY60" fmla="*/ 553550 h 576406"/>
              <a:gd name="connsiteX61" fmla="*/ 69384 w 180472"/>
              <a:gd name="connsiteY61" fmla="*/ 553362 h 576406"/>
              <a:gd name="connsiteX62" fmla="*/ 65402 w 180472"/>
              <a:gd name="connsiteY62" fmla="*/ 569196 h 576406"/>
              <a:gd name="connsiteX63" fmla="*/ 52018 w 180472"/>
              <a:gd name="connsiteY63" fmla="*/ 573932 h 576406"/>
              <a:gd name="connsiteX64" fmla="*/ 45326 w 180472"/>
              <a:gd name="connsiteY64" fmla="*/ 573932 h 576406"/>
              <a:gd name="connsiteX65" fmla="*/ 34133 w 180472"/>
              <a:gd name="connsiteY65" fmla="*/ 568631 h 576406"/>
              <a:gd name="connsiteX66" fmla="*/ 34769 w 180472"/>
              <a:gd name="connsiteY66" fmla="*/ 559182 h 576406"/>
              <a:gd name="connsiteX67" fmla="*/ 48884 w 180472"/>
              <a:gd name="connsiteY67" fmla="*/ 537032 h 576406"/>
              <a:gd name="connsiteX68" fmla="*/ 51452 w 180472"/>
              <a:gd name="connsiteY68" fmla="*/ 531707 h 576406"/>
              <a:gd name="connsiteX69" fmla="*/ 47423 w 180472"/>
              <a:gd name="connsiteY69" fmla="*/ 524072 h 576406"/>
              <a:gd name="connsiteX70" fmla="*/ 47234 w 180472"/>
              <a:gd name="connsiteY70" fmla="*/ 515260 h 576406"/>
              <a:gd name="connsiteX71" fmla="*/ 50910 w 180472"/>
              <a:gd name="connsiteY71" fmla="*/ 509416 h 576406"/>
              <a:gd name="connsiteX72" fmla="*/ 48672 w 180472"/>
              <a:gd name="connsiteY72" fmla="*/ 435686 h 576406"/>
              <a:gd name="connsiteX73" fmla="*/ 49261 w 180472"/>
              <a:gd name="connsiteY73" fmla="*/ 403946 h 576406"/>
              <a:gd name="connsiteX74" fmla="*/ 50863 w 180472"/>
              <a:gd name="connsiteY74" fmla="*/ 397184 h 576406"/>
              <a:gd name="connsiteX75" fmla="*/ 44265 w 180472"/>
              <a:gd name="connsiteY75" fmla="*/ 368036 h 576406"/>
              <a:gd name="connsiteX76" fmla="*/ 41320 w 180472"/>
              <a:gd name="connsiteY76" fmla="*/ 344190 h 576406"/>
              <a:gd name="connsiteX77" fmla="*/ 34840 w 180472"/>
              <a:gd name="connsiteY77" fmla="*/ 267185 h 576406"/>
              <a:gd name="connsiteX78" fmla="*/ 40000 w 180472"/>
              <a:gd name="connsiteY78" fmla="*/ 253942 h 576406"/>
              <a:gd name="connsiteX79" fmla="*/ 41414 w 180472"/>
              <a:gd name="connsiteY79" fmla="*/ 240865 h 576406"/>
              <a:gd name="connsiteX80" fmla="*/ 32978 w 180472"/>
              <a:gd name="connsiteY80" fmla="*/ 239050 h 576406"/>
              <a:gd name="connsiteX81" fmla="*/ 38587 w 180472"/>
              <a:gd name="connsiteY81" fmla="*/ 229036 h 576406"/>
              <a:gd name="connsiteX82" fmla="*/ 36890 w 180472"/>
              <a:gd name="connsiteY82" fmla="*/ 215982 h 576406"/>
              <a:gd name="connsiteX83" fmla="*/ 36466 w 180472"/>
              <a:gd name="connsiteY83" fmla="*/ 215911 h 576406"/>
              <a:gd name="connsiteX84" fmla="*/ 26710 w 180472"/>
              <a:gd name="connsiteY84" fmla="*/ 217160 h 576406"/>
              <a:gd name="connsiteX85" fmla="*/ 17945 w 180472"/>
              <a:gd name="connsiteY85" fmla="*/ 218739 h 576406"/>
              <a:gd name="connsiteX86" fmla="*/ 15730 w 180472"/>
              <a:gd name="connsiteY86" fmla="*/ 218479 h 576406"/>
              <a:gd name="connsiteX87" fmla="*/ 5739 w 180472"/>
              <a:gd name="connsiteY87" fmla="*/ 208394 h 576406"/>
              <a:gd name="connsiteX88" fmla="*/ 2369 w 180472"/>
              <a:gd name="connsiteY88" fmla="*/ 201985 h 576406"/>
              <a:gd name="connsiteX89" fmla="*/ 2369 w 180472"/>
              <a:gd name="connsiteY89" fmla="*/ 196966 h 576406"/>
              <a:gd name="connsiteX90" fmla="*/ 4042 w 180472"/>
              <a:gd name="connsiteY90" fmla="*/ 190533 h 576406"/>
              <a:gd name="connsiteX91" fmla="*/ 15659 w 180472"/>
              <a:gd name="connsiteY91" fmla="*/ 104975 h 576406"/>
              <a:gd name="connsiteX92" fmla="*/ 58309 w 180472"/>
              <a:gd name="connsiteY92" fmla="*/ 83485 h 576406"/>
              <a:gd name="connsiteX93" fmla="*/ 70939 w 180472"/>
              <a:gd name="connsiteY93" fmla="*/ 68876 h 576406"/>
              <a:gd name="connsiteX94" fmla="*/ 72612 w 180472"/>
              <a:gd name="connsiteY94" fmla="*/ 69041 h 576406"/>
              <a:gd name="connsiteX95" fmla="*/ 74827 w 180472"/>
              <a:gd name="connsiteY95" fmla="*/ 51180 h 576406"/>
              <a:gd name="connsiteX96" fmla="*/ 73249 w 180472"/>
              <a:gd name="connsiteY96" fmla="*/ 51462 h 576406"/>
              <a:gd name="connsiteX97" fmla="*/ 67028 w 180472"/>
              <a:gd name="connsiteY97" fmla="*/ 40859 h 576406"/>
              <a:gd name="connsiteX98" fmla="*/ 73531 w 180472"/>
              <a:gd name="connsiteY98" fmla="*/ 28088 h 576406"/>
              <a:gd name="connsiteX99" fmla="*/ 75157 w 180472"/>
              <a:gd name="connsiteY99" fmla="*/ 28794 h 576406"/>
              <a:gd name="connsiteX100" fmla="*/ 76477 w 180472"/>
              <a:gd name="connsiteY100" fmla="*/ 31080 h 576406"/>
              <a:gd name="connsiteX101" fmla="*/ 86774 w 180472"/>
              <a:gd name="connsiteY101" fmla="*/ 8176 h 576406"/>
              <a:gd name="connsiteX102" fmla="*/ 104541 w 180472"/>
              <a:gd name="connsiteY102" fmla="*/ 2427 h 576406"/>
              <a:gd name="connsiteX103" fmla="*/ 104588 w 180472"/>
              <a:gd name="connsiteY103" fmla="*/ 0 h 576406"/>
              <a:gd name="connsiteX104" fmla="*/ 85266 w 180472"/>
              <a:gd name="connsiteY104" fmla="*/ 6339 h 576406"/>
              <a:gd name="connsiteX105" fmla="*/ 75110 w 180472"/>
              <a:gd name="connsiteY105" fmla="*/ 25943 h 576406"/>
              <a:gd name="connsiteX106" fmla="*/ 73579 w 180472"/>
              <a:gd name="connsiteY106" fmla="*/ 25660 h 576406"/>
              <a:gd name="connsiteX107" fmla="*/ 64719 w 180472"/>
              <a:gd name="connsiteY107" fmla="*/ 40670 h 576406"/>
              <a:gd name="connsiteX108" fmla="*/ 68300 w 180472"/>
              <a:gd name="connsiteY108" fmla="*/ 51486 h 576406"/>
              <a:gd name="connsiteX109" fmla="*/ 71882 w 180472"/>
              <a:gd name="connsiteY109" fmla="*/ 53630 h 576406"/>
              <a:gd name="connsiteX110" fmla="*/ 70256 w 180472"/>
              <a:gd name="connsiteY110" fmla="*/ 66519 h 576406"/>
              <a:gd name="connsiteX111" fmla="*/ 60077 w 180472"/>
              <a:gd name="connsiteY111" fmla="*/ 76180 h 576406"/>
              <a:gd name="connsiteX112" fmla="*/ 56990 w 180472"/>
              <a:gd name="connsiteY112" fmla="*/ 81435 h 576406"/>
              <a:gd name="connsiteX113" fmla="*/ 44807 w 180472"/>
              <a:gd name="connsiteY113" fmla="*/ 84969 h 576406"/>
              <a:gd name="connsiteX114" fmla="*/ 13585 w 180472"/>
              <a:gd name="connsiteY114" fmla="*/ 103867 h 576406"/>
              <a:gd name="connsiteX115" fmla="*/ 2888 w 180472"/>
              <a:gd name="connsiteY115" fmla="*/ 168690 h 576406"/>
              <a:gd name="connsiteX116" fmla="*/ 1733 w 180472"/>
              <a:gd name="connsiteY116" fmla="*/ 190274 h 576406"/>
              <a:gd name="connsiteX117" fmla="*/ 932 w 180472"/>
              <a:gd name="connsiteY117" fmla="*/ 193384 h 576406"/>
              <a:gd name="connsiteX118" fmla="*/ 84 w 180472"/>
              <a:gd name="connsiteY118" fmla="*/ 196613 h 576406"/>
              <a:gd name="connsiteX119" fmla="*/ 60 w 180472"/>
              <a:gd name="connsiteY119" fmla="*/ 199676 h 576406"/>
              <a:gd name="connsiteX120" fmla="*/ 60 w 180472"/>
              <a:gd name="connsiteY120" fmla="*/ 201749 h 576406"/>
              <a:gd name="connsiteX121" fmla="*/ 107 w 180472"/>
              <a:gd name="connsiteY121" fmla="*/ 202456 h 576406"/>
              <a:gd name="connsiteX122" fmla="*/ 3477 w 180472"/>
              <a:gd name="connsiteY122" fmla="*/ 209219 h 576406"/>
              <a:gd name="connsiteX123" fmla="*/ 3877 w 180472"/>
              <a:gd name="connsiteY123" fmla="*/ 209761 h 576406"/>
              <a:gd name="connsiteX124" fmla="*/ 15164 w 180472"/>
              <a:gd name="connsiteY124" fmla="*/ 220741 h 576406"/>
              <a:gd name="connsiteX125" fmla="*/ 17968 w 180472"/>
              <a:gd name="connsiteY125" fmla="*/ 221095 h 576406"/>
              <a:gd name="connsiteX126" fmla="*/ 23953 w 180472"/>
              <a:gd name="connsiteY126" fmla="*/ 220152 h 576406"/>
              <a:gd name="connsiteX127" fmla="*/ 27087 w 180472"/>
              <a:gd name="connsiteY127" fmla="*/ 219493 h 576406"/>
              <a:gd name="connsiteX128" fmla="*/ 27771 w 180472"/>
              <a:gd name="connsiteY128" fmla="*/ 219398 h 576406"/>
              <a:gd name="connsiteX129" fmla="*/ 34675 w 180472"/>
              <a:gd name="connsiteY129" fmla="*/ 218432 h 576406"/>
              <a:gd name="connsiteX130" fmla="*/ 35500 w 180472"/>
              <a:gd name="connsiteY130" fmla="*/ 223168 h 576406"/>
              <a:gd name="connsiteX131" fmla="*/ 36277 w 180472"/>
              <a:gd name="connsiteY131" fmla="*/ 228753 h 576406"/>
              <a:gd name="connsiteX132" fmla="*/ 33897 w 180472"/>
              <a:gd name="connsiteY132" fmla="*/ 232217 h 576406"/>
              <a:gd name="connsiteX133" fmla="*/ 30716 w 180472"/>
              <a:gd name="connsiteY133" fmla="*/ 239592 h 576406"/>
              <a:gd name="connsiteX134" fmla="*/ 37479 w 180472"/>
              <a:gd name="connsiteY134" fmla="*/ 242467 h 576406"/>
              <a:gd name="connsiteX135" fmla="*/ 39011 w 180472"/>
              <a:gd name="connsiteY135" fmla="*/ 242585 h 576406"/>
              <a:gd name="connsiteX136" fmla="*/ 37738 w 180472"/>
              <a:gd name="connsiteY136" fmla="*/ 253377 h 576406"/>
              <a:gd name="connsiteX137" fmla="*/ 35358 w 180472"/>
              <a:gd name="connsiteY137" fmla="*/ 259362 h 576406"/>
              <a:gd name="connsiteX138" fmla="*/ 32554 w 180472"/>
              <a:gd name="connsiteY138" fmla="*/ 266690 h 576406"/>
              <a:gd name="connsiteX139" fmla="*/ 36442 w 180472"/>
              <a:gd name="connsiteY139" fmla="*/ 329227 h 576406"/>
              <a:gd name="connsiteX140" fmla="*/ 39011 w 180472"/>
              <a:gd name="connsiteY140" fmla="*/ 344567 h 576406"/>
              <a:gd name="connsiteX141" fmla="*/ 40189 w 180472"/>
              <a:gd name="connsiteY141" fmla="*/ 354723 h 576406"/>
              <a:gd name="connsiteX142" fmla="*/ 41956 w 180472"/>
              <a:gd name="connsiteY142" fmla="*/ 368507 h 576406"/>
              <a:gd name="connsiteX143" fmla="*/ 45137 w 180472"/>
              <a:gd name="connsiteY143" fmla="*/ 379535 h 576406"/>
              <a:gd name="connsiteX144" fmla="*/ 48530 w 180472"/>
              <a:gd name="connsiteY144" fmla="*/ 396972 h 576406"/>
              <a:gd name="connsiteX145" fmla="*/ 47847 w 180472"/>
              <a:gd name="connsiteY145" fmla="*/ 399799 h 576406"/>
              <a:gd name="connsiteX146" fmla="*/ 46928 w 180472"/>
              <a:gd name="connsiteY146" fmla="*/ 403734 h 576406"/>
              <a:gd name="connsiteX147" fmla="*/ 46315 w 180472"/>
              <a:gd name="connsiteY147" fmla="*/ 426402 h 576406"/>
              <a:gd name="connsiteX148" fmla="*/ 46315 w 180472"/>
              <a:gd name="connsiteY148" fmla="*/ 435710 h 576406"/>
              <a:gd name="connsiteX149" fmla="*/ 46198 w 180472"/>
              <a:gd name="connsiteY149" fmla="*/ 443203 h 576406"/>
              <a:gd name="connsiteX150" fmla="*/ 48554 w 180472"/>
              <a:gd name="connsiteY150" fmla="*/ 509722 h 576406"/>
              <a:gd name="connsiteX151" fmla="*/ 47258 w 180472"/>
              <a:gd name="connsiteY151" fmla="*/ 511419 h 576406"/>
              <a:gd name="connsiteX152" fmla="*/ 44949 w 180472"/>
              <a:gd name="connsiteY152" fmla="*/ 514647 h 576406"/>
              <a:gd name="connsiteX153" fmla="*/ 45114 w 180472"/>
              <a:gd name="connsiteY153" fmla="*/ 524826 h 576406"/>
              <a:gd name="connsiteX154" fmla="*/ 47470 w 180472"/>
              <a:gd name="connsiteY154" fmla="*/ 529256 h 576406"/>
              <a:gd name="connsiteX155" fmla="*/ 48931 w 180472"/>
              <a:gd name="connsiteY155" fmla="*/ 531731 h 576406"/>
              <a:gd name="connsiteX156" fmla="*/ 46810 w 180472"/>
              <a:gd name="connsiteY156" fmla="*/ 535948 h 576406"/>
              <a:gd name="connsiteX157" fmla="*/ 41744 w 180472"/>
              <a:gd name="connsiteY157" fmla="*/ 543253 h 576406"/>
              <a:gd name="connsiteX158" fmla="*/ 32413 w 180472"/>
              <a:gd name="connsiteY158" fmla="*/ 558970 h 576406"/>
              <a:gd name="connsiteX159" fmla="*/ 31753 w 180472"/>
              <a:gd name="connsiteY159" fmla="*/ 568749 h 576406"/>
              <a:gd name="connsiteX160" fmla="*/ 40189 w 180472"/>
              <a:gd name="connsiteY160" fmla="*/ 575676 h 576406"/>
              <a:gd name="connsiteX161" fmla="*/ 44383 w 180472"/>
              <a:gd name="connsiteY161" fmla="*/ 576218 h 576406"/>
              <a:gd name="connsiteX162" fmla="*/ 45302 w 180472"/>
              <a:gd name="connsiteY162" fmla="*/ 576407 h 576406"/>
              <a:gd name="connsiteX163" fmla="*/ 51994 w 180472"/>
              <a:gd name="connsiteY163" fmla="*/ 576407 h 576406"/>
              <a:gd name="connsiteX164" fmla="*/ 52183 w 180472"/>
              <a:gd name="connsiteY164" fmla="*/ 576407 h 576406"/>
              <a:gd name="connsiteX165" fmla="*/ 66910 w 180472"/>
              <a:gd name="connsiteY165" fmla="*/ 571105 h 576406"/>
              <a:gd name="connsiteX166" fmla="*/ 70892 w 180472"/>
              <a:gd name="connsiteY166" fmla="*/ 560313 h 576406"/>
              <a:gd name="connsiteX167" fmla="*/ 70939 w 180472"/>
              <a:gd name="connsiteY167" fmla="*/ 556024 h 576406"/>
              <a:gd name="connsiteX168" fmla="*/ 71128 w 180472"/>
              <a:gd name="connsiteY168" fmla="*/ 556024 h 576406"/>
              <a:gd name="connsiteX169" fmla="*/ 83852 w 180472"/>
              <a:gd name="connsiteY169" fmla="*/ 547235 h 576406"/>
              <a:gd name="connsiteX170" fmla="*/ 83405 w 180472"/>
              <a:gd name="connsiteY170" fmla="*/ 538682 h 576406"/>
              <a:gd name="connsiteX171" fmla="*/ 83334 w 180472"/>
              <a:gd name="connsiteY171" fmla="*/ 537810 h 576406"/>
              <a:gd name="connsiteX172" fmla="*/ 82768 w 180472"/>
              <a:gd name="connsiteY172" fmla="*/ 535124 h 576406"/>
              <a:gd name="connsiteX173" fmla="*/ 82321 w 180472"/>
              <a:gd name="connsiteY173" fmla="*/ 532932 h 576406"/>
              <a:gd name="connsiteX174" fmla="*/ 84017 w 180472"/>
              <a:gd name="connsiteY174" fmla="*/ 531071 h 576406"/>
              <a:gd name="connsiteX175" fmla="*/ 87693 w 180472"/>
              <a:gd name="connsiteY175" fmla="*/ 523955 h 576406"/>
              <a:gd name="connsiteX176" fmla="*/ 83428 w 180472"/>
              <a:gd name="connsiteY176" fmla="*/ 517522 h 576406"/>
              <a:gd name="connsiteX177" fmla="*/ 81213 w 180472"/>
              <a:gd name="connsiteY177" fmla="*/ 515118 h 576406"/>
              <a:gd name="connsiteX178" fmla="*/ 83852 w 180472"/>
              <a:gd name="connsiteY178" fmla="*/ 509487 h 576406"/>
              <a:gd name="connsiteX179" fmla="*/ 85690 w 180472"/>
              <a:gd name="connsiteY179" fmla="*/ 505622 h 576406"/>
              <a:gd name="connsiteX180" fmla="*/ 90662 w 180472"/>
              <a:gd name="connsiteY180" fmla="*/ 451309 h 576406"/>
              <a:gd name="connsiteX181" fmla="*/ 90026 w 180472"/>
              <a:gd name="connsiteY181" fmla="*/ 436888 h 576406"/>
              <a:gd name="connsiteX182" fmla="*/ 90332 w 180472"/>
              <a:gd name="connsiteY182" fmla="*/ 427156 h 576406"/>
              <a:gd name="connsiteX183" fmla="*/ 90639 w 180472"/>
              <a:gd name="connsiteY183" fmla="*/ 417872 h 576406"/>
              <a:gd name="connsiteX184" fmla="*/ 89720 w 180472"/>
              <a:gd name="connsiteY184" fmla="*/ 410780 h 576406"/>
              <a:gd name="connsiteX185" fmla="*/ 88895 w 180472"/>
              <a:gd name="connsiteY185" fmla="*/ 404017 h 576406"/>
              <a:gd name="connsiteX186" fmla="*/ 89932 w 180472"/>
              <a:gd name="connsiteY186" fmla="*/ 399658 h 576406"/>
              <a:gd name="connsiteX187" fmla="*/ 91157 w 180472"/>
              <a:gd name="connsiteY187" fmla="*/ 394804 h 576406"/>
              <a:gd name="connsiteX188" fmla="*/ 92029 w 180472"/>
              <a:gd name="connsiteY188" fmla="*/ 384412 h 576406"/>
              <a:gd name="connsiteX189" fmla="*/ 92170 w 180472"/>
              <a:gd name="connsiteY189" fmla="*/ 381632 h 576406"/>
              <a:gd name="connsiteX190" fmla="*/ 94880 w 180472"/>
              <a:gd name="connsiteY190" fmla="*/ 396665 h 576406"/>
              <a:gd name="connsiteX191" fmla="*/ 98744 w 180472"/>
              <a:gd name="connsiteY191" fmla="*/ 426685 h 576406"/>
              <a:gd name="connsiteX192" fmla="*/ 94833 w 180472"/>
              <a:gd name="connsiteY192" fmla="*/ 500250 h 576406"/>
              <a:gd name="connsiteX193" fmla="*/ 103787 w 180472"/>
              <a:gd name="connsiteY193" fmla="*/ 530081 h 576406"/>
              <a:gd name="connsiteX194" fmla="*/ 106520 w 180472"/>
              <a:gd name="connsiteY194" fmla="*/ 532508 h 576406"/>
              <a:gd name="connsiteX195" fmla="*/ 108806 w 180472"/>
              <a:gd name="connsiteY195" fmla="*/ 534605 h 576406"/>
              <a:gd name="connsiteX196" fmla="*/ 108759 w 180472"/>
              <a:gd name="connsiteY196" fmla="*/ 540190 h 576406"/>
              <a:gd name="connsiteX197" fmla="*/ 109277 w 180472"/>
              <a:gd name="connsiteY197" fmla="*/ 548790 h 576406"/>
              <a:gd name="connsiteX198" fmla="*/ 117666 w 180472"/>
              <a:gd name="connsiteY198" fmla="*/ 554799 h 576406"/>
              <a:gd name="connsiteX199" fmla="*/ 117383 w 180472"/>
              <a:gd name="connsiteY199" fmla="*/ 558687 h 576406"/>
              <a:gd name="connsiteX200" fmla="*/ 118020 w 180472"/>
              <a:gd name="connsiteY200" fmla="*/ 566981 h 576406"/>
              <a:gd name="connsiteX201" fmla="*/ 141607 w 180472"/>
              <a:gd name="connsiteY201" fmla="*/ 574734 h 576406"/>
              <a:gd name="connsiteX202" fmla="*/ 148534 w 180472"/>
              <a:gd name="connsiteY202" fmla="*/ 574569 h 576406"/>
              <a:gd name="connsiteX203" fmla="*/ 150231 w 180472"/>
              <a:gd name="connsiteY203" fmla="*/ 574498 h 576406"/>
              <a:gd name="connsiteX204" fmla="*/ 150726 w 180472"/>
              <a:gd name="connsiteY204" fmla="*/ 574427 h 576406"/>
              <a:gd name="connsiteX205" fmla="*/ 155816 w 180472"/>
              <a:gd name="connsiteY205" fmla="*/ 562504 h 576406"/>
              <a:gd name="connsiteX206" fmla="*/ 147875 w 180472"/>
              <a:gd name="connsiteY206" fmla="*/ 542782 h 576406"/>
              <a:gd name="connsiteX207" fmla="*/ 140853 w 180472"/>
              <a:gd name="connsiteY207" fmla="*/ 528008 h 576406"/>
              <a:gd name="connsiteX208" fmla="*/ 141277 w 180472"/>
              <a:gd name="connsiteY208" fmla="*/ 522423 h 576406"/>
              <a:gd name="connsiteX209" fmla="*/ 141842 w 180472"/>
              <a:gd name="connsiteY209" fmla="*/ 516297 h 576406"/>
              <a:gd name="connsiteX210" fmla="*/ 142832 w 180472"/>
              <a:gd name="connsiteY210" fmla="*/ 516084 h 576406"/>
              <a:gd name="connsiteX211" fmla="*/ 147498 w 180472"/>
              <a:gd name="connsiteY211" fmla="*/ 510052 h 576406"/>
              <a:gd name="connsiteX212" fmla="*/ 144953 w 180472"/>
              <a:gd name="connsiteY212" fmla="*/ 503808 h 576406"/>
              <a:gd name="connsiteX213" fmla="*/ 143657 w 180472"/>
              <a:gd name="connsiteY213" fmla="*/ 501593 h 576406"/>
              <a:gd name="connsiteX214" fmla="*/ 141960 w 180472"/>
              <a:gd name="connsiteY214" fmla="*/ 486465 h 576406"/>
              <a:gd name="connsiteX215" fmla="*/ 142479 w 180472"/>
              <a:gd name="connsiteY215" fmla="*/ 479443 h 576406"/>
              <a:gd name="connsiteX216" fmla="*/ 141324 w 180472"/>
              <a:gd name="connsiteY216" fmla="*/ 426756 h 576406"/>
              <a:gd name="connsiteX217" fmla="*/ 141395 w 180472"/>
              <a:gd name="connsiteY217" fmla="*/ 423716 h 576406"/>
              <a:gd name="connsiteX218" fmla="*/ 141300 w 180472"/>
              <a:gd name="connsiteY218" fmla="*/ 418626 h 576406"/>
              <a:gd name="connsiteX219" fmla="*/ 139038 w 180472"/>
              <a:gd name="connsiteY219" fmla="*/ 415163 h 576406"/>
              <a:gd name="connsiteX220" fmla="*/ 138096 w 180472"/>
              <a:gd name="connsiteY220" fmla="*/ 414126 h 576406"/>
              <a:gd name="connsiteX221" fmla="*/ 138284 w 180472"/>
              <a:gd name="connsiteY221" fmla="*/ 412995 h 576406"/>
              <a:gd name="connsiteX222" fmla="*/ 138614 w 180472"/>
              <a:gd name="connsiteY222" fmla="*/ 409979 h 576406"/>
              <a:gd name="connsiteX223" fmla="*/ 137954 w 180472"/>
              <a:gd name="connsiteY223" fmla="*/ 405619 h 576406"/>
              <a:gd name="connsiteX224" fmla="*/ 137460 w 180472"/>
              <a:gd name="connsiteY224" fmla="*/ 399422 h 576406"/>
              <a:gd name="connsiteX225" fmla="*/ 137931 w 180472"/>
              <a:gd name="connsiteY225" fmla="*/ 398598 h 576406"/>
              <a:gd name="connsiteX226" fmla="*/ 139109 w 180472"/>
              <a:gd name="connsiteY226" fmla="*/ 396265 h 576406"/>
              <a:gd name="connsiteX227" fmla="*/ 144481 w 180472"/>
              <a:gd name="connsiteY227" fmla="*/ 359035 h 576406"/>
              <a:gd name="connsiteX228" fmla="*/ 146461 w 180472"/>
              <a:gd name="connsiteY228" fmla="*/ 339029 h 576406"/>
              <a:gd name="connsiteX229" fmla="*/ 149312 w 180472"/>
              <a:gd name="connsiteY229" fmla="*/ 325080 h 576406"/>
              <a:gd name="connsiteX230" fmla="*/ 152587 w 180472"/>
              <a:gd name="connsiteY230" fmla="*/ 308185 h 576406"/>
              <a:gd name="connsiteX231" fmla="*/ 153436 w 180472"/>
              <a:gd name="connsiteY231" fmla="*/ 301587 h 576406"/>
              <a:gd name="connsiteX232" fmla="*/ 154779 w 180472"/>
              <a:gd name="connsiteY232" fmla="*/ 289617 h 576406"/>
              <a:gd name="connsiteX233" fmla="*/ 150726 w 180472"/>
              <a:gd name="connsiteY233" fmla="*/ 262472 h 576406"/>
              <a:gd name="connsiteX234" fmla="*/ 147097 w 180472"/>
              <a:gd name="connsiteY234" fmla="*/ 247651 h 576406"/>
              <a:gd name="connsiteX235" fmla="*/ 146814 w 180472"/>
              <a:gd name="connsiteY235" fmla="*/ 243692 h 576406"/>
              <a:gd name="connsiteX236" fmla="*/ 146390 w 180472"/>
              <a:gd name="connsiteY236" fmla="*/ 238555 h 576406"/>
              <a:gd name="connsiteX237" fmla="*/ 149736 w 180472"/>
              <a:gd name="connsiteY237" fmla="*/ 236953 h 576406"/>
              <a:gd name="connsiteX238" fmla="*/ 152729 w 180472"/>
              <a:gd name="connsiteY238" fmla="*/ 235516 h 576406"/>
              <a:gd name="connsiteX239" fmla="*/ 152446 w 180472"/>
              <a:gd name="connsiteY239" fmla="*/ 220341 h 576406"/>
              <a:gd name="connsiteX240" fmla="*/ 153530 w 180472"/>
              <a:gd name="connsiteY240" fmla="*/ 220576 h 576406"/>
              <a:gd name="connsiteX241" fmla="*/ 154685 w 180472"/>
              <a:gd name="connsiteY241" fmla="*/ 220647 h 576406"/>
              <a:gd name="connsiteX242" fmla="*/ 167432 w 180472"/>
              <a:gd name="connsiteY242" fmla="*/ 217796 h 576406"/>
              <a:gd name="connsiteX243" fmla="*/ 180322 w 180472"/>
              <a:gd name="connsiteY243" fmla="*/ 196471 h 576406"/>
              <a:gd name="connsiteX244" fmla="*/ 178130 w 180472"/>
              <a:gd name="connsiteY244" fmla="*/ 186763 h 576406"/>
              <a:gd name="connsiteX245" fmla="*/ 176999 w 180472"/>
              <a:gd name="connsiteY245" fmla="*/ 184242 h 576406"/>
              <a:gd name="connsiteX246" fmla="*/ 177494 w 180472"/>
              <a:gd name="connsiteY246" fmla="*/ 180024 h 576406"/>
              <a:gd name="connsiteX247" fmla="*/ 178107 w 180472"/>
              <a:gd name="connsiteY247" fmla="*/ 174298 h 576406"/>
              <a:gd name="connsiteX248" fmla="*/ 175798 w 180472"/>
              <a:gd name="connsiteY248" fmla="*/ 167960 h 576406"/>
              <a:gd name="connsiteX249" fmla="*/ 174431 w 180472"/>
              <a:gd name="connsiteY249" fmla="*/ 165108 h 576406"/>
              <a:gd name="connsiteX250" fmla="*/ 172805 w 180472"/>
              <a:gd name="connsiteY250" fmla="*/ 154764 h 576406"/>
              <a:gd name="connsiteX251" fmla="*/ 171862 w 180472"/>
              <a:gd name="connsiteY251" fmla="*/ 147342 h 576406"/>
              <a:gd name="connsiteX252" fmla="*/ 171391 w 180472"/>
              <a:gd name="connsiteY252" fmla="*/ 144797 h 576406"/>
              <a:gd name="connsiteX253" fmla="*/ 158148 w 180472"/>
              <a:gd name="connsiteY253" fmla="*/ 99885 h 576406"/>
              <a:gd name="connsiteX254" fmla="*/ 147309 w 180472"/>
              <a:gd name="connsiteY254" fmla="*/ 91873 h 576406"/>
              <a:gd name="connsiteX255" fmla="*/ 133336 w 180472"/>
              <a:gd name="connsiteY255" fmla="*/ 87349 h 576406"/>
              <a:gd name="connsiteX256" fmla="*/ 115263 w 180472"/>
              <a:gd name="connsiteY256" fmla="*/ 80869 h 576406"/>
              <a:gd name="connsiteX257" fmla="*/ 114249 w 180472"/>
              <a:gd name="connsiteY257" fmla="*/ 79338 h 576406"/>
              <a:gd name="connsiteX258" fmla="*/ 114014 w 180472"/>
              <a:gd name="connsiteY258" fmla="*/ 78937 h 576406"/>
              <a:gd name="connsiteX259" fmla="*/ 118373 w 180472"/>
              <a:gd name="connsiteY259" fmla="*/ 72952 h 576406"/>
              <a:gd name="connsiteX260" fmla="*/ 121672 w 180472"/>
              <a:gd name="connsiteY260" fmla="*/ 68428 h 576406"/>
              <a:gd name="connsiteX261" fmla="*/ 132959 w 180472"/>
              <a:gd name="connsiteY261" fmla="*/ 30797 h 576406"/>
              <a:gd name="connsiteX262" fmla="*/ 116087 w 180472"/>
              <a:gd name="connsiteY262" fmla="*/ 2757 h 576406"/>
              <a:gd name="connsiteX263" fmla="*/ 104683 w 180472"/>
              <a:gd name="connsiteY263" fmla="*/ 141 h 576406"/>
              <a:gd name="connsiteX264" fmla="*/ 104683 w 180472"/>
              <a:gd name="connsiteY264" fmla="*/ 141 h 576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</a:cxnLst>
            <a:rect l="l" t="t" r="r" b="b"/>
            <a:pathLst>
              <a:path w="180472" h="576406">
                <a:moveTo>
                  <a:pt x="104588" y="2356"/>
                </a:moveTo>
                <a:cubicBezTo>
                  <a:pt x="108429" y="2356"/>
                  <a:pt x="112081" y="3087"/>
                  <a:pt x="114815" y="4666"/>
                </a:cubicBezTo>
                <a:cubicBezTo>
                  <a:pt x="123533" y="9685"/>
                  <a:pt x="129919" y="20830"/>
                  <a:pt x="130508" y="30821"/>
                </a:cubicBezTo>
                <a:cubicBezTo>
                  <a:pt x="131074" y="40034"/>
                  <a:pt x="124146" y="58979"/>
                  <a:pt x="119528" y="67156"/>
                </a:cubicBezTo>
                <a:cubicBezTo>
                  <a:pt x="118279" y="69370"/>
                  <a:pt x="111021" y="77688"/>
                  <a:pt x="111327" y="79126"/>
                </a:cubicBezTo>
                <a:cubicBezTo>
                  <a:pt x="112034" y="80115"/>
                  <a:pt x="112718" y="81647"/>
                  <a:pt x="113566" y="82472"/>
                </a:cubicBezTo>
                <a:cubicBezTo>
                  <a:pt x="117855" y="86525"/>
                  <a:pt x="139274" y="90578"/>
                  <a:pt x="146202" y="93900"/>
                </a:cubicBezTo>
                <a:cubicBezTo>
                  <a:pt x="148063" y="94795"/>
                  <a:pt x="155014" y="99814"/>
                  <a:pt x="156240" y="101299"/>
                </a:cubicBezTo>
                <a:cubicBezTo>
                  <a:pt x="162790" y="109122"/>
                  <a:pt x="167432" y="136738"/>
                  <a:pt x="169435" y="147671"/>
                </a:cubicBezTo>
                <a:cubicBezTo>
                  <a:pt x="170472" y="153303"/>
                  <a:pt x="170472" y="160278"/>
                  <a:pt x="172075" y="165697"/>
                </a:cubicBezTo>
                <a:cubicBezTo>
                  <a:pt x="172946" y="168666"/>
                  <a:pt x="175397" y="170834"/>
                  <a:pt x="175680" y="174392"/>
                </a:cubicBezTo>
                <a:cubicBezTo>
                  <a:pt x="175939" y="177621"/>
                  <a:pt x="174266" y="181414"/>
                  <a:pt x="174572" y="184383"/>
                </a:cubicBezTo>
                <a:cubicBezTo>
                  <a:pt x="174949" y="187965"/>
                  <a:pt x="178790" y="189355"/>
                  <a:pt x="177895" y="196047"/>
                </a:cubicBezTo>
                <a:cubicBezTo>
                  <a:pt x="177353" y="200241"/>
                  <a:pt x="170001" y="213531"/>
                  <a:pt x="166207" y="215605"/>
                </a:cubicBezTo>
                <a:cubicBezTo>
                  <a:pt x="164063" y="216783"/>
                  <a:pt x="157724" y="218173"/>
                  <a:pt x="154590" y="218173"/>
                </a:cubicBezTo>
                <a:cubicBezTo>
                  <a:pt x="154260" y="218173"/>
                  <a:pt x="153978" y="218173"/>
                  <a:pt x="153742" y="218126"/>
                </a:cubicBezTo>
                <a:cubicBezTo>
                  <a:pt x="152587" y="217985"/>
                  <a:pt x="151716" y="217231"/>
                  <a:pt x="150490" y="217231"/>
                </a:cubicBezTo>
                <a:cubicBezTo>
                  <a:pt x="150043" y="217231"/>
                  <a:pt x="149548" y="217325"/>
                  <a:pt x="148982" y="217608"/>
                </a:cubicBezTo>
                <a:cubicBezTo>
                  <a:pt x="150043" y="221189"/>
                  <a:pt x="154378" y="230709"/>
                  <a:pt x="151079" y="233654"/>
                </a:cubicBezTo>
                <a:cubicBezTo>
                  <a:pt x="149901" y="234715"/>
                  <a:pt x="143892" y="235327"/>
                  <a:pt x="143916" y="238532"/>
                </a:cubicBezTo>
                <a:cubicBezTo>
                  <a:pt x="144552" y="241595"/>
                  <a:pt x="144199" y="244870"/>
                  <a:pt x="144670" y="247910"/>
                </a:cubicBezTo>
                <a:cubicBezTo>
                  <a:pt x="147003" y="263038"/>
                  <a:pt x="153436" y="272157"/>
                  <a:pt x="152328" y="289381"/>
                </a:cubicBezTo>
                <a:cubicBezTo>
                  <a:pt x="151951" y="295414"/>
                  <a:pt x="150820" y="301894"/>
                  <a:pt x="150137" y="307832"/>
                </a:cubicBezTo>
                <a:cubicBezTo>
                  <a:pt x="148935" y="318576"/>
                  <a:pt x="145471" y="328308"/>
                  <a:pt x="144034" y="338605"/>
                </a:cubicBezTo>
                <a:cubicBezTo>
                  <a:pt x="141442" y="357315"/>
                  <a:pt x="141889" y="377014"/>
                  <a:pt x="136753" y="395534"/>
                </a:cubicBezTo>
                <a:cubicBezTo>
                  <a:pt x="136399" y="396807"/>
                  <a:pt x="135292" y="397726"/>
                  <a:pt x="135080" y="398880"/>
                </a:cubicBezTo>
                <a:cubicBezTo>
                  <a:pt x="134373" y="402556"/>
                  <a:pt x="135975" y="406444"/>
                  <a:pt x="136211" y="410026"/>
                </a:cubicBezTo>
                <a:cubicBezTo>
                  <a:pt x="136305" y="411605"/>
                  <a:pt x="135551" y="413278"/>
                  <a:pt x="135716" y="414385"/>
                </a:cubicBezTo>
                <a:cubicBezTo>
                  <a:pt x="135999" y="416294"/>
                  <a:pt x="138614" y="417213"/>
                  <a:pt x="138944" y="418980"/>
                </a:cubicBezTo>
                <a:cubicBezTo>
                  <a:pt x="139345" y="421148"/>
                  <a:pt x="138803" y="424423"/>
                  <a:pt x="138944" y="426803"/>
                </a:cubicBezTo>
                <a:cubicBezTo>
                  <a:pt x="139957" y="444193"/>
                  <a:pt x="140523" y="461771"/>
                  <a:pt x="140099" y="479302"/>
                </a:cubicBezTo>
                <a:cubicBezTo>
                  <a:pt x="139887" y="488468"/>
                  <a:pt x="137483" y="493487"/>
                  <a:pt x="141489" y="502441"/>
                </a:cubicBezTo>
                <a:cubicBezTo>
                  <a:pt x="142573" y="504868"/>
                  <a:pt x="145047" y="507201"/>
                  <a:pt x="145118" y="510005"/>
                </a:cubicBezTo>
                <a:cubicBezTo>
                  <a:pt x="145259" y="514600"/>
                  <a:pt x="142502" y="512998"/>
                  <a:pt x="140429" y="514247"/>
                </a:cubicBezTo>
                <a:cubicBezTo>
                  <a:pt x="138143" y="515637"/>
                  <a:pt x="139439" y="524991"/>
                  <a:pt x="138426" y="527772"/>
                </a:cubicBezTo>
                <a:cubicBezTo>
                  <a:pt x="140735" y="540449"/>
                  <a:pt x="152917" y="549639"/>
                  <a:pt x="153459" y="562481"/>
                </a:cubicBezTo>
                <a:cubicBezTo>
                  <a:pt x="153577" y="565238"/>
                  <a:pt x="153412" y="571199"/>
                  <a:pt x="150137" y="572024"/>
                </a:cubicBezTo>
                <a:cubicBezTo>
                  <a:pt x="148016" y="572095"/>
                  <a:pt x="144953" y="572236"/>
                  <a:pt x="141583" y="572236"/>
                </a:cubicBezTo>
                <a:cubicBezTo>
                  <a:pt x="133218" y="572236"/>
                  <a:pt x="122921" y="571293"/>
                  <a:pt x="120093" y="565756"/>
                </a:cubicBezTo>
                <a:cubicBezTo>
                  <a:pt x="118020" y="561727"/>
                  <a:pt x="121153" y="556637"/>
                  <a:pt x="119528" y="552466"/>
                </a:cubicBezTo>
                <a:cubicBezTo>
                  <a:pt x="119433" y="552466"/>
                  <a:pt x="119363" y="552466"/>
                  <a:pt x="119268" y="552466"/>
                </a:cubicBezTo>
                <a:cubicBezTo>
                  <a:pt x="116582" y="552466"/>
                  <a:pt x="112411" y="549921"/>
                  <a:pt x="111375" y="547659"/>
                </a:cubicBezTo>
                <a:cubicBezTo>
                  <a:pt x="110079" y="544808"/>
                  <a:pt x="111822" y="536985"/>
                  <a:pt x="110974" y="533545"/>
                </a:cubicBezTo>
                <a:cubicBezTo>
                  <a:pt x="109654" y="531306"/>
                  <a:pt x="107180" y="530293"/>
                  <a:pt x="105531" y="528385"/>
                </a:cubicBezTo>
                <a:cubicBezTo>
                  <a:pt x="101878" y="524143"/>
                  <a:pt x="97566" y="505834"/>
                  <a:pt x="97142" y="499944"/>
                </a:cubicBezTo>
                <a:cubicBezTo>
                  <a:pt x="95493" y="477064"/>
                  <a:pt x="97260" y="449212"/>
                  <a:pt x="101077" y="426756"/>
                </a:cubicBezTo>
                <a:cubicBezTo>
                  <a:pt x="101219" y="411063"/>
                  <a:pt x="96671" y="396241"/>
                  <a:pt x="94432" y="380902"/>
                </a:cubicBezTo>
                <a:cubicBezTo>
                  <a:pt x="93796" y="376542"/>
                  <a:pt x="94220" y="371877"/>
                  <a:pt x="93773" y="367612"/>
                </a:cubicBezTo>
                <a:cubicBezTo>
                  <a:pt x="93725" y="367093"/>
                  <a:pt x="93537" y="365609"/>
                  <a:pt x="92783" y="365609"/>
                </a:cubicBezTo>
                <a:cubicBezTo>
                  <a:pt x="92759" y="365609"/>
                  <a:pt x="92736" y="365609"/>
                  <a:pt x="92712" y="365609"/>
                </a:cubicBezTo>
                <a:cubicBezTo>
                  <a:pt x="88966" y="374964"/>
                  <a:pt x="90238" y="384601"/>
                  <a:pt x="88801" y="394356"/>
                </a:cubicBezTo>
                <a:cubicBezTo>
                  <a:pt x="88353" y="397372"/>
                  <a:pt x="86586" y="401496"/>
                  <a:pt x="86539" y="403852"/>
                </a:cubicBezTo>
                <a:cubicBezTo>
                  <a:pt x="86468" y="408046"/>
                  <a:pt x="88212" y="413490"/>
                  <a:pt x="88282" y="417802"/>
                </a:cubicBezTo>
                <a:cubicBezTo>
                  <a:pt x="88376" y="423858"/>
                  <a:pt x="87528" y="430597"/>
                  <a:pt x="87670" y="436841"/>
                </a:cubicBezTo>
                <a:cubicBezTo>
                  <a:pt x="88212" y="459697"/>
                  <a:pt x="92076" y="482789"/>
                  <a:pt x="83499" y="504656"/>
                </a:cubicBezTo>
                <a:cubicBezTo>
                  <a:pt x="82768" y="506541"/>
                  <a:pt x="78763" y="513869"/>
                  <a:pt x="78810" y="515024"/>
                </a:cubicBezTo>
                <a:cubicBezTo>
                  <a:pt x="78880" y="517663"/>
                  <a:pt x="85030" y="520774"/>
                  <a:pt x="85360" y="524096"/>
                </a:cubicBezTo>
                <a:cubicBezTo>
                  <a:pt x="85737" y="527890"/>
                  <a:pt x="80577" y="529728"/>
                  <a:pt x="80011" y="532461"/>
                </a:cubicBezTo>
                <a:cubicBezTo>
                  <a:pt x="79776" y="533639"/>
                  <a:pt x="80860" y="536373"/>
                  <a:pt x="81001" y="537928"/>
                </a:cubicBezTo>
                <a:cubicBezTo>
                  <a:pt x="81166" y="539766"/>
                  <a:pt x="81755" y="545397"/>
                  <a:pt x="81543" y="546811"/>
                </a:cubicBezTo>
                <a:cubicBezTo>
                  <a:pt x="81001" y="550723"/>
                  <a:pt x="75322" y="553550"/>
                  <a:pt x="71151" y="553550"/>
                </a:cubicBezTo>
                <a:cubicBezTo>
                  <a:pt x="70515" y="553550"/>
                  <a:pt x="69926" y="553479"/>
                  <a:pt x="69384" y="553362"/>
                </a:cubicBezTo>
                <a:cubicBezTo>
                  <a:pt x="66321" y="559912"/>
                  <a:pt x="71976" y="563635"/>
                  <a:pt x="65402" y="569196"/>
                </a:cubicBezTo>
                <a:cubicBezTo>
                  <a:pt x="61349" y="572660"/>
                  <a:pt x="57084" y="573555"/>
                  <a:pt x="52018" y="573932"/>
                </a:cubicBezTo>
                <a:lnTo>
                  <a:pt x="45326" y="573932"/>
                </a:lnTo>
                <a:cubicBezTo>
                  <a:pt x="40754" y="572000"/>
                  <a:pt x="34157" y="575464"/>
                  <a:pt x="34133" y="568631"/>
                </a:cubicBezTo>
                <a:cubicBezTo>
                  <a:pt x="34133" y="566298"/>
                  <a:pt x="34463" y="561491"/>
                  <a:pt x="34769" y="559182"/>
                </a:cubicBezTo>
                <a:cubicBezTo>
                  <a:pt x="35429" y="554328"/>
                  <a:pt x="45915" y="542263"/>
                  <a:pt x="48884" y="537032"/>
                </a:cubicBezTo>
                <a:cubicBezTo>
                  <a:pt x="49850" y="535336"/>
                  <a:pt x="50816" y="533592"/>
                  <a:pt x="51452" y="531707"/>
                </a:cubicBezTo>
                <a:cubicBezTo>
                  <a:pt x="51523" y="530529"/>
                  <a:pt x="47988" y="526005"/>
                  <a:pt x="47423" y="524072"/>
                </a:cubicBezTo>
                <a:cubicBezTo>
                  <a:pt x="46834" y="522046"/>
                  <a:pt x="46622" y="517263"/>
                  <a:pt x="47234" y="515260"/>
                </a:cubicBezTo>
                <a:cubicBezTo>
                  <a:pt x="47847" y="513257"/>
                  <a:pt x="51146" y="512032"/>
                  <a:pt x="50910" y="509416"/>
                </a:cubicBezTo>
                <a:cubicBezTo>
                  <a:pt x="47541" y="485146"/>
                  <a:pt x="48342" y="460216"/>
                  <a:pt x="48672" y="435686"/>
                </a:cubicBezTo>
                <a:cubicBezTo>
                  <a:pt x="48813" y="425860"/>
                  <a:pt x="48248" y="413702"/>
                  <a:pt x="49261" y="403946"/>
                </a:cubicBezTo>
                <a:cubicBezTo>
                  <a:pt x="49496" y="401637"/>
                  <a:pt x="50628" y="399352"/>
                  <a:pt x="50863" y="397184"/>
                </a:cubicBezTo>
                <a:cubicBezTo>
                  <a:pt x="51924" y="387240"/>
                  <a:pt x="46056" y="377720"/>
                  <a:pt x="44265" y="368036"/>
                </a:cubicBezTo>
                <a:cubicBezTo>
                  <a:pt x="42804" y="360142"/>
                  <a:pt x="42498" y="352084"/>
                  <a:pt x="41320" y="344190"/>
                </a:cubicBezTo>
                <a:cubicBezTo>
                  <a:pt x="37950" y="321475"/>
                  <a:pt x="29962" y="289311"/>
                  <a:pt x="34840" y="267185"/>
                </a:cubicBezTo>
                <a:cubicBezTo>
                  <a:pt x="35806" y="262778"/>
                  <a:pt x="38916" y="258325"/>
                  <a:pt x="40000" y="253942"/>
                </a:cubicBezTo>
                <a:cubicBezTo>
                  <a:pt x="41037" y="249795"/>
                  <a:pt x="41273" y="245106"/>
                  <a:pt x="41414" y="240865"/>
                </a:cubicBezTo>
                <a:cubicBezTo>
                  <a:pt x="41226" y="239804"/>
                  <a:pt x="33285" y="240417"/>
                  <a:pt x="32978" y="239050"/>
                </a:cubicBezTo>
                <a:cubicBezTo>
                  <a:pt x="32130" y="235304"/>
                  <a:pt x="38092" y="233065"/>
                  <a:pt x="38587" y="229036"/>
                </a:cubicBezTo>
                <a:cubicBezTo>
                  <a:pt x="38964" y="225996"/>
                  <a:pt x="36631" y="219516"/>
                  <a:pt x="36890" y="215982"/>
                </a:cubicBezTo>
                <a:cubicBezTo>
                  <a:pt x="36843" y="215935"/>
                  <a:pt x="36701" y="215911"/>
                  <a:pt x="36466" y="215911"/>
                </a:cubicBezTo>
                <a:cubicBezTo>
                  <a:pt x="34651" y="215911"/>
                  <a:pt x="27889" y="216971"/>
                  <a:pt x="26710" y="217160"/>
                </a:cubicBezTo>
                <a:cubicBezTo>
                  <a:pt x="23859" y="217584"/>
                  <a:pt x="20820" y="218739"/>
                  <a:pt x="17945" y="218739"/>
                </a:cubicBezTo>
                <a:cubicBezTo>
                  <a:pt x="17191" y="218739"/>
                  <a:pt x="16460" y="218668"/>
                  <a:pt x="15730" y="218479"/>
                </a:cubicBezTo>
                <a:cubicBezTo>
                  <a:pt x="13185" y="217796"/>
                  <a:pt x="7459" y="210774"/>
                  <a:pt x="5739" y="208394"/>
                </a:cubicBezTo>
                <a:cubicBezTo>
                  <a:pt x="4089" y="206132"/>
                  <a:pt x="3029" y="204860"/>
                  <a:pt x="2369" y="201985"/>
                </a:cubicBezTo>
                <a:cubicBezTo>
                  <a:pt x="2511" y="200383"/>
                  <a:pt x="2181" y="198521"/>
                  <a:pt x="2369" y="196966"/>
                </a:cubicBezTo>
                <a:cubicBezTo>
                  <a:pt x="2605" y="195152"/>
                  <a:pt x="3830" y="192677"/>
                  <a:pt x="4042" y="190533"/>
                </a:cubicBezTo>
                <a:cubicBezTo>
                  <a:pt x="6351" y="165226"/>
                  <a:pt x="3948" y="127878"/>
                  <a:pt x="15659" y="104975"/>
                </a:cubicBezTo>
                <a:cubicBezTo>
                  <a:pt x="23883" y="88905"/>
                  <a:pt x="43276" y="89234"/>
                  <a:pt x="58309" y="83485"/>
                </a:cubicBezTo>
                <a:cubicBezTo>
                  <a:pt x="62739" y="79102"/>
                  <a:pt x="63611" y="68899"/>
                  <a:pt x="70939" y="68876"/>
                </a:cubicBezTo>
                <a:cubicBezTo>
                  <a:pt x="71458" y="68876"/>
                  <a:pt x="72023" y="68923"/>
                  <a:pt x="72612" y="69041"/>
                </a:cubicBezTo>
                <a:cubicBezTo>
                  <a:pt x="72400" y="63032"/>
                  <a:pt x="73437" y="57000"/>
                  <a:pt x="74827" y="51180"/>
                </a:cubicBezTo>
                <a:cubicBezTo>
                  <a:pt x="74285" y="51368"/>
                  <a:pt x="73743" y="51462"/>
                  <a:pt x="73249" y="51462"/>
                </a:cubicBezTo>
                <a:cubicBezTo>
                  <a:pt x="68960" y="51462"/>
                  <a:pt x="66792" y="44723"/>
                  <a:pt x="67028" y="40859"/>
                </a:cubicBezTo>
                <a:cubicBezTo>
                  <a:pt x="67169" y="38361"/>
                  <a:pt x="69879" y="28088"/>
                  <a:pt x="73531" y="28088"/>
                </a:cubicBezTo>
                <a:cubicBezTo>
                  <a:pt x="74050" y="28088"/>
                  <a:pt x="74615" y="28300"/>
                  <a:pt x="75157" y="28794"/>
                </a:cubicBezTo>
                <a:cubicBezTo>
                  <a:pt x="76053" y="29572"/>
                  <a:pt x="75464" y="31056"/>
                  <a:pt x="76477" y="31080"/>
                </a:cubicBezTo>
                <a:cubicBezTo>
                  <a:pt x="77184" y="24365"/>
                  <a:pt x="81755" y="12677"/>
                  <a:pt x="86774" y="8176"/>
                </a:cubicBezTo>
                <a:cubicBezTo>
                  <a:pt x="90827" y="4548"/>
                  <a:pt x="97967" y="2427"/>
                  <a:pt x="104541" y="2427"/>
                </a:cubicBezTo>
                <a:moveTo>
                  <a:pt x="104588" y="0"/>
                </a:moveTo>
                <a:cubicBezTo>
                  <a:pt x="97166" y="0"/>
                  <a:pt x="89578" y="2498"/>
                  <a:pt x="85266" y="6339"/>
                </a:cubicBezTo>
                <a:cubicBezTo>
                  <a:pt x="80648" y="10462"/>
                  <a:pt x="76854" y="19157"/>
                  <a:pt x="75110" y="25943"/>
                </a:cubicBezTo>
                <a:cubicBezTo>
                  <a:pt x="74615" y="25755"/>
                  <a:pt x="74097" y="25660"/>
                  <a:pt x="73579" y="25660"/>
                </a:cubicBezTo>
                <a:cubicBezTo>
                  <a:pt x="66839" y="25660"/>
                  <a:pt x="64742" y="40505"/>
                  <a:pt x="64719" y="40670"/>
                </a:cubicBezTo>
                <a:cubicBezTo>
                  <a:pt x="64530" y="43946"/>
                  <a:pt x="65708" y="48705"/>
                  <a:pt x="68300" y="51486"/>
                </a:cubicBezTo>
                <a:cubicBezTo>
                  <a:pt x="69361" y="52593"/>
                  <a:pt x="70562" y="53324"/>
                  <a:pt x="71882" y="53630"/>
                </a:cubicBezTo>
                <a:cubicBezTo>
                  <a:pt x="70869" y="58437"/>
                  <a:pt x="70327" y="62631"/>
                  <a:pt x="70256" y="66519"/>
                </a:cubicBezTo>
                <a:cubicBezTo>
                  <a:pt x="64601" y="66920"/>
                  <a:pt x="62103" y="72033"/>
                  <a:pt x="60077" y="76180"/>
                </a:cubicBezTo>
                <a:cubicBezTo>
                  <a:pt x="59087" y="78207"/>
                  <a:pt x="58144" y="80139"/>
                  <a:pt x="56990" y="81435"/>
                </a:cubicBezTo>
                <a:cubicBezTo>
                  <a:pt x="53149" y="82849"/>
                  <a:pt x="48907" y="83933"/>
                  <a:pt x="44807" y="84969"/>
                </a:cubicBezTo>
                <a:cubicBezTo>
                  <a:pt x="32625" y="88033"/>
                  <a:pt x="20042" y="91214"/>
                  <a:pt x="13585" y="103867"/>
                </a:cubicBezTo>
                <a:cubicBezTo>
                  <a:pt x="4702" y="121257"/>
                  <a:pt x="3736" y="146470"/>
                  <a:pt x="2888" y="168690"/>
                </a:cubicBezTo>
                <a:cubicBezTo>
                  <a:pt x="2581" y="176442"/>
                  <a:pt x="2322" y="183771"/>
                  <a:pt x="1733" y="190274"/>
                </a:cubicBezTo>
                <a:cubicBezTo>
                  <a:pt x="1662" y="191169"/>
                  <a:pt x="1285" y="192300"/>
                  <a:pt x="932" y="193384"/>
                </a:cubicBezTo>
                <a:cubicBezTo>
                  <a:pt x="578" y="194468"/>
                  <a:pt x="225" y="195576"/>
                  <a:pt x="84" y="196613"/>
                </a:cubicBezTo>
                <a:cubicBezTo>
                  <a:pt x="-58" y="197649"/>
                  <a:pt x="13" y="198686"/>
                  <a:pt x="60" y="199676"/>
                </a:cubicBezTo>
                <a:cubicBezTo>
                  <a:pt x="107" y="200430"/>
                  <a:pt x="131" y="201137"/>
                  <a:pt x="60" y="201749"/>
                </a:cubicBezTo>
                <a:cubicBezTo>
                  <a:pt x="60" y="201985"/>
                  <a:pt x="60" y="202221"/>
                  <a:pt x="107" y="202456"/>
                </a:cubicBezTo>
                <a:cubicBezTo>
                  <a:pt x="814" y="205590"/>
                  <a:pt x="1969" y="207193"/>
                  <a:pt x="3477" y="209219"/>
                </a:cubicBezTo>
                <a:lnTo>
                  <a:pt x="3877" y="209761"/>
                </a:lnTo>
                <a:cubicBezTo>
                  <a:pt x="4184" y="210162"/>
                  <a:pt x="11158" y="219658"/>
                  <a:pt x="15164" y="220741"/>
                </a:cubicBezTo>
                <a:cubicBezTo>
                  <a:pt x="16060" y="220977"/>
                  <a:pt x="16979" y="221095"/>
                  <a:pt x="17968" y="221095"/>
                </a:cubicBezTo>
                <a:cubicBezTo>
                  <a:pt x="20018" y="221095"/>
                  <a:pt x="22021" y="220600"/>
                  <a:pt x="23953" y="220152"/>
                </a:cubicBezTo>
                <a:cubicBezTo>
                  <a:pt x="25061" y="219893"/>
                  <a:pt x="26098" y="219634"/>
                  <a:pt x="27087" y="219493"/>
                </a:cubicBezTo>
                <a:lnTo>
                  <a:pt x="27771" y="219398"/>
                </a:lnTo>
                <a:cubicBezTo>
                  <a:pt x="30858" y="218927"/>
                  <a:pt x="33143" y="218597"/>
                  <a:pt x="34675" y="218432"/>
                </a:cubicBezTo>
                <a:cubicBezTo>
                  <a:pt x="34840" y="219940"/>
                  <a:pt x="35193" y="221566"/>
                  <a:pt x="35500" y="223168"/>
                </a:cubicBezTo>
                <a:cubicBezTo>
                  <a:pt x="35924" y="225242"/>
                  <a:pt x="36419" y="227622"/>
                  <a:pt x="36277" y="228753"/>
                </a:cubicBezTo>
                <a:cubicBezTo>
                  <a:pt x="36136" y="229860"/>
                  <a:pt x="35052" y="230991"/>
                  <a:pt x="33897" y="232217"/>
                </a:cubicBezTo>
                <a:cubicBezTo>
                  <a:pt x="32154" y="234055"/>
                  <a:pt x="29962" y="236340"/>
                  <a:pt x="30716" y="239592"/>
                </a:cubicBezTo>
                <a:cubicBezTo>
                  <a:pt x="31258" y="242019"/>
                  <a:pt x="34015" y="242208"/>
                  <a:pt x="37479" y="242467"/>
                </a:cubicBezTo>
                <a:cubicBezTo>
                  <a:pt x="37927" y="242490"/>
                  <a:pt x="38492" y="242538"/>
                  <a:pt x="39011" y="242585"/>
                </a:cubicBezTo>
                <a:cubicBezTo>
                  <a:pt x="38846" y="246284"/>
                  <a:pt x="38563" y="250078"/>
                  <a:pt x="37738" y="253377"/>
                </a:cubicBezTo>
                <a:cubicBezTo>
                  <a:pt x="37267" y="255285"/>
                  <a:pt x="36348" y="257265"/>
                  <a:pt x="35358" y="259362"/>
                </a:cubicBezTo>
                <a:cubicBezTo>
                  <a:pt x="34251" y="261718"/>
                  <a:pt x="33120" y="264169"/>
                  <a:pt x="32554" y="266690"/>
                </a:cubicBezTo>
                <a:cubicBezTo>
                  <a:pt x="28596" y="284622"/>
                  <a:pt x="32766" y="308326"/>
                  <a:pt x="36442" y="329227"/>
                </a:cubicBezTo>
                <a:cubicBezTo>
                  <a:pt x="37408" y="334670"/>
                  <a:pt x="38304" y="339831"/>
                  <a:pt x="39011" y="344567"/>
                </a:cubicBezTo>
                <a:cubicBezTo>
                  <a:pt x="39505" y="347913"/>
                  <a:pt x="39859" y="351377"/>
                  <a:pt x="40189" y="354723"/>
                </a:cubicBezTo>
                <a:cubicBezTo>
                  <a:pt x="40637" y="359247"/>
                  <a:pt x="41108" y="363912"/>
                  <a:pt x="41956" y="368507"/>
                </a:cubicBezTo>
                <a:cubicBezTo>
                  <a:pt x="42639" y="372254"/>
                  <a:pt x="43912" y="375953"/>
                  <a:pt x="45137" y="379535"/>
                </a:cubicBezTo>
                <a:cubicBezTo>
                  <a:pt x="47187" y="385543"/>
                  <a:pt x="49143" y="391222"/>
                  <a:pt x="48530" y="396972"/>
                </a:cubicBezTo>
                <a:cubicBezTo>
                  <a:pt x="48436" y="397820"/>
                  <a:pt x="48153" y="398786"/>
                  <a:pt x="47847" y="399799"/>
                </a:cubicBezTo>
                <a:cubicBezTo>
                  <a:pt x="47470" y="401048"/>
                  <a:pt x="47069" y="402344"/>
                  <a:pt x="46928" y="403734"/>
                </a:cubicBezTo>
                <a:cubicBezTo>
                  <a:pt x="46198" y="410709"/>
                  <a:pt x="46245" y="418674"/>
                  <a:pt x="46315" y="426402"/>
                </a:cubicBezTo>
                <a:cubicBezTo>
                  <a:pt x="46315" y="429678"/>
                  <a:pt x="46363" y="432788"/>
                  <a:pt x="46315" y="435710"/>
                </a:cubicBezTo>
                <a:cubicBezTo>
                  <a:pt x="46292" y="438208"/>
                  <a:pt x="46245" y="440705"/>
                  <a:pt x="46198" y="443203"/>
                </a:cubicBezTo>
                <a:cubicBezTo>
                  <a:pt x="45868" y="465117"/>
                  <a:pt x="45514" y="487761"/>
                  <a:pt x="48554" y="509722"/>
                </a:cubicBezTo>
                <a:cubicBezTo>
                  <a:pt x="48554" y="510123"/>
                  <a:pt x="48036" y="510665"/>
                  <a:pt x="47258" y="511419"/>
                </a:cubicBezTo>
                <a:cubicBezTo>
                  <a:pt x="46386" y="512267"/>
                  <a:pt x="45396" y="513233"/>
                  <a:pt x="44949" y="514647"/>
                </a:cubicBezTo>
                <a:cubicBezTo>
                  <a:pt x="44195" y="517121"/>
                  <a:pt x="44407" y="522399"/>
                  <a:pt x="45114" y="524826"/>
                </a:cubicBezTo>
                <a:cubicBezTo>
                  <a:pt x="45467" y="526052"/>
                  <a:pt x="46433" y="527607"/>
                  <a:pt x="47470" y="529256"/>
                </a:cubicBezTo>
                <a:cubicBezTo>
                  <a:pt x="47941" y="530010"/>
                  <a:pt x="48625" y="531094"/>
                  <a:pt x="48931" y="531731"/>
                </a:cubicBezTo>
                <a:cubicBezTo>
                  <a:pt x="48389" y="533121"/>
                  <a:pt x="47635" y="534464"/>
                  <a:pt x="46810" y="535948"/>
                </a:cubicBezTo>
                <a:cubicBezTo>
                  <a:pt x="45821" y="537692"/>
                  <a:pt x="43841" y="540378"/>
                  <a:pt x="41744" y="543253"/>
                </a:cubicBezTo>
                <a:cubicBezTo>
                  <a:pt x="36584" y="550275"/>
                  <a:pt x="32884" y="555506"/>
                  <a:pt x="32413" y="558970"/>
                </a:cubicBezTo>
                <a:cubicBezTo>
                  <a:pt x="32107" y="561255"/>
                  <a:pt x="31729" y="566227"/>
                  <a:pt x="31753" y="568749"/>
                </a:cubicBezTo>
                <a:cubicBezTo>
                  <a:pt x="31777" y="575535"/>
                  <a:pt x="37055" y="575629"/>
                  <a:pt x="40189" y="575676"/>
                </a:cubicBezTo>
                <a:cubicBezTo>
                  <a:pt x="41673" y="575700"/>
                  <a:pt x="43229" y="575723"/>
                  <a:pt x="44383" y="576218"/>
                </a:cubicBezTo>
                <a:cubicBezTo>
                  <a:pt x="44666" y="576336"/>
                  <a:pt x="44996" y="576407"/>
                  <a:pt x="45302" y="576407"/>
                </a:cubicBezTo>
                <a:lnTo>
                  <a:pt x="51994" y="576407"/>
                </a:lnTo>
                <a:cubicBezTo>
                  <a:pt x="51994" y="576407"/>
                  <a:pt x="52112" y="576407"/>
                  <a:pt x="52183" y="576407"/>
                </a:cubicBezTo>
                <a:cubicBezTo>
                  <a:pt x="57791" y="575982"/>
                  <a:pt x="62433" y="574922"/>
                  <a:pt x="66910" y="571105"/>
                </a:cubicBezTo>
                <a:cubicBezTo>
                  <a:pt x="71670" y="567052"/>
                  <a:pt x="71246" y="563329"/>
                  <a:pt x="70892" y="560313"/>
                </a:cubicBezTo>
                <a:cubicBezTo>
                  <a:pt x="70727" y="558828"/>
                  <a:pt x="70586" y="557509"/>
                  <a:pt x="70939" y="556024"/>
                </a:cubicBezTo>
                <a:cubicBezTo>
                  <a:pt x="71010" y="556024"/>
                  <a:pt x="71057" y="556024"/>
                  <a:pt x="71128" y="556024"/>
                </a:cubicBezTo>
                <a:cubicBezTo>
                  <a:pt x="76571" y="556024"/>
                  <a:pt x="83145" y="552419"/>
                  <a:pt x="83852" y="547235"/>
                </a:cubicBezTo>
                <a:cubicBezTo>
                  <a:pt x="84017" y="545986"/>
                  <a:pt x="83829" y="543159"/>
                  <a:pt x="83405" y="538682"/>
                </a:cubicBezTo>
                <a:lnTo>
                  <a:pt x="83334" y="537810"/>
                </a:lnTo>
                <a:cubicBezTo>
                  <a:pt x="83263" y="536985"/>
                  <a:pt x="83004" y="536043"/>
                  <a:pt x="82768" y="535124"/>
                </a:cubicBezTo>
                <a:cubicBezTo>
                  <a:pt x="82580" y="534440"/>
                  <a:pt x="82297" y="533309"/>
                  <a:pt x="82321" y="532932"/>
                </a:cubicBezTo>
                <a:cubicBezTo>
                  <a:pt x="82391" y="532602"/>
                  <a:pt x="83381" y="531683"/>
                  <a:pt x="84017" y="531071"/>
                </a:cubicBezTo>
                <a:cubicBezTo>
                  <a:pt x="85714" y="529468"/>
                  <a:pt x="88023" y="527301"/>
                  <a:pt x="87693" y="523955"/>
                </a:cubicBezTo>
                <a:cubicBezTo>
                  <a:pt x="87434" y="521363"/>
                  <a:pt x="85313" y="519313"/>
                  <a:pt x="83428" y="517522"/>
                </a:cubicBezTo>
                <a:cubicBezTo>
                  <a:pt x="82698" y="516838"/>
                  <a:pt x="81543" y="515707"/>
                  <a:pt x="81213" y="515118"/>
                </a:cubicBezTo>
                <a:cubicBezTo>
                  <a:pt x="81590" y="514011"/>
                  <a:pt x="83051" y="511113"/>
                  <a:pt x="83852" y="509487"/>
                </a:cubicBezTo>
                <a:cubicBezTo>
                  <a:pt x="84677" y="507837"/>
                  <a:pt x="85384" y="506423"/>
                  <a:pt x="85690" y="505622"/>
                </a:cubicBezTo>
                <a:cubicBezTo>
                  <a:pt x="92641" y="487903"/>
                  <a:pt x="91652" y="469288"/>
                  <a:pt x="90662" y="451309"/>
                </a:cubicBezTo>
                <a:cubicBezTo>
                  <a:pt x="90403" y="446573"/>
                  <a:pt x="90144" y="441671"/>
                  <a:pt x="90026" y="436888"/>
                </a:cubicBezTo>
                <a:cubicBezTo>
                  <a:pt x="89955" y="433754"/>
                  <a:pt x="90144" y="430408"/>
                  <a:pt x="90332" y="427156"/>
                </a:cubicBezTo>
                <a:cubicBezTo>
                  <a:pt x="90497" y="424070"/>
                  <a:pt x="90686" y="420889"/>
                  <a:pt x="90639" y="417872"/>
                </a:cubicBezTo>
                <a:cubicBezTo>
                  <a:pt x="90615" y="415610"/>
                  <a:pt x="90167" y="413160"/>
                  <a:pt x="89720" y="410780"/>
                </a:cubicBezTo>
                <a:cubicBezTo>
                  <a:pt x="89295" y="408424"/>
                  <a:pt x="88848" y="405973"/>
                  <a:pt x="88895" y="404017"/>
                </a:cubicBezTo>
                <a:cubicBezTo>
                  <a:pt x="88895" y="403051"/>
                  <a:pt x="89437" y="401331"/>
                  <a:pt x="89932" y="399658"/>
                </a:cubicBezTo>
                <a:cubicBezTo>
                  <a:pt x="90427" y="398032"/>
                  <a:pt x="90921" y="396336"/>
                  <a:pt x="91157" y="394804"/>
                </a:cubicBezTo>
                <a:cubicBezTo>
                  <a:pt x="91675" y="391293"/>
                  <a:pt x="91864" y="387782"/>
                  <a:pt x="92029" y="384412"/>
                </a:cubicBezTo>
                <a:cubicBezTo>
                  <a:pt x="92076" y="383470"/>
                  <a:pt x="92123" y="382551"/>
                  <a:pt x="92170" y="381632"/>
                </a:cubicBezTo>
                <a:cubicBezTo>
                  <a:pt x="92924" y="386698"/>
                  <a:pt x="93914" y="391764"/>
                  <a:pt x="94880" y="396665"/>
                </a:cubicBezTo>
                <a:cubicBezTo>
                  <a:pt x="96812" y="406421"/>
                  <a:pt x="98792" y="416506"/>
                  <a:pt x="98744" y="426685"/>
                </a:cubicBezTo>
                <a:cubicBezTo>
                  <a:pt x="94762" y="450296"/>
                  <a:pt x="93254" y="478477"/>
                  <a:pt x="94833" y="500250"/>
                </a:cubicBezTo>
                <a:cubicBezTo>
                  <a:pt x="95257" y="506211"/>
                  <a:pt x="99663" y="525274"/>
                  <a:pt x="103787" y="530081"/>
                </a:cubicBezTo>
                <a:cubicBezTo>
                  <a:pt x="104635" y="531071"/>
                  <a:pt x="105625" y="531825"/>
                  <a:pt x="106520" y="532508"/>
                </a:cubicBezTo>
                <a:cubicBezTo>
                  <a:pt x="107439" y="533215"/>
                  <a:pt x="108264" y="533851"/>
                  <a:pt x="108806" y="534605"/>
                </a:cubicBezTo>
                <a:cubicBezTo>
                  <a:pt x="109018" y="535925"/>
                  <a:pt x="108877" y="538187"/>
                  <a:pt x="108759" y="540190"/>
                </a:cubicBezTo>
                <a:cubicBezTo>
                  <a:pt x="108547" y="543536"/>
                  <a:pt x="108358" y="546717"/>
                  <a:pt x="109277" y="548790"/>
                </a:cubicBezTo>
                <a:cubicBezTo>
                  <a:pt x="110479" y="551453"/>
                  <a:pt x="114296" y="554092"/>
                  <a:pt x="117666" y="554799"/>
                </a:cubicBezTo>
                <a:cubicBezTo>
                  <a:pt x="117784" y="555977"/>
                  <a:pt x="117595" y="557297"/>
                  <a:pt x="117383" y="558687"/>
                </a:cubicBezTo>
                <a:cubicBezTo>
                  <a:pt x="117030" y="561279"/>
                  <a:pt x="116606" y="564201"/>
                  <a:pt x="118020" y="566981"/>
                </a:cubicBezTo>
                <a:cubicBezTo>
                  <a:pt x="120729" y="572283"/>
                  <a:pt x="128223" y="574734"/>
                  <a:pt x="141607" y="574734"/>
                </a:cubicBezTo>
                <a:cubicBezTo>
                  <a:pt x="144199" y="574734"/>
                  <a:pt x="146602" y="574639"/>
                  <a:pt x="148534" y="574569"/>
                </a:cubicBezTo>
                <a:lnTo>
                  <a:pt x="150231" y="574498"/>
                </a:lnTo>
                <a:cubicBezTo>
                  <a:pt x="150396" y="574498"/>
                  <a:pt x="150561" y="574474"/>
                  <a:pt x="150726" y="574427"/>
                </a:cubicBezTo>
                <a:cubicBezTo>
                  <a:pt x="154284" y="573532"/>
                  <a:pt x="156098" y="569291"/>
                  <a:pt x="155816" y="562504"/>
                </a:cubicBezTo>
                <a:cubicBezTo>
                  <a:pt x="155509" y="555011"/>
                  <a:pt x="151621" y="548790"/>
                  <a:pt x="147875" y="542782"/>
                </a:cubicBezTo>
                <a:cubicBezTo>
                  <a:pt x="144835" y="537881"/>
                  <a:pt x="141937" y="533239"/>
                  <a:pt x="140853" y="528008"/>
                </a:cubicBezTo>
                <a:cubicBezTo>
                  <a:pt x="141206" y="526570"/>
                  <a:pt x="141230" y="524614"/>
                  <a:pt x="141277" y="522423"/>
                </a:cubicBezTo>
                <a:cubicBezTo>
                  <a:pt x="141324" y="520609"/>
                  <a:pt x="141371" y="517286"/>
                  <a:pt x="141842" y="516297"/>
                </a:cubicBezTo>
                <a:cubicBezTo>
                  <a:pt x="142102" y="516202"/>
                  <a:pt x="142455" y="516155"/>
                  <a:pt x="142832" y="516084"/>
                </a:cubicBezTo>
                <a:cubicBezTo>
                  <a:pt x="144387" y="515825"/>
                  <a:pt x="147663" y="515283"/>
                  <a:pt x="147498" y="510052"/>
                </a:cubicBezTo>
                <a:cubicBezTo>
                  <a:pt x="147427" y="507554"/>
                  <a:pt x="146107" y="505575"/>
                  <a:pt x="144953" y="503808"/>
                </a:cubicBezTo>
                <a:cubicBezTo>
                  <a:pt x="144434" y="503030"/>
                  <a:pt x="143940" y="502276"/>
                  <a:pt x="143657" y="501593"/>
                </a:cubicBezTo>
                <a:cubicBezTo>
                  <a:pt x="141018" y="495679"/>
                  <a:pt x="141418" y="491814"/>
                  <a:pt x="141960" y="486465"/>
                </a:cubicBezTo>
                <a:cubicBezTo>
                  <a:pt x="142172" y="484415"/>
                  <a:pt x="142408" y="482083"/>
                  <a:pt x="142479" y="479443"/>
                </a:cubicBezTo>
                <a:cubicBezTo>
                  <a:pt x="142856" y="463774"/>
                  <a:pt x="142479" y="446549"/>
                  <a:pt x="141324" y="426756"/>
                </a:cubicBezTo>
                <a:cubicBezTo>
                  <a:pt x="141277" y="425884"/>
                  <a:pt x="141324" y="424847"/>
                  <a:pt x="141395" y="423716"/>
                </a:cubicBezTo>
                <a:cubicBezTo>
                  <a:pt x="141489" y="421972"/>
                  <a:pt x="141583" y="420158"/>
                  <a:pt x="141300" y="418626"/>
                </a:cubicBezTo>
                <a:cubicBezTo>
                  <a:pt x="140994" y="417001"/>
                  <a:pt x="139910" y="415987"/>
                  <a:pt x="139038" y="415163"/>
                </a:cubicBezTo>
                <a:cubicBezTo>
                  <a:pt x="138708" y="414856"/>
                  <a:pt x="138166" y="414338"/>
                  <a:pt x="138096" y="414126"/>
                </a:cubicBezTo>
                <a:cubicBezTo>
                  <a:pt x="138096" y="413961"/>
                  <a:pt x="138214" y="413395"/>
                  <a:pt x="138284" y="412995"/>
                </a:cubicBezTo>
                <a:cubicBezTo>
                  <a:pt x="138449" y="412147"/>
                  <a:pt x="138685" y="411086"/>
                  <a:pt x="138614" y="409979"/>
                </a:cubicBezTo>
                <a:cubicBezTo>
                  <a:pt x="138520" y="408518"/>
                  <a:pt x="138237" y="407057"/>
                  <a:pt x="137954" y="405619"/>
                </a:cubicBezTo>
                <a:cubicBezTo>
                  <a:pt x="137507" y="403381"/>
                  <a:pt x="137106" y="401284"/>
                  <a:pt x="137460" y="399422"/>
                </a:cubicBezTo>
                <a:cubicBezTo>
                  <a:pt x="137483" y="399281"/>
                  <a:pt x="137766" y="398880"/>
                  <a:pt x="137931" y="398598"/>
                </a:cubicBezTo>
                <a:cubicBezTo>
                  <a:pt x="138331" y="397985"/>
                  <a:pt x="138826" y="397231"/>
                  <a:pt x="139109" y="396265"/>
                </a:cubicBezTo>
                <a:cubicBezTo>
                  <a:pt x="142479" y="384083"/>
                  <a:pt x="143492" y="371358"/>
                  <a:pt x="144481" y="359035"/>
                </a:cubicBezTo>
                <a:cubicBezTo>
                  <a:pt x="145000" y="352413"/>
                  <a:pt x="145565" y="345580"/>
                  <a:pt x="146461" y="339029"/>
                </a:cubicBezTo>
                <a:cubicBezTo>
                  <a:pt x="147097" y="334340"/>
                  <a:pt x="148181" y="329840"/>
                  <a:pt x="149312" y="325080"/>
                </a:cubicBezTo>
                <a:cubicBezTo>
                  <a:pt x="150584" y="319684"/>
                  <a:pt x="151928" y="314076"/>
                  <a:pt x="152587" y="308185"/>
                </a:cubicBezTo>
                <a:cubicBezTo>
                  <a:pt x="152823" y="306064"/>
                  <a:pt x="153129" y="303897"/>
                  <a:pt x="153436" y="301587"/>
                </a:cubicBezTo>
                <a:cubicBezTo>
                  <a:pt x="153978" y="297629"/>
                  <a:pt x="154520" y="293529"/>
                  <a:pt x="154779" y="289617"/>
                </a:cubicBezTo>
                <a:cubicBezTo>
                  <a:pt x="155509" y="278401"/>
                  <a:pt x="153082" y="270295"/>
                  <a:pt x="150726" y="262472"/>
                </a:cubicBezTo>
                <a:cubicBezTo>
                  <a:pt x="149359" y="257877"/>
                  <a:pt x="147922" y="253117"/>
                  <a:pt x="147097" y="247651"/>
                </a:cubicBezTo>
                <a:cubicBezTo>
                  <a:pt x="146909" y="246402"/>
                  <a:pt x="146861" y="245082"/>
                  <a:pt x="146814" y="243692"/>
                </a:cubicBezTo>
                <a:cubicBezTo>
                  <a:pt x="146767" y="242019"/>
                  <a:pt x="146720" y="240299"/>
                  <a:pt x="146390" y="238555"/>
                </a:cubicBezTo>
                <a:cubicBezTo>
                  <a:pt x="146744" y="237990"/>
                  <a:pt x="148911" y="237236"/>
                  <a:pt x="149736" y="236953"/>
                </a:cubicBezTo>
                <a:cubicBezTo>
                  <a:pt x="151009" y="236529"/>
                  <a:pt x="151998" y="236175"/>
                  <a:pt x="152729" y="235516"/>
                </a:cubicBezTo>
                <a:cubicBezTo>
                  <a:pt x="156381" y="232240"/>
                  <a:pt x="154308" y="225572"/>
                  <a:pt x="152446" y="220341"/>
                </a:cubicBezTo>
                <a:cubicBezTo>
                  <a:pt x="152776" y="220435"/>
                  <a:pt x="153129" y="220529"/>
                  <a:pt x="153530" y="220576"/>
                </a:cubicBezTo>
                <a:cubicBezTo>
                  <a:pt x="153860" y="220624"/>
                  <a:pt x="154237" y="220647"/>
                  <a:pt x="154685" y="220647"/>
                </a:cubicBezTo>
                <a:cubicBezTo>
                  <a:pt x="157960" y="220647"/>
                  <a:pt x="164723" y="219257"/>
                  <a:pt x="167432" y="217796"/>
                </a:cubicBezTo>
                <a:cubicBezTo>
                  <a:pt x="171980" y="215322"/>
                  <a:pt x="179709" y="201184"/>
                  <a:pt x="180322" y="196471"/>
                </a:cubicBezTo>
                <a:cubicBezTo>
                  <a:pt x="180982" y="191476"/>
                  <a:pt x="179332" y="188766"/>
                  <a:pt x="178130" y="186763"/>
                </a:cubicBezTo>
                <a:cubicBezTo>
                  <a:pt x="177471" y="185679"/>
                  <a:pt x="177094" y="185019"/>
                  <a:pt x="176999" y="184242"/>
                </a:cubicBezTo>
                <a:cubicBezTo>
                  <a:pt x="176881" y="183111"/>
                  <a:pt x="177188" y="181626"/>
                  <a:pt x="177494" y="180024"/>
                </a:cubicBezTo>
                <a:cubicBezTo>
                  <a:pt x="177871" y="178162"/>
                  <a:pt x="178248" y="176230"/>
                  <a:pt x="178107" y="174298"/>
                </a:cubicBezTo>
                <a:cubicBezTo>
                  <a:pt x="177895" y="171635"/>
                  <a:pt x="176787" y="169680"/>
                  <a:pt x="175798" y="167960"/>
                </a:cubicBezTo>
                <a:cubicBezTo>
                  <a:pt x="175232" y="166970"/>
                  <a:pt x="174690" y="166051"/>
                  <a:pt x="174431" y="165108"/>
                </a:cubicBezTo>
                <a:cubicBezTo>
                  <a:pt x="173535" y="162092"/>
                  <a:pt x="173158" y="158369"/>
                  <a:pt x="172805" y="154764"/>
                </a:cubicBezTo>
                <a:cubicBezTo>
                  <a:pt x="172546" y="152266"/>
                  <a:pt x="172287" y="149698"/>
                  <a:pt x="171862" y="147342"/>
                </a:cubicBezTo>
                <a:lnTo>
                  <a:pt x="171391" y="144797"/>
                </a:lnTo>
                <a:cubicBezTo>
                  <a:pt x="169035" y="131813"/>
                  <a:pt x="164628" y="107637"/>
                  <a:pt x="158148" y="99885"/>
                </a:cubicBezTo>
                <a:cubicBezTo>
                  <a:pt x="156570" y="98000"/>
                  <a:pt x="149312" y="92816"/>
                  <a:pt x="147309" y="91873"/>
                </a:cubicBezTo>
                <a:cubicBezTo>
                  <a:pt x="144293" y="90436"/>
                  <a:pt x="138968" y="88928"/>
                  <a:pt x="133336" y="87349"/>
                </a:cubicBezTo>
                <a:cubicBezTo>
                  <a:pt x="126220" y="85346"/>
                  <a:pt x="117383" y="82872"/>
                  <a:pt x="115263" y="80869"/>
                </a:cubicBezTo>
                <a:cubicBezTo>
                  <a:pt x="114980" y="80610"/>
                  <a:pt x="114579" y="79903"/>
                  <a:pt x="114249" y="79338"/>
                </a:cubicBezTo>
                <a:cubicBezTo>
                  <a:pt x="114179" y="79196"/>
                  <a:pt x="114084" y="79055"/>
                  <a:pt x="114014" y="78937"/>
                </a:cubicBezTo>
                <a:cubicBezTo>
                  <a:pt x="114838" y="77523"/>
                  <a:pt x="117077" y="74625"/>
                  <a:pt x="118373" y="72952"/>
                </a:cubicBezTo>
                <a:cubicBezTo>
                  <a:pt x="120093" y="70737"/>
                  <a:pt x="121153" y="69347"/>
                  <a:pt x="121672" y="68428"/>
                </a:cubicBezTo>
                <a:cubicBezTo>
                  <a:pt x="126550" y="59804"/>
                  <a:pt x="133548" y="40388"/>
                  <a:pt x="132959" y="30797"/>
                </a:cubicBezTo>
                <a:cubicBezTo>
                  <a:pt x="132276" y="19793"/>
                  <a:pt x="125183" y="7988"/>
                  <a:pt x="116087" y="2757"/>
                </a:cubicBezTo>
                <a:cubicBezTo>
                  <a:pt x="113118" y="1037"/>
                  <a:pt x="109160" y="141"/>
                  <a:pt x="104683" y="141"/>
                </a:cubicBezTo>
                <a:lnTo>
                  <a:pt x="104683" y="141"/>
                </a:lnTo>
                <a:close/>
              </a:path>
            </a:pathLst>
          </a:custGeom>
          <a:solidFill>
            <a:srgbClr val="FEFEFE"/>
          </a:solidFill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Graphic 1">
            <a:extLst>
              <a:ext uri="{FF2B5EF4-FFF2-40B4-BE49-F238E27FC236}">
                <a16:creationId xmlns:a16="http://schemas.microsoft.com/office/drawing/2014/main" id="{F40A6D0F-08A1-EB06-68E9-FD4CFDFF5D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7489829" y="5505627"/>
            <a:ext cx="169697" cy="539863"/>
          </a:xfrm>
          <a:custGeom>
            <a:avLst/>
            <a:gdLst>
              <a:gd name="connsiteX0" fmla="*/ 151604 w 222103"/>
              <a:gd name="connsiteY0" fmla="*/ 2889 h 706585"/>
              <a:gd name="connsiteX1" fmla="*/ 151921 w 222103"/>
              <a:gd name="connsiteY1" fmla="*/ 3525 h 706585"/>
              <a:gd name="connsiteX2" fmla="*/ 152470 w 222103"/>
              <a:gd name="connsiteY2" fmla="*/ 3496 h 706585"/>
              <a:gd name="connsiteX3" fmla="*/ 152673 w 222103"/>
              <a:gd name="connsiteY3" fmla="*/ 3496 h 706585"/>
              <a:gd name="connsiteX4" fmla="*/ 158422 w 222103"/>
              <a:gd name="connsiteY4" fmla="*/ 4883 h 706585"/>
              <a:gd name="connsiteX5" fmla="*/ 164085 w 222103"/>
              <a:gd name="connsiteY5" fmla="*/ 8495 h 706585"/>
              <a:gd name="connsiteX6" fmla="*/ 170182 w 222103"/>
              <a:gd name="connsiteY6" fmla="*/ 11528 h 706585"/>
              <a:gd name="connsiteX7" fmla="*/ 169257 w 222103"/>
              <a:gd name="connsiteY7" fmla="*/ 11528 h 706585"/>
              <a:gd name="connsiteX8" fmla="*/ 171338 w 222103"/>
              <a:gd name="connsiteY8" fmla="*/ 12222 h 706585"/>
              <a:gd name="connsiteX9" fmla="*/ 179312 w 222103"/>
              <a:gd name="connsiteY9" fmla="*/ 24213 h 706585"/>
              <a:gd name="connsiteX10" fmla="*/ 183531 w 222103"/>
              <a:gd name="connsiteY10" fmla="*/ 55273 h 706585"/>
              <a:gd name="connsiteX11" fmla="*/ 182751 w 222103"/>
              <a:gd name="connsiteY11" fmla="*/ 81161 h 706585"/>
              <a:gd name="connsiteX12" fmla="*/ 177954 w 222103"/>
              <a:gd name="connsiteY12" fmla="*/ 103583 h 706585"/>
              <a:gd name="connsiteX13" fmla="*/ 178908 w 222103"/>
              <a:gd name="connsiteY13" fmla="*/ 110430 h 706585"/>
              <a:gd name="connsiteX14" fmla="*/ 178301 w 222103"/>
              <a:gd name="connsiteY14" fmla="*/ 111297 h 706585"/>
              <a:gd name="connsiteX15" fmla="*/ 180006 w 222103"/>
              <a:gd name="connsiteY15" fmla="*/ 112713 h 706585"/>
              <a:gd name="connsiteX16" fmla="*/ 181277 w 222103"/>
              <a:gd name="connsiteY16" fmla="*/ 114880 h 706585"/>
              <a:gd name="connsiteX17" fmla="*/ 192401 w 222103"/>
              <a:gd name="connsiteY17" fmla="*/ 122912 h 706585"/>
              <a:gd name="connsiteX18" fmla="*/ 196908 w 222103"/>
              <a:gd name="connsiteY18" fmla="*/ 125830 h 706585"/>
              <a:gd name="connsiteX19" fmla="*/ 200665 w 222103"/>
              <a:gd name="connsiteY19" fmla="*/ 127940 h 706585"/>
              <a:gd name="connsiteX20" fmla="*/ 202514 w 222103"/>
              <a:gd name="connsiteY20" fmla="*/ 134123 h 706585"/>
              <a:gd name="connsiteX21" fmla="*/ 203467 w 222103"/>
              <a:gd name="connsiteY21" fmla="*/ 136550 h 706585"/>
              <a:gd name="connsiteX22" fmla="*/ 203149 w 222103"/>
              <a:gd name="connsiteY22" fmla="*/ 138139 h 706585"/>
              <a:gd name="connsiteX23" fmla="*/ 204796 w 222103"/>
              <a:gd name="connsiteY23" fmla="*/ 139873 h 706585"/>
              <a:gd name="connsiteX24" fmla="*/ 206270 w 222103"/>
              <a:gd name="connsiteY24" fmla="*/ 144929 h 706585"/>
              <a:gd name="connsiteX25" fmla="*/ 206241 w 222103"/>
              <a:gd name="connsiteY25" fmla="*/ 144929 h 706585"/>
              <a:gd name="connsiteX26" fmla="*/ 204190 w 222103"/>
              <a:gd name="connsiteY26" fmla="*/ 142357 h 706585"/>
              <a:gd name="connsiteX27" fmla="*/ 203612 w 222103"/>
              <a:gd name="connsiteY27" fmla="*/ 141779 h 706585"/>
              <a:gd name="connsiteX28" fmla="*/ 203323 w 222103"/>
              <a:gd name="connsiteY28" fmla="*/ 141982 h 706585"/>
              <a:gd name="connsiteX29" fmla="*/ 204392 w 222103"/>
              <a:gd name="connsiteY29" fmla="*/ 146489 h 706585"/>
              <a:gd name="connsiteX30" fmla="*/ 205952 w 222103"/>
              <a:gd name="connsiteY30" fmla="*/ 151112 h 706585"/>
              <a:gd name="connsiteX31" fmla="*/ 206154 w 222103"/>
              <a:gd name="connsiteY31" fmla="*/ 169575 h 706585"/>
              <a:gd name="connsiteX32" fmla="*/ 208235 w 222103"/>
              <a:gd name="connsiteY32" fmla="*/ 173620 h 706585"/>
              <a:gd name="connsiteX33" fmla="*/ 207483 w 222103"/>
              <a:gd name="connsiteY33" fmla="*/ 177116 h 706585"/>
              <a:gd name="connsiteX34" fmla="*/ 210373 w 222103"/>
              <a:gd name="connsiteY34" fmla="*/ 182895 h 706585"/>
              <a:gd name="connsiteX35" fmla="*/ 212915 w 222103"/>
              <a:gd name="connsiteY35" fmla="*/ 191505 h 706585"/>
              <a:gd name="connsiteX36" fmla="*/ 218347 w 222103"/>
              <a:gd name="connsiteY36" fmla="*/ 206183 h 706585"/>
              <a:gd name="connsiteX37" fmla="*/ 218810 w 222103"/>
              <a:gd name="connsiteY37" fmla="*/ 215313 h 706585"/>
              <a:gd name="connsiteX38" fmla="*/ 219156 w 222103"/>
              <a:gd name="connsiteY38" fmla="*/ 216411 h 706585"/>
              <a:gd name="connsiteX39" fmla="*/ 219416 w 222103"/>
              <a:gd name="connsiteY39" fmla="*/ 216411 h 706585"/>
              <a:gd name="connsiteX40" fmla="*/ 219416 w 222103"/>
              <a:gd name="connsiteY40" fmla="*/ 224154 h 706585"/>
              <a:gd name="connsiteX41" fmla="*/ 219127 w 222103"/>
              <a:gd name="connsiteY41" fmla="*/ 224125 h 706585"/>
              <a:gd name="connsiteX42" fmla="*/ 218752 w 222103"/>
              <a:gd name="connsiteY42" fmla="*/ 225194 h 706585"/>
              <a:gd name="connsiteX43" fmla="*/ 204045 w 222103"/>
              <a:gd name="connsiteY43" fmla="*/ 245160 h 706585"/>
              <a:gd name="connsiteX44" fmla="*/ 198815 w 222103"/>
              <a:gd name="connsiteY44" fmla="*/ 247211 h 706585"/>
              <a:gd name="connsiteX45" fmla="*/ 193239 w 222103"/>
              <a:gd name="connsiteY45" fmla="*/ 245564 h 706585"/>
              <a:gd name="connsiteX46" fmla="*/ 184802 w 222103"/>
              <a:gd name="connsiteY46" fmla="*/ 240710 h 706585"/>
              <a:gd name="connsiteX47" fmla="*/ 182635 w 222103"/>
              <a:gd name="connsiteY47" fmla="*/ 238399 h 706585"/>
              <a:gd name="connsiteX48" fmla="*/ 184860 w 222103"/>
              <a:gd name="connsiteY48" fmla="*/ 243744 h 706585"/>
              <a:gd name="connsiteX49" fmla="*/ 189049 w 222103"/>
              <a:gd name="connsiteY49" fmla="*/ 253770 h 706585"/>
              <a:gd name="connsiteX50" fmla="*/ 186651 w 222103"/>
              <a:gd name="connsiteY50" fmla="*/ 256659 h 706585"/>
              <a:gd name="connsiteX51" fmla="*/ 189223 w 222103"/>
              <a:gd name="connsiteY51" fmla="*/ 264143 h 706585"/>
              <a:gd name="connsiteX52" fmla="*/ 189887 w 222103"/>
              <a:gd name="connsiteY52" fmla="*/ 268419 h 706585"/>
              <a:gd name="connsiteX53" fmla="*/ 196764 w 222103"/>
              <a:gd name="connsiteY53" fmla="*/ 283183 h 706585"/>
              <a:gd name="connsiteX54" fmla="*/ 196822 w 222103"/>
              <a:gd name="connsiteY54" fmla="*/ 286015 h 706585"/>
              <a:gd name="connsiteX55" fmla="*/ 194077 w 222103"/>
              <a:gd name="connsiteY55" fmla="*/ 285870 h 706585"/>
              <a:gd name="connsiteX56" fmla="*/ 209535 w 222103"/>
              <a:gd name="connsiteY56" fmla="*/ 337561 h 706585"/>
              <a:gd name="connsiteX57" fmla="*/ 203034 w 222103"/>
              <a:gd name="connsiteY57" fmla="*/ 342501 h 706585"/>
              <a:gd name="connsiteX58" fmla="*/ 202427 w 222103"/>
              <a:gd name="connsiteY58" fmla="*/ 350851 h 706585"/>
              <a:gd name="connsiteX59" fmla="*/ 201474 w 222103"/>
              <a:gd name="connsiteY59" fmla="*/ 360704 h 706585"/>
              <a:gd name="connsiteX60" fmla="*/ 181133 w 222103"/>
              <a:gd name="connsiteY60" fmla="*/ 478647 h 706585"/>
              <a:gd name="connsiteX61" fmla="*/ 177752 w 222103"/>
              <a:gd name="connsiteY61" fmla="*/ 575208 h 706585"/>
              <a:gd name="connsiteX62" fmla="*/ 171453 w 222103"/>
              <a:gd name="connsiteY62" fmla="*/ 644090 h 706585"/>
              <a:gd name="connsiteX63" fmla="*/ 168275 w 222103"/>
              <a:gd name="connsiteY63" fmla="*/ 670989 h 706585"/>
              <a:gd name="connsiteX64" fmla="*/ 162352 w 222103"/>
              <a:gd name="connsiteY64" fmla="*/ 678010 h 706585"/>
              <a:gd name="connsiteX65" fmla="*/ 158105 w 222103"/>
              <a:gd name="connsiteY65" fmla="*/ 679628 h 706585"/>
              <a:gd name="connsiteX66" fmla="*/ 158249 w 222103"/>
              <a:gd name="connsiteY66" fmla="*/ 684743 h 706585"/>
              <a:gd name="connsiteX67" fmla="*/ 143138 w 222103"/>
              <a:gd name="connsiteY67" fmla="*/ 703725 h 706585"/>
              <a:gd name="connsiteX68" fmla="*/ 137793 w 222103"/>
              <a:gd name="connsiteY68" fmla="*/ 703061 h 706585"/>
              <a:gd name="connsiteX69" fmla="*/ 123057 w 222103"/>
              <a:gd name="connsiteY69" fmla="*/ 684396 h 706585"/>
              <a:gd name="connsiteX70" fmla="*/ 122652 w 222103"/>
              <a:gd name="connsiteY70" fmla="*/ 678617 h 706585"/>
              <a:gd name="connsiteX71" fmla="*/ 120485 w 222103"/>
              <a:gd name="connsiteY71" fmla="*/ 673070 h 706585"/>
              <a:gd name="connsiteX72" fmla="*/ 118087 w 222103"/>
              <a:gd name="connsiteY72" fmla="*/ 606759 h 706585"/>
              <a:gd name="connsiteX73" fmla="*/ 128922 w 222103"/>
              <a:gd name="connsiteY73" fmla="*/ 499681 h 706585"/>
              <a:gd name="connsiteX74" fmla="*/ 129529 w 222103"/>
              <a:gd name="connsiteY74" fmla="*/ 478964 h 706585"/>
              <a:gd name="connsiteX75" fmla="*/ 128604 w 222103"/>
              <a:gd name="connsiteY75" fmla="*/ 456370 h 706585"/>
              <a:gd name="connsiteX76" fmla="*/ 129876 w 222103"/>
              <a:gd name="connsiteY76" fmla="*/ 437531 h 706585"/>
              <a:gd name="connsiteX77" fmla="*/ 128633 w 222103"/>
              <a:gd name="connsiteY77" fmla="*/ 384888 h 706585"/>
              <a:gd name="connsiteX78" fmla="*/ 128027 w 222103"/>
              <a:gd name="connsiteY78" fmla="*/ 368852 h 706585"/>
              <a:gd name="connsiteX79" fmla="*/ 129500 w 222103"/>
              <a:gd name="connsiteY79" fmla="*/ 362351 h 706585"/>
              <a:gd name="connsiteX80" fmla="*/ 128980 w 222103"/>
              <a:gd name="connsiteY80" fmla="*/ 361658 h 706585"/>
              <a:gd name="connsiteX81" fmla="*/ 127449 w 222103"/>
              <a:gd name="connsiteY81" fmla="*/ 365183 h 706585"/>
              <a:gd name="connsiteX82" fmla="*/ 123577 w 222103"/>
              <a:gd name="connsiteY82" fmla="*/ 395029 h 706585"/>
              <a:gd name="connsiteX83" fmla="*/ 114793 w 222103"/>
              <a:gd name="connsiteY83" fmla="*/ 435740 h 706585"/>
              <a:gd name="connsiteX84" fmla="*/ 110084 w 222103"/>
              <a:gd name="connsiteY84" fmla="*/ 470932 h 706585"/>
              <a:gd name="connsiteX85" fmla="*/ 113146 w 222103"/>
              <a:gd name="connsiteY85" fmla="*/ 485494 h 706585"/>
              <a:gd name="connsiteX86" fmla="*/ 109593 w 222103"/>
              <a:gd name="connsiteY86" fmla="*/ 497976 h 706585"/>
              <a:gd name="connsiteX87" fmla="*/ 107339 w 222103"/>
              <a:gd name="connsiteY87" fmla="*/ 500663 h 706585"/>
              <a:gd name="connsiteX88" fmla="*/ 106674 w 222103"/>
              <a:gd name="connsiteY88" fmla="*/ 515486 h 706585"/>
              <a:gd name="connsiteX89" fmla="*/ 105750 w 222103"/>
              <a:gd name="connsiteY89" fmla="*/ 535884 h 706585"/>
              <a:gd name="connsiteX90" fmla="*/ 99335 w 222103"/>
              <a:gd name="connsiteY90" fmla="*/ 590117 h 706585"/>
              <a:gd name="connsiteX91" fmla="*/ 95579 w 222103"/>
              <a:gd name="connsiteY91" fmla="*/ 603292 h 706585"/>
              <a:gd name="connsiteX92" fmla="*/ 97602 w 222103"/>
              <a:gd name="connsiteY92" fmla="*/ 614878 h 706585"/>
              <a:gd name="connsiteX93" fmla="*/ 99884 w 222103"/>
              <a:gd name="connsiteY93" fmla="*/ 655907 h 706585"/>
              <a:gd name="connsiteX94" fmla="*/ 100202 w 222103"/>
              <a:gd name="connsiteY94" fmla="*/ 674572 h 706585"/>
              <a:gd name="connsiteX95" fmla="*/ 95782 w 222103"/>
              <a:gd name="connsiteY95" fmla="*/ 683124 h 706585"/>
              <a:gd name="connsiteX96" fmla="*/ 83213 w 222103"/>
              <a:gd name="connsiteY96" fmla="*/ 701183 h 706585"/>
              <a:gd name="connsiteX97" fmla="*/ 77983 w 222103"/>
              <a:gd name="connsiteY97" fmla="*/ 701818 h 706585"/>
              <a:gd name="connsiteX98" fmla="*/ 60272 w 222103"/>
              <a:gd name="connsiteY98" fmla="*/ 684078 h 706585"/>
              <a:gd name="connsiteX99" fmla="*/ 60214 w 222103"/>
              <a:gd name="connsiteY99" fmla="*/ 678877 h 706585"/>
              <a:gd name="connsiteX100" fmla="*/ 58422 w 222103"/>
              <a:gd name="connsiteY100" fmla="*/ 676363 h 706585"/>
              <a:gd name="connsiteX101" fmla="*/ 57209 w 222103"/>
              <a:gd name="connsiteY101" fmla="*/ 672029 h 706585"/>
              <a:gd name="connsiteX102" fmla="*/ 53511 w 222103"/>
              <a:gd name="connsiteY102" fmla="*/ 656283 h 706585"/>
              <a:gd name="connsiteX103" fmla="*/ 62121 w 222103"/>
              <a:gd name="connsiteY103" fmla="*/ 620946 h 706585"/>
              <a:gd name="connsiteX104" fmla="*/ 61543 w 222103"/>
              <a:gd name="connsiteY104" fmla="*/ 596849 h 706585"/>
              <a:gd name="connsiteX105" fmla="*/ 59983 w 222103"/>
              <a:gd name="connsiteY105" fmla="*/ 579253 h 706585"/>
              <a:gd name="connsiteX106" fmla="*/ 57989 w 222103"/>
              <a:gd name="connsiteY106" fmla="*/ 573821 h 706585"/>
              <a:gd name="connsiteX107" fmla="*/ 54117 w 222103"/>
              <a:gd name="connsiteY107" fmla="*/ 500028 h 706585"/>
              <a:gd name="connsiteX108" fmla="*/ 53193 w 222103"/>
              <a:gd name="connsiteY108" fmla="*/ 487950 h 706585"/>
              <a:gd name="connsiteX109" fmla="*/ 54724 w 222103"/>
              <a:gd name="connsiteY109" fmla="*/ 451140 h 706585"/>
              <a:gd name="connsiteX110" fmla="*/ 56920 w 222103"/>
              <a:gd name="connsiteY110" fmla="*/ 439698 h 706585"/>
              <a:gd name="connsiteX111" fmla="*/ 56284 w 222103"/>
              <a:gd name="connsiteY111" fmla="*/ 435047 h 706585"/>
              <a:gd name="connsiteX112" fmla="*/ 52557 w 222103"/>
              <a:gd name="connsiteY112" fmla="*/ 364489 h 706585"/>
              <a:gd name="connsiteX113" fmla="*/ 53511 w 222103"/>
              <a:gd name="connsiteY113" fmla="*/ 346546 h 706585"/>
              <a:gd name="connsiteX114" fmla="*/ 48396 w 222103"/>
              <a:gd name="connsiteY114" fmla="*/ 343455 h 706585"/>
              <a:gd name="connsiteX115" fmla="*/ 48859 w 222103"/>
              <a:gd name="connsiteY115" fmla="*/ 336954 h 706585"/>
              <a:gd name="connsiteX116" fmla="*/ 50188 w 222103"/>
              <a:gd name="connsiteY116" fmla="*/ 328372 h 706585"/>
              <a:gd name="connsiteX117" fmla="*/ 59058 w 222103"/>
              <a:gd name="connsiteY117" fmla="*/ 291302 h 706585"/>
              <a:gd name="connsiteX118" fmla="*/ 57498 w 222103"/>
              <a:gd name="connsiteY118" fmla="*/ 291736 h 706585"/>
              <a:gd name="connsiteX119" fmla="*/ 58105 w 222103"/>
              <a:gd name="connsiteY119" fmla="*/ 286477 h 706585"/>
              <a:gd name="connsiteX120" fmla="*/ 65386 w 222103"/>
              <a:gd name="connsiteY120" fmla="*/ 261600 h 706585"/>
              <a:gd name="connsiteX121" fmla="*/ 67697 w 222103"/>
              <a:gd name="connsiteY121" fmla="*/ 257382 h 706585"/>
              <a:gd name="connsiteX122" fmla="*/ 67148 w 222103"/>
              <a:gd name="connsiteY122" fmla="*/ 250592 h 706585"/>
              <a:gd name="connsiteX123" fmla="*/ 67611 w 222103"/>
              <a:gd name="connsiteY123" fmla="*/ 245998 h 706585"/>
              <a:gd name="connsiteX124" fmla="*/ 63710 w 222103"/>
              <a:gd name="connsiteY124" fmla="*/ 230164 h 706585"/>
              <a:gd name="connsiteX125" fmla="*/ 62467 w 222103"/>
              <a:gd name="connsiteY125" fmla="*/ 223836 h 706585"/>
              <a:gd name="connsiteX126" fmla="*/ 62467 w 222103"/>
              <a:gd name="connsiteY126" fmla="*/ 232042 h 706585"/>
              <a:gd name="connsiteX127" fmla="*/ 56978 w 222103"/>
              <a:gd name="connsiteY127" fmla="*/ 270788 h 706585"/>
              <a:gd name="connsiteX128" fmla="*/ 44582 w 222103"/>
              <a:gd name="connsiteY128" fmla="*/ 348424 h 706585"/>
              <a:gd name="connsiteX129" fmla="*/ 41751 w 222103"/>
              <a:gd name="connsiteY129" fmla="*/ 369401 h 706585"/>
              <a:gd name="connsiteX130" fmla="*/ 41115 w 222103"/>
              <a:gd name="connsiteY130" fmla="*/ 370326 h 706585"/>
              <a:gd name="connsiteX131" fmla="*/ 36637 w 222103"/>
              <a:gd name="connsiteY131" fmla="*/ 372030 h 706585"/>
              <a:gd name="connsiteX132" fmla="*/ 31523 w 222103"/>
              <a:gd name="connsiteY132" fmla="*/ 372030 h 706585"/>
              <a:gd name="connsiteX133" fmla="*/ 31841 w 222103"/>
              <a:gd name="connsiteY133" fmla="*/ 376798 h 706585"/>
              <a:gd name="connsiteX134" fmla="*/ 31552 w 222103"/>
              <a:gd name="connsiteY134" fmla="*/ 380496 h 706585"/>
              <a:gd name="connsiteX135" fmla="*/ 33227 w 222103"/>
              <a:gd name="connsiteY135" fmla="*/ 385321 h 706585"/>
              <a:gd name="connsiteX136" fmla="*/ 34036 w 222103"/>
              <a:gd name="connsiteY136" fmla="*/ 391013 h 706585"/>
              <a:gd name="connsiteX137" fmla="*/ 35192 w 222103"/>
              <a:gd name="connsiteY137" fmla="*/ 391707 h 706585"/>
              <a:gd name="connsiteX138" fmla="*/ 36695 w 222103"/>
              <a:gd name="connsiteY138" fmla="*/ 392862 h 706585"/>
              <a:gd name="connsiteX139" fmla="*/ 37359 w 222103"/>
              <a:gd name="connsiteY139" fmla="*/ 392776 h 706585"/>
              <a:gd name="connsiteX140" fmla="*/ 30483 w 222103"/>
              <a:gd name="connsiteY140" fmla="*/ 401501 h 706585"/>
              <a:gd name="connsiteX141" fmla="*/ 24415 w 222103"/>
              <a:gd name="connsiteY141" fmla="*/ 402368 h 706585"/>
              <a:gd name="connsiteX142" fmla="*/ 21468 w 222103"/>
              <a:gd name="connsiteY142" fmla="*/ 402021 h 706585"/>
              <a:gd name="connsiteX143" fmla="*/ 20717 w 222103"/>
              <a:gd name="connsiteY143" fmla="*/ 402513 h 706585"/>
              <a:gd name="connsiteX144" fmla="*/ 25888 w 222103"/>
              <a:gd name="connsiteY144" fmla="*/ 409100 h 706585"/>
              <a:gd name="connsiteX145" fmla="*/ 25484 w 222103"/>
              <a:gd name="connsiteY145" fmla="*/ 413665 h 706585"/>
              <a:gd name="connsiteX146" fmla="*/ 23115 w 222103"/>
              <a:gd name="connsiteY146" fmla="*/ 412596 h 706585"/>
              <a:gd name="connsiteX147" fmla="*/ 11471 w 222103"/>
              <a:gd name="connsiteY147" fmla="*/ 400635 h 706585"/>
              <a:gd name="connsiteX148" fmla="*/ 9535 w 222103"/>
              <a:gd name="connsiteY148" fmla="*/ 392689 h 706585"/>
              <a:gd name="connsiteX149" fmla="*/ 8726 w 222103"/>
              <a:gd name="connsiteY149" fmla="*/ 392111 h 706585"/>
              <a:gd name="connsiteX150" fmla="*/ 7743 w 222103"/>
              <a:gd name="connsiteY150" fmla="*/ 390464 h 706585"/>
              <a:gd name="connsiteX151" fmla="*/ 5259 w 222103"/>
              <a:gd name="connsiteY151" fmla="*/ 382692 h 706585"/>
              <a:gd name="connsiteX152" fmla="*/ 6790 w 222103"/>
              <a:gd name="connsiteY152" fmla="*/ 375873 h 706585"/>
              <a:gd name="connsiteX153" fmla="*/ 6559 w 222103"/>
              <a:gd name="connsiteY153" fmla="*/ 373215 h 706585"/>
              <a:gd name="connsiteX154" fmla="*/ 8003 w 222103"/>
              <a:gd name="connsiteY154" fmla="*/ 369141 h 706585"/>
              <a:gd name="connsiteX155" fmla="*/ 3092 w 222103"/>
              <a:gd name="connsiteY155" fmla="*/ 366483 h 706585"/>
              <a:gd name="connsiteX156" fmla="*/ 3092 w 222103"/>
              <a:gd name="connsiteY156" fmla="*/ 365240 h 706585"/>
              <a:gd name="connsiteX157" fmla="*/ 3381 w 222103"/>
              <a:gd name="connsiteY157" fmla="*/ 365269 h 706585"/>
              <a:gd name="connsiteX158" fmla="*/ 3727 w 222103"/>
              <a:gd name="connsiteY158" fmla="*/ 364171 h 706585"/>
              <a:gd name="connsiteX159" fmla="*/ 10864 w 222103"/>
              <a:gd name="connsiteY159" fmla="*/ 307251 h 706585"/>
              <a:gd name="connsiteX160" fmla="*/ 21583 w 222103"/>
              <a:gd name="connsiteY160" fmla="*/ 253019 h 706585"/>
              <a:gd name="connsiteX161" fmla="*/ 25022 w 222103"/>
              <a:gd name="connsiteY161" fmla="*/ 245940 h 706585"/>
              <a:gd name="connsiteX162" fmla="*/ 24704 w 222103"/>
              <a:gd name="connsiteY162" fmla="*/ 242877 h 706585"/>
              <a:gd name="connsiteX163" fmla="*/ 25686 w 222103"/>
              <a:gd name="connsiteY163" fmla="*/ 224328 h 706585"/>
              <a:gd name="connsiteX164" fmla="*/ 28431 w 222103"/>
              <a:gd name="connsiteY164" fmla="*/ 209419 h 706585"/>
              <a:gd name="connsiteX165" fmla="*/ 28460 w 222103"/>
              <a:gd name="connsiteY165" fmla="*/ 197399 h 706585"/>
              <a:gd name="connsiteX166" fmla="*/ 31841 w 222103"/>
              <a:gd name="connsiteY166" fmla="*/ 175411 h 706585"/>
              <a:gd name="connsiteX167" fmla="*/ 37330 w 222103"/>
              <a:gd name="connsiteY167" fmla="*/ 152759 h 706585"/>
              <a:gd name="connsiteX168" fmla="*/ 38746 w 222103"/>
              <a:gd name="connsiteY168" fmla="*/ 136550 h 706585"/>
              <a:gd name="connsiteX169" fmla="*/ 39815 w 222103"/>
              <a:gd name="connsiteY169" fmla="*/ 132967 h 706585"/>
              <a:gd name="connsiteX170" fmla="*/ 41924 w 222103"/>
              <a:gd name="connsiteY170" fmla="*/ 124559 h 706585"/>
              <a:gd name="connsiteX171" fmla="*/ 49899 w 222103"/>
              <a:gd name="connsiteY171" fmla="*/ 122305 h 706585"/>
              <a:gd name="connsiteX172" fmla="*/ 77290 w 222103"/>
              <a:gd name="connsiteY172" fmla="*/ 112597 h 706585"/>
              <a:gd name="connsiteX173" fmla="*/ 83415 w 222103"/>
              <a:gd name="connsiteY173" fmla="*/ 108841 h 706585"/>
              <a:gd name="connsiteX174" fmla="*/ 84715 w 222103"/>
              <a:gd name="connsiteY174" fmla="*/ 101820 h 706585"/>
              <a:gd name="connsiteX175" fmla="*/ 87923 w 222103"/>
              <a:gd name="connsiteY175" fmla="*/ 92921 h 706585"/>
              <a:gd name="connsiteX176" fmla="*/ 92054 w 222103"/>
              <a:gd name="connsiteY176" fmla="*/ 88327 h 706585"/>
              <a:gd name="connsiteX177" fmla="*/ 97313 w 222103"/>
              <a:gd name="connsiteY177" fmla="*/ 71684 h 706585"/>
              <a:gd name="connsiteX178" fmla="*/ 99335 w 222103"/>
              <a:gd name="connsiteY178" fmla="*/ 47414 h 706585"/>
              <a:gd name="connsiteX179" fmla="*/ 141982 w 222103"/>
              <a:gd name="connsiteY179" fmla="*/ 3467 h 706585"/>
              <a:gd name="connsiteX180" fmla="*/ 142127 w 222103"/>
              <a:gd name="connsiteY180" fmla="*/ 3467 h 706585"/>
              <a:gd name="connsiteX181" fmla="*/ 142733 w 222103"/>
              <a:gd name="connsiteY181" fmla="*/ 3525 h 706585"/>
              <a:gd name="connsiteX182" fmla="*/ 143051 w 222103"/>
              <a:gd name="connsiteY182" fmla="*/ 2860 h 706585"/>
              <a:gd name="connsiteX183" fmla="*/ 151719 w 222103"/>
              <a:gd name="connsiteY183" fmla="*/ 2860 h 706585"/>
              <a:gd name="connsiteX184" fmla="*/ 151604 w 222103"/>
              <a:gd name="connsiteY184" fmla="*/ 0 h 706585"/>
              <a:gd name="connsiteX185" fmla="*/ 142936 w 222103"/>
              <a:gd name="connsiteY185" fmla="*/ 0 h 706585"/>
              <a:gd name="connsiteX186" fmla="*/ 141057 w 222103"/>
              <a:gd name="connsiteY186" fmla="*/ 693 h 706585"/>
              <a:gd name="connsiteX187" fmla="*/ 96504 w 222103"/>
              <a:gd name="connsiteY187" fmla="*/ 46432 h 706585"/>
              <a:gd name="connsiteX188" fmla="*/ 94452 w 222103"/>
              <a:gd name="connsiteY188" fmla="*/ 63305 h 706585"/>
              <a:gd name="connsiteX189" fmla="*/ 94308 w 222103"/>
              <a:gd name="connsiteY189" fmla="*/ 71482 h 706585"/>
              <a:gd name="connsiteX190" fmla="*/ 89512 w 222103"/>
              <a:gd name="connsiteY190" fmla="*/ 86824 h 706585"/>
              <a:gd name="connsiteX191" fmla="*/ 87460 w 222103"/>
              <a:gd name="connsiteY191" fmla="*/ 89107 h 706585"/>
              <a:gd name="connsiteX192" fmla="*/ 85553 w 222103"/>
              <a:gd name="connsiteY192" fmla="*/ 91158 h 706585"/>
              <a:gd name="connsiteX193" fmla="*/ 81739 w 222103"/>
              <a:gd name="connsiteY193" fmla="*/ 101560 h 706585"/>
              <a:gd name="connsiteX194" fmla="*/ 81653 w 222103"/>
              <a:gd name="connsiteY194" fmla="*/ 104016 h 706585"/>
              <a:gd name="connsiteX195" fmla="*/ 80901 w 222103"/>
              <a:gd name="connsiteY195" fmla="*/ 107252 h 706585"/>
              <a:gd name="connsiteX196" fmla="*/ 78301 w 222103"/>
              <a:gd name="connsiteY196" fmla="*/ 109332 h 706585"/>
              <a:gd name="connsiteX197" fmla="*/ 76307 w 222103"/>
              <a:gd name="connsiteY197" fmla="*/ 109881 h 706585"/>
              <a:gd name="connsiteX198" fmla="*/ 61081 w 222103"/>
              <a:gd name="connsiteY198" fmla="*/ 115227 h 706585"/>
              <a:gd name="connsiteX199" fmla="*/ 48859 w 222103"/>
              <a:gd name="connsiteY199" fmla="*/ 119589 h 706585"/>
              <a:gd name="connsiteX200" fmla="*/ 45565 w 222103"/>
              <a:gd name="connsiteY200" fmla="*/ 120485 h 706585"/>
              <a:gd name="connsiteX201" fmla="*/ 40740 w 222103"/>
              <a:gd name="connsiteY201" fmla="*/ 121901 h 706585"/>
              <a:gd name="connsiteX202" fmla="*/ 36868 w 222103"/>
              <a:gd name="connsiteY202" fmla="*/ 130944 h 706585"/>
              <a:gd name="connsiteX203" fmla="*/ 36810 w 222103"/>
              <a:gd name="connsiteY203" fmla="*/ 132591 h 706585"/>
              <a:gd name="connsiteX204" fmla="*/ 36435 w 222103"/>
              <a:gd name="connsiteY204" fmla="*/ 133805 h 706585"/>
              <a:gd name="connsiteX205" fmla="*/ 35770 w 222103"/>
              <a:gd name="connsiteY205" fmla="*/ 136030 h 706585"/>
              <a:gd name="connsiteX206" fmla="*/ 34874 w 222103"/>
              <a:gd name="connsiteY206" fmla="*/ 145333 h 706585"/>
              <a:gd name="connsiteX207" fmla="*/ 34325 w 222103"/>
              <a:gd name="connsiteY207" fmla="*/ 152326 h 706585"/>
              <a:gd name="connsiteX208" fmla="*/ 31783 w 222103"/>
              <a:gd name="connsiteY208" fmla="*/ 162698 h 706585"/>
              <a:gd name="connsiteX209" fmla="*/ 28836 w 222103"/>
              <a:gd name="connsiteY209" fmla="*/ 175007 h 706585"/>
              <a:gd name="connsiteX210" fmla="*/ 27246 w 222103"/>
              <a:gd name="connsiteY210" fmla="*/ 185206 h 706585"/>
              <a:gd name="connsiteX211" fmla="*/ 25426 w 222103"/>
              <a:gd name="connsiteY211" fmla="*/ 197023 h 706585"/>
              <a:gd name="connsiteX212" fmla="*/ 25282 w 222103"/>
              <a:gd name="connsiteY212" fmla="*/ 204911 h 706585"/>
              <a:gd name="connsiteX213" fmla="*/ 25368 w 222103"/>
              <a:gd name="connsiteY213" fmla="*/ 209303 h 706585"/>
              <a:gd name="connsiteX214" fmla="*/ 23982 w 222103"/>
              <a:gd name="connsiteY214" fmla="*/ 217047 h 706585"/>
              <a:gd name="connsiteX215" fmla="*/ 22624 w 222103"/>
              <a:gd name="connsiteY215" fmla="*/ 223952 h 706585"/>
              <a:gd name="connsiteX216" fmla="*/ 21612 w 222103"/>
              <a:gd name="connsiteY216" fmla="*/ 242906 h 706585"/>
              <a:gd name="connsiteX217" fmla="*/ 21843 w 222103"/>
              <a:gd name="connsiteY217" fmla="*/ 244640 h 706585"/>
              <a:gd name="connsiteX218" fmla="*/ 21959 w 222103"/>
              <a:gd name="connsiteY218" fmla="*/ 245478 h 706585"/>
              <a:gd name="connsiteX219" fmla="*/ 20168 w 222103"/>
              <a:gd name="connsiteY219" fmla="*/ 249031 h 706585"/>
              <a:gd name="connsiteX220" fmla="*/ 18723 w 222103"/>
              <a:gd name="connsiteY220" fmla="*/ 251834 h 706585"/>
              <a:gd name="connsiteX221" fmla="*/ 11673 w 222103"/>
              <a:gd name="connsiteY221" fmla="*/ 284137 h 706585"/>
              <a:gd name="connsiteX222" fmla="*/ 7859 w 222103"/>
              <a:gd name="connsiteY222" fmla="*/ 306442 h 706585"/>
              <a:gd name="connsiteX223" fmla="*/ 7772 w 222103"/>
              <a:gd name="connsiteY223" fmla="*/ 306962 h 706585"/>
              <a:gd name="connsiteX224" fmla="*/ 722 w 222103"/>
              <a:gd name="connsiteY224" fmla="*/ 363247 h 706585"/>
              <a:gd name="connsiteX225" fmla="*/ 0 w 222103"/>
              <a:gd name="connsiteY225" fmla="*/ 365154 h 706585"/>
              <a:gd name="connsiteX226" fmla="*/ 0 w 222103"/>
              <a:gd name="connsiteY226" fmla="*/ 366396 h 706585"/>
              <a:gd name="connsiteX227" fmla="*/ 1502 w 222103"/>
              <a:gd name="connsiteY227" fmla="*/ 368939 h 706585"/>
              <a:gd name="connsiteX228" fmla="*/ 4305 w 222103"/>
              <a:gd name="connsiteY228" fmla="*/ 370470 h 706585"/>
              <a:gd name="connsiteX229" fmla="*/ 3496 w 222103"/>
              <a:gd name="connsiteY229" fmla="*/ 372608 h 706585"/>
              <a:gd name="connsiteX230" fmla="*/ 3583 w 222103"/>
              <a:gd name="connsiteY230" fmla="*/ 375122 h 706585"/>
              <a:gd name="connsiteX231" fmla="*/ 3669 w 222103"/>
              <a:gd name="connsiteY231" fmla="*/ 375671 h 706585"/>
              <a:gd name="connsiteX232" fmla="*/ 3063 w 222103"/>
              <a:gd name="connsiteY232" fmla="*/ 378011 h 706585"/>
              <a:gd name="connsiteX233" fmla="*/ 2167 w 222103"/>
              <a:gd name="connsiteY233" fmla="*/ 382894 h 706585"/>
              <a:gd name="connsiteX234" fmla="*/ 4247 w 222103"/>
              <a:gd name="connsiteY234" fmla="*/ 387141 h 706585"/>
              <a:gd name="connsiteX235" fmla="*/ 5259 w 222103"/>
              <a:gd name="connsiteY235" fmla="*/ 388644 h 706585"/>
              <a:gd name="connsiteX236" fmla="*/ 4739 w 222103"/>
              <a:gd name="connsiteY236" fmla="*/ 390955 h 706585"/>
              <a:gd name="connsiteX237" fmla="*/ 5634 w 222103"/>
              <a:gd name="connsiteY237" fmla="*/ 392573 h 706585"/>
              <a:gd name="connsiteX238" fmla="*/ 6039 w 222103"/>
              <a:gd name="connsiteY238" fmla="*/ 393585 h 706585"/>
              <a:gd name="connsiteX239" fmla="*/ 6848 w 222103"/>
              <a:gd name="connsiteY239" fmla="*/ 394423 h 706585"/>
              <a:gd name="connsiteX240" fmla="*/ 7281 w 222103"/>
              <a:gd name="connsiteY240" fmla="*/ 396590 h 706585"/>
              <a:gd name="connsiteX241" fmla="*/ 8610 w 222103"/>
              <a:gd name="connsiteY241" fmla="*/ 401733 h 706585"/>
              <a:gd name="connsiteX242" fmla="*/ 21150 w 222103"/>
              <a:gd name="connsiteY242" fmla="*/ 414850 h 706585"/>
              <a:gd name="connsiteX243" fmla="*/ 25253 w 222103"/>
              <a:gd name="connsiteY243" fmla="*/ 416497 h 706585"/>
              <a:gd name="connsiteX244" fmla="*/ 28778 w 222103"/>
              <a:gd name="connsiteY244" fmla="*/ 414503 h 706585"/>
              <a:gd name="connsiteX245" fmla="*/ 28200 w 222103"/>
              <a:gd name="connsiteY245" fmla="*/ 407627 h 706585"/>
              <a:gd name="connsiteX246" fmla="*/ 26091 w 222103"/>
              <a:gd name="connsiteY246" fmla="*/ 405142 h 706585"/>
              <a:gd name="connsiteX247" fmla="*/ 30858 w 222103"/>
              <a:gd name="connsiteY247" fmla="*/ 404304 h 706585"/>
              <a:gd name="connsiteX248" fmla="*/ 32303 w 222103"/>
              <a:gd name="connsiteY248" fmla="*/ 403553 h 706585"/>
              <a:gd name="connsiteX249" fmla="*/ 32650 w 222103"/>
              <a:gd name="connsiteY249" fmla="*/ 403235 h 706585"/>
              <a:gd name="connsiteX250" fmla="*/ 40248 w 222103"/>
              <a:gd name="connsiteY250" fmla="*/ 393151 h 706585"/>
              <a:gd name="connsiteX251" fmla="*/ 39179 w 222103"/>
              <a:gd name="connsiteY251" fmla="*/ 390638 h 706585"/>
              <a:gd name="connsiteX252" fmla="*/ 37244 w 222103"/>
              <a:gd name="connsiteY252" fmla="*/ 389857 h 706585"/>
              <a:gd name="connsiteX253" fmla="*/ 36839 w 222103"/>
              <a:gd name="connsiteY253" fmla="*/ 389482 h 706585"/>
              <a:gd name="connsiteX254" fmla="*/ 36406 w 222103"/>
              <a:gd name="connsiteY254" fmla="*/ 389164 h 706585"/>
              <a:gd name="connsiteX255" fmla="*/ 36290 w 222103"/>
              <a:gd name="connsiteY255" fmla="*/ 387864 h 706585"/>
              <a:gd name="connsiteX256" fmla="*/ 35828 w 222103"/>
              <a:gd name="connsiteY256" fmla="*/ 384628 h 706585"/>
              <a:gd name="connsiteX257" fmla="*/ 34932 w 222103"/>
              <a:gd name="connsiteY257" fmla="*/ 382172 h 706585"/>
              <a:gd name="connsiteX258" fmla="*/ 34210 w 222103"/>
              <a:gd name="connsiteY258" fmla="*/ 380149 h 706585"/>
              <a:gd name="connsiteX259" fmla="*/ 34325 w 222103"/>
              <a:gd name="connsiteY259" fmla="*/ 378705 h 706585"/>
              <a:gd name="connsiteX260" fmla="*/ 34528 w 222103"/>
              <a:gd name="connsiteY260" fmla="*/ 376769 h 706585"/>
              <a:gd name="connsiteX261" fmla="*/ 34412 w 222103"/>
              <a:gd name="connsiteY261" fmla="*/ 374920 h 706585"/>
              <a:gd name="connsiteX262" fmla="*/ 36435 w 222103"/>
              <a:gd name="connsiteY262" fmla="*/ 374920 h 706585"/>
              <a:gd name="connsiteX263" fmla="*/ 42531 w 222103"/>
              <a:gd name="connsiteY263" fmla="*/ 372695 h 706585"/>
              <a:gd name="connsiteX264" fmla="*/ 44351 w 222103"/>
              <a:gd name="connsiteY264" fmla="*/ 369950 h 706585"/>
              <a:gd name="connsiteX265" fmla="*/ 46172 w 222103"/>
              <a:gd name="connsiteY265" fmla="*/ 357150 h 706585"/>
              <a:gd name="connsiteX266" fmla="*/ 47212 w 222103"/>
              <a:gd name="connsiteY266" fmla="*/ 348829 h 706585"/>
              <a:gd name="connsiteX267" fmla="*/ 47472 w 222103"/>
              <a:gd name="connsiteY267" fmla="*/ 347153 h 706585"/>
              <a:gd name="connsiteX268" fmla="*/ 50217 w 222103"/>
              <a:gd name="connsiteY268" fmla="*/ 348049 h 706585"/>
              <a:gd name="connsiteX269" fmla="*/ 49639 w 222103"/>
              <a:gd name="connsiteY269" fmla="*/ 359144 h 706585"/>
              <a:gd name="connsiteX270" fmla="*/ 49465 w 222103"/>
              <a:gd name="connsiteY270" fmla="*/ 364287 h 706585"/>
              <a:gd name="connsiteX271" fmla="*/ 51632 w 222103"/>
              <a:gd name="connsiteY271" fmla="*/ 415861 h 706585"/>
              <a:gd name="connsiteX272" fmla="*/ 53193 w 222103"/>
              <a:gd name="connsiteY272" fmla="*/ 435162 h 706585"/>
              <a:gd name="connsiteX273" fmla="*/ 53539 w 222103"/>
              <a:gd name="connsiteY273" fmla="*/ 437589 h 706585"/>
              <a:gd name="connsiteX274" fmla="*/ 53828 w 222103"/>
              <a:gd name="connsiteY274" fmla="*/ 439641 h 706585"/>
              <a:gd name="connsiteX275" fmla="*/ 52759 w 222103"/>
              <a:gd name="connsiteY275" fmla="*/ 445419 h 706585"/>
              <a:gd name="connsiteX276" fmla="*/ 51661 w 222103"/>
              <a:gd name="connsiteY276" fmla="*/ 450736 h 706585"/>
              <a:gd name="connsiteX277" fmla="*/ 50101 w 222103"/>
              <a:gd name="connsiteY277" fmla="*/ 488124 h 706585"/>
              <a:gd name="connsiteX278" fmla="*/ 50563 w 222103"/>
              <a:gd name="connsiteY278" fmla="*/ 492255 h 706585"/>
              <a:gd name="connsiteX279" fmla="*/ 51026 w 222103"/>
              <a:gd name="connsiteY279" fmla="*/ 499825 h 706585"/>
              <a:gd name="connsiteX280" fmla="*/ 50708 w 222103"/>
              <a:gd name="connsiteY280" fmla="*/ 506384 h 706585"/>
              <a:gd name="connsiteX281" fmla="*/ 55013 w 222103"/>
              <a:gd name="connsiteY281" fmla="*/ 574601 h 706585"/>
              <a:gd name="connsiteX282" fmla="*/ 56024 w 222103"/>
              <a:gd name="connsiteY282" fmla="*/ 577173 h 706585"/>
              <a:gd name="connsiteX283" fmla="*/ 56920 w 222103"/>
              <a:gd name="connsiteY283" fmla="*/ 579686 h 706585"/>
              <a:gd name="connsiteX284" fmla="*/ 57960 w 222103"/>
              <a:gd name="connsiteY284" fmla="*/ 590464 h 706585"/>
              <a:gd name="connsiteX285" fmla="*/ 58480 w 222103"/>
              <a:gd name="connsiteY285" fmla="*/ 597109 h 706585"/>
              <a:gd name="connsiteX286" fmla="*/ 58798 w 222103"/>
              <a:gd name="connsiteY286" fmla="*/ 600316 h 706585"/>
              <a:gd name="connsiteX287" fmla="*/ 59058 w 222103"/>
              <a:gd name="connsiteY287" fmla="*/ 620570 h 706585"/>
              <a:gd name="connsiteX288" fmla="*/ 53135 w 222103"/>
              <a:gd name="connsiteY288" fmla="*/ 646314 h 706585"/>
              <a:gd name="connsiteX289" fmla="*/ 50535 w 222103"/>
              <a:gd name="connsiteY289" fmla="*/ 655502 h 706585"/>
              <a:gd name="connsiteX290" fmla="*/ 52817 w 222103"/>
              <a:gd name="connsiteY290" fmla="*/ 669458 h 706585"/>
              <a:gd name="connsiteX291" fmla="*/ 54320 w 222103"/>
              <a:gd name="connsiteY291" fmla="*/ 673012 h 706585"/>
              <a:gd name="connsiteX292" fmla="*/ 54811 w 222103"/>
              <a:gd name="connsiteY292" fmla="*/ 674803 h 706585"/>
              <a:gd name="connsiteX293" fmla="*/ 55591 w 222103"/>
              <a:gd name="connsiteY293" fmla="*/ 677461 h 706585"/>
              <a:gd name="connsiteX294" fmla="*/ 57209 w 222103"/>
              <a:gd name="connsiteY294" fmla="*/ 679860 h 706585"/>
              <a:gd name="connsiteX295" fmla="*/ 57324 w 222103"/>
              <a:gd name="connsiteY295" fmla="*/ 680004 h 706585"/>
              <a:gd name="connsiteX296" fmla="*/ 57267 w 222103"/>
              <a:gd name="connsiteY296" fmla="*/ 681824 h 706585"/>
              <a:gd name="connsiteX297" fmla="*/ 57267 w 222103"/>
              <a:gd name="connsiteY297" fmla="*/ 684338 h 706585"/>
              <a:gd name="connsiteX298" fmla="*/ 77839 w 222103"/>
              <a:gd name="connsiteY298" fmla="*/ 704737 h 706585"/>
              <a:gd name="connsiteX299" fmla="*/ 83733 w 222103"/>
              <a:gd name="connsiteY299" fmla="*/ 704014 h 706585"/>
              <a:gd name="connsiteX300" fmla="*/ 98469 w 222103"/>
              <a:gd name="connsiteY300" fmla="*/ 683587 h 706585"/>
              <a:gd name="connsiteX301" fmla="*/ 100491 w 222103"/>
              <a:gd name="connsiteY301" fmla="*/ 679657 h 706585"/>
              <a:gd name="connsiteX302" fmla="*/ 102716 w 222103"/>
              <a:gd name="connsiteY302" fmla="*/ 675699 h 706585"/>
              <a:gd name="connsiteX303" fmla="*/ 103496 w 222103"/>
              <a:gd name="connsiteY303" fmla="*/ 660674 h 706585"/>
              <a:gd name="connsiteX304" fmla="*/ 102600 w 222103"/>
              <a:gd name="connsiteY304" fmla="*/ 655589 h 706585"/>
              <a:gd name="connsiteX305" fmla="*/ 101647 w 222103"/>
              <a:gd name="connsiteY305" fmla="*/ 636693 h 706585"/>
              <a:gd name="connsiteX306" fmla="*/ 100289 w 222103"/>
              <a:gd name="connsiteY306" fmla="*/ 614503 h 706585"/>
              <a:gd name="connsiteX307" fmla="*/ 99364 w 222103"/>
              <a:gd name="connsiteY307" fmla="*/ 609678 h 706585"/>
              <a:gd name="connsiteX308" fmla="*/ 98266 w 222103"/>
              <a:gd name="connsiteY308" fmla="*/ 603148 h 706585"/>
              <a:gd name="connsiteX309" fmla="*/ 100462 w 222103"/>
              <a:gd name="connsiteY309" fmla="*/ 595087 h 706585"/>
              <a:gd name="connsiteX310" fmla="*/ 101907 w 222103"/>
              <a:gd name="connsiteY310" fmla="*/ 591013 h 706585"/>
              <a:gd name="connsiteX311" fmla="*/ 108321 w 222103"/>
              <a:gd name="connsiteY311" fmla="*/ 539294 h 706585"/>
              <a:gd name="connsiteX312" fmla="*/ 108437 w 222103"/>
              <a:gd name="connsiteY312" fmla="*/ 536058 h 706585"/>
              <a:gd name="connsiteX313" fmla="*/ 108870 w 222103"/>
              <a:gd name="connsiteY313" fmla="*/ 526147 h 706585"/>
              <a:gd name="connsiteX314" fmla="*/ 109333 w 222103"/>
              <a:gd name="connsiteY314" fmla="*/ 515630 h 706585"/>
              <a:gd name="connsiteX315" fmla="*/ 109275 w 222103"/>
              <a:gd name="connsiteY315" fmla="*/ 511585 h 706585"/>
              <a:gd name="connsiteX316" fmla="*/ 109621 w 222103"/>
              <a:gd name="connsiteY316" fmla="*/ 502050 h 706585"/>
              <a:gd name="connsiteX317" fmla="*/ 110373 w 222103"/>
              <a:gd name="connsiteY317" fmla="*/ 501212 h 706585"/>
              <a:gd name="connsiteX318" fmla="*/ 111760 w 222103"/>
              <a:gd name="connsiteY318" fmla="*/ 499536 h 706585"/>
              <a:gd name="connsiteX319" fmla="*/ 115689 w 222103"/>
              <a:gd name="connsiteY319" fmla="*/ 484801 h 706585"/>
              <a:gd name="connsiteX320" fmla="*/ 114129 w 222103"/>
              <a:gd name="connsiteY320" fmla="*/ 479744 h 706585"/>
              <a:gd name="connsiteX321" fmla="*/ 112684 w 222103"/>
              <a:gd name="connsiteY321" fmla="*/ 471048 h 706585"/>
              <a:gd name="connsiteX322" fmla="*/ 117365 w 222103"/>
              <a:gd name="connsiteY322" fmla="*/ 436289 h 706585"/>
              <a:gd name="connsiteX323" fmla="*/ 121381 w 222103"/>
              <a:gd name="connsiteY323" fmla="*/ 417971 h 706585"/>
              <a:gd name="connsiteX324" fmla="*/ 125975 w 222103"/>
              <a:gd name="connsiteY324" fmla="*/ 396590 h 706585"/>
              <a:gd name="connsiteX325" fmla="*/ 126697 w 222103"/>
              <a:gd name="connsiteY325" fmla="*/ 437445 h 706585"/>
              <a:gd name="connsiteX326" fmla="*/ 126062 w 222103"/>
              <a:gd name="connsiteY326" fmla="*/ 446806 h 706585"/>
              <a:gd name="connsiteX327" fmla="*/ 125426 w 222103"/>
              <a:gd name="connsiteY327" fmla="*/ 456283 h 706585"/>
              <a:gd name="connsiteX328" fmla="*/ 125917 w 222103"/>
              <a:gd name="connsiteY328" fmla="*/ 467898 h 706585"/>
              <a:gd name="connsiteX329" fmla="*/ 126380 w 222103"/>
              <a:gd name="connsiteY329" fmla="*/ 478878 h 706585"/>
              <a:gd name="connsiteX330" fmla="*/ 126235 w 222103"/>
              <a:gd name="connsiteY330" fmla="*/ 483067 h 706585"/>
              <a:gd name="connsiteX331" fmla="*/ 125802 w 222103"/>
              <a:gd name="connsiteY331" fmla="*/ 499681 h 706585"/>
              <a:gd name="connsiteX332" fmla="*/ 119243 w 222103"/>
              <a:gd name="connsiteY332" fmla="*/ 572087 h 706585"/>
              <a:gd name="connsiteX333" fmla="*/ 114996 w 222103"/>
              <a:gd name="connsiteY333" fmla="*/ 606471 h 706585"/>
              <a:gd name="connsiteX334" fmla="*/ 117480 w 222103"/>
              <a:gd name="connsiteY334" fmla="*/ 673908 h 706585"/>
              <a:gd name="connsiteX335" fmla="*/ 118665 w 222103"/>
              <a:gd name="connsiteY335" fmla="*/ 676884 h 706585"/>
              <a:gd name="connsiteX336" fmla="*/ 119590 w 222103"/>
              <a:gd name="connsiteY336" fmla="*/ 679195 h 706585"/>
              <a:gd name="connsiteX337" fmla="*/ 119763 w 222103"/>
              <a:gd name="connsiteY337" fmla="*/ 681767 h 706585"/>
              <a:gd name="connsiteX338" fmla="*/ 119965 w 222103"/>
              <a:gd name="connsiteY338" fmla="*/ 684800 h 706585"/>
              <a:gd name="connsiteX339" fmla="*/ 136897 w 222103"/>
              <a:gd name="connsiteY339" fmla="*/ 705864 h 706585"/>
              <a:gd name="connsiteX340" fmla="*/ 142907 w 222103"/>
              <a:gd name="connsiteY340" fmla="*/ 706586 h 706585"/>
              <a:gd name="connsiteX341" fmla="*/ 160907 w 222103"/>
              <a:gd name="connsiteY341" fmla="*/ 684800 h 706585"/>
              <a:gd name="connsiteX342" fmla="*/ 160792 w 222103"/>
              <a:gd name="connsiteY342" fmla="*/ 682142 h 706585"/>
              <a:gd name="connsiteX343" fmla="*/ 160734 w 222103"/>
              <a:gd name="connsiteY343" fmla="*/ 681420 h 706585"/>
              <a:gd name="connsiteX344" fmla="*/ 161427 w 222103"/>
              <a:gd name="connsiteY344" fmla="*/ 681218 h 706585"/>
              <a:gd name="connsiteX345" fmla="*/ 163276 w 222103"/>
              <a:gd name="connsiteY345" fmla="*/ 680611 h 706585"/>
              <a:gd name="connsiteX346" fmla="*/ 170904 w 222103"/>
              <a:gd name="connsiteY346" fmla="*/ 671336 h 706585"/>
              <a:gd name="connsiteX347" fmla="*/ 172060 w 222103"/>
              <a:gd name="connsiteY347" fmla="*/ 660645 h 706585"/>
              <a:gd name="connsiteX348" fmla="*/ 174054 w 222103"/>
              <a:gd name="connsiteY348" fmla="*/ 644581 h 706585"/>
              <a:gd name="connsiteX349" fmla="*/ 180381 w 222103"/>
              <a:gd name="connsiteY349" fmla="*/ 575208 h 706585"/>
              <a:gd name="connsiteX350" fmla="*/ 180641 w 222103"/>
              <a:gd name="connsiteY350" fmla="*/ 560443 h 706585"/>
              <a:gd name="connsiteX351" fmla="*/ 183762 w 222103"/>
              <a:gd name="connsiteY351" fmla="*/ 478820 h 706585"/>
              <a:gd name="connsiteX352" fmla="*/ 194770 w 222103"/>
              <a:gd name="connsiteY352" fmla="*/ 412019 h 706585"/>
              <a:gd name="connsiteX353" fmla="*/ 204103 w 222103"/>
              <a:gd name="connsiteY353" fmla="*/ 361022 h 706585"/>
              <a:gd name="connsiteX354" fmla="*/ 205085 w 222103"/>
              <a:gd name="connsiteY354" fmla="*/ 350967 h 706585"/>
              <a:gd name="connsiteX355" fmla="*/ 205085 w 222103"/>
              <a:gd name="connsiteY355" fmla="*/ 348742 h 706585"/>
              <a:gd name="connsiteX356" fmla="*/ 205114 w 222103"/>
              <a:gd name="connsiteY356" fmla="*/ 344813 h 706585"/>
              <a:gd name="connsiteX357" fmla="*/ 211124 w 222103"/>
              <a:gd name="connsiteY357" fmla="*/ 339872 h 706585"/>
              <a:gd name="connsiteX358" fmla="*/ 211557 w 222103"/>
              <a:gd name="connsiteY358" fmla="*/ 339323 h 706585"/>
              <a:gd name="connsiteX359" fmla="*/ 212106 w 222103"/>
              <a:gd name="connsiteY359" fmla="*/ 336723 h 706585"/>
              <a:gd name="connsiteX360" fmla="*/ 211817 w 222103"/>
              <a:gd name="connsiteY360" fmla="*/ 335654 h 706585"/>
              <a:gd name="connsiteX361" fmla="*/ 197862 w 222103"/>
              <a:gd name="connsiteY361" fmla="*/ 288529 h 706585"/>
              <a:gd name="connsiteX362" fmla="*/ 199162 w 222103"/>
              <a:gd name="connsiteY362" fmla="*/ 287257 h 706585"/>
              <a:gd name="connsiteX363" fmla="*/ 199364 w 222103"/>
              <a:gd name="connsiteY363" fmla="*/ 282490 h 706585"/>
              <a:gd name="connsiteX364" fmla="*/ 199307 w 222103"/>
              <a:gd name="connsiteY364" fmla="*/ 282317 h 706585"/>
              <a:gd name="connsiteX365" fmla="*/ 195608 w 222103"/>
              <a:gd name="connsiteY365" fmla="*/ 274284 h 706585"/>
              <a:gd name="connsiteX366" fmla="*/ 192430 w 222103"/>
              <a:gd name="connsiteY366" fmla="*/ 267552 h 706585"/>
              <a:gd name="connsiteX367" fmla="*/ 192228 w 222103"/>
              <a:gd name="connsiteY367" fmla="*/ 266021 h 706585"/>
              <a:gd name="connsiteX368" fmla="*/ 191765 w 222103"/>
              <a:gd name="connsiteY368" fmla="*/ 263276 h 706585"/>
              <a:gd name="connsiteX369" fmla="*/ 190407 w 222103"/>
              <a:gd name="connsiteY369" fmla="*/ 260184 h 706585"/>
              <a:gd name="connsiteX370" fmla="*/ 189656 w 222103"/>
              <a:gd name="connsiteY370" fmla="*/ 258711 h 706585"/>
              <a:gd name="connsiteX371" fmla="*/ 190812 w 222103"/>
              <a:gd name="connsiteY371" fmla="*/ 257728 h 706585"/>
              <a:gd name="connsiteX372" fmla="*/ 191679 w 222103"/>
              <a:gd name="connsiteY372" fmla="*/ 253192 h 706585"/>
              <a:gd name="connsiteX373" fmla="*/ 189309 w 222103"/>
              <a:gd name="connsiteY373" fmla="*/ 247038 h 706585"/>
              <a:gd name="connsiteX374" fmla="*/ 191939 w 222103"/>
              <a:gd name="connsiteY374" fmla="*/ 248222 h 706585"/>
              <a:gd name="connsiteX375" fmla="*/ 198613 w 222103"/>
              <a:gd name="connsiteY375" fmla="*/ 250072 h 706585"/>
              <a:gd name="connsiteX376" fmla="*/ 205432 w 222103"/>
              <a:gd name="connsiteY376" fmla="*/ 247558 h 706585"/>
              <a:gd name="connsiteX377" fmla="*/ 221294 w 222103"/>
              <a:gd name="connsiteY377" fmla="*/ 226148 h 706585"/>
              <a:gd name="connsiteX378" fmla="*/ 222103 w 222103"/>
              <a:gd name="connsiteY378" fmla="*/ 224154 h 706585"/>
              <a:gd name="connsiteX379" fmla="*/ 222103 w 222103"/>
              <a:gd name="connsiteY379" fmla="*/ 216411 h 706585"/>
              <a:gd name="connsiteX380" fmla="*/ 221468 w 222103"/>
              <a:gd name="connsiteY380" fmla="*/ 214591 h 706585"/>
              <a:gd name="connsiteX381" fmla="*/ 221468 w 222103"/>
              <a:gd name="connsiteY381" fmla="*/ 212452 h 706585"/>
              <a:gd name="connsiteX382" fmla="*/ 220919 w 222103"/>
              <a:gd name="connsiteY382" fmla="*/ 205489 h 706585"/>
              <a:gd name="connsiteX383" fmla="*/ 217538 w 222103"/>
              <a:gd name="connsiteY383" fmla="*/ 196041 h 706585"/>
              <a:gd name="connsiteX384" fmla="*/ 215429 w 222103"/>
              <a:gd name="connsiteY384" fmla="*/ 190551 h 706585"/>
              <a:gd name="connsiteX385" fmla="*/ 214360 w 222103"/>
              <a:gd name="connsiteY385" fmla="*/ 186824 h 706585"/>
              <a:gd name="connsiteX386" fmla="*/ 212858 w 222103"/>
              <a:gd name="connsiteY386" fmla="*/ 181883 h 706585"/>
              <a:gd name="connsiteX387" fmla="*/ 211239 w 222103"/>
              <a:gd name="connsiteY387" fmla="*/ 178734 h 706585"/>
              <a:gd name="connsiteX388" fmla="*/ 210228 w 222103"/>
              <a:gd name="connsiteY388" fmla="*/ 176827 h 706585"/>
              <a:gd name="connsiteX389" fmla="*/ 210286 w 222103"/>
              <a:gd name="connsiteY389" fmla="*/ 176711 h 706585"/>
              <a:gd name="connsiteX390" fmla="*/ 210806 w 222103"/>
              <a:gd name="connsiteY390" fmla="*/ 172811 h 706585"/>
              <a:gd name="connsiteX391" fmla="*/ 208812 w 222103"/>
              <a:gd name="connsiteY391" fmla="*/ 170268 h 706585"/>
              <a:gd name="connsiteX392" fmla="*/ 208812 w 222103"/>
              <a:gd name="connsiteY392" fmla="*/ 169806 h 706585"/>
              <a:gd name="connsiteX393" fmla="*/ 209101 w 222103"/>
              <a:gd name="connsiteY393" fmla="*/ 166743 h 706585"/>
              <a:gd name="connsiteX394" fmla="*/ 208524 w 222103"/>
              <a:gd name="connsiteY394" fmla="*/ 150390 h 706585"/>
              <a:gd name="connsiteX395" fmla="*/ 207541 w 222103"/>
              <a:gd name="connsiteY395" fmla="*/ 147443 h 706585"/>
              <a:gd name="connsiteX396" fmla="*/ 207541 w 222103"/>
              <a:gd name="connsiteY396" fmla="*/ 147443 h 706585"/>
              <a:gd name="connsiteX397" fmla="*/ 208928 w 222103"/>
              <a:gd name="connsiteY397" fmla="*/ 146085 h 706585"/>
              <a:gd name="connsiteX398" fmla="*/ 206992 w 222103"/>
              <a:gd name="connsiteY398" fmla="*/ 138283 h 706585"/>
              <a:gd name="connsiteX399" fmla="*/ 206068 w 222103"/>
              <a:gd name="connsiteY399" fmla="*/ 137185 h 706585"/>
              <a:gd name="connsiteX400" fmla="*/ 206068 w 222103"/>
              <a:gd name="connsiteY400" fmla="*/ 136203 h 706585"/>
              <a:gd name="connsiteX401" fmla="*/ 205316 w 222103"/>
              <a:gd name="connsiteY401" fmla="*/ 133978 h 706585"/>
              <a:gd name="connsiteX402" fmla="*/ 205056 w 222103"/>
              <a:gd name="connsiteY402" fmla="*/ 133429 h 706585"/>
              <a:gd name="connsiteX403" fmla="*/ 204767 w 222103"/>
              <a:gd name="connsiteY403" fmla="*/ 131927 h 706585"/>
              <a:gd name="connsiteX404" fmla="*/ 202716 w 222103"/>
              <a:gd name="connsiteY404" fmla="*/ 126235 h 706585"/>
              <a:gd name="connsiteX405" fmla="*/ 198584 w 222103"/>
              <a:gd name="connsiteY405" fmla="*/ 123403 h 706585"/>
              <a:gd name="connsiteX406" fmla="*/ 197746 w 222103"/>
              <a:gd name="connsiteY406" fmla="*/ 123143 h 706585"/>
              <a:gd name="connsiteX407" fmla="*/ 195868 w 222103"/>
              <a:gd name="connsiteY407" fmla="*/ 121901 h 706585"/>
              <a:gd name="connsiteX408" fmla="*/ 193470 w 222103"/>
              <a:gd name="connsiteY408" fmla="*/ 120341 h 706585"/>
              <a:gd name="connsiteX409" fmla="*/ 191216 w 222103"/>
              <a:gd name="connsiteY409" fmla="*/ 119127 h 706585"/>
              <a:gd name="connsiteX410" fmla="*/ 183242 w 222103"/>
              <a:gd name="connsiteY410" fmla="*/ 113060 h 706585"/>
              <a:gd name="connsiteX411" fmla="*/ 183126 w 222103"/>
              <a:gd name="connsiteY411" fmla="*/ 112771 h 706585"/>
              <a:gd name="connsiteX412" fmla="*/ 181682 w 222103"/>
              <a:gd name="connsiteY412" fmla="*/ 110575 h 706585"/>
              <a:gd name="connsiteX413" fmla="*/ 181479 w 222103"/>
              <a:gd name="connsiteY413" fmla="*/ 110401 h 706585"/>
              <a:gd name="connsiteX414" fmla="*/ 181075 w 222103"/>
              <a:gd name="connsiteY414" fmla="*/ 108928 h 706585"/>
              <a:gd name="connsiteX415" fmla="*/ 180526 w 222103"/>
              <a:gd name="connsiteY415" fmla="*/ 103900 h 706585"/>
              <a:gd name="connsiteX416" fmla="*/ 180526 w 222103"/>
              <a:gd name="connsiteY416" fmla="*/ 103669 h 706585"/>
              <a:gd name="connsiteX417" fmla="*/ 183328 w 222103"/>
              <a:gd name="connsiteY417" fmla="*/ 89511 h 706585"/>
              <a:gd name="connsiteX418" fmla="*/ 185293 w 222103"/>
              <a:gd name="connsiteY418" fmla="*/ 81739 h 706585"/>
              <a:gd name="connsiteX419" fmla="*/ 186247 w 222103"/>
              <a:gd name="connsiteY419" fmla="*/ 58567 h 706585"/>
              <a:gd name="connsiteX420" fmla="*/ 186131 w 222103"/>
              <a:gd name="connsiteY420" fmla="*/ 55186 h 706585"/>
              <a:gd name="connsiteX421" fmla="*/ 186044 w 222103"/>
              <a:gd name="connsiteY421" fmla="*/ 51170 h 706585"/>
              <a:gd name="connsiteX422" fmla="*/ 181682 w 222103"/>
              <a:gd name="connsiteY422" fmla="*/ 23028 h 706585"/>
              <a:gd name="connsiteX423" fmla="*/ 172898 w 222103"/>
              <a:gd name="connsiteY423" fmla="*/ 9968 h 706585"/>
              <a:gd name="connsiteX424" fmla="*/ 172205 w 222103"/>
              <a:gd name="connsiteY424" fmla="*/ 9535 h 706585"/>
              <a:gd name="connsiteX425" fmla="*/ 166224 w 222103"/>
              <a:gd name="connsiteY425" fmla="*/ 6125 h 706585"/>
              <a:gd name="connsiteX426" fmla="*/ 164837 w 222103"/>
              <a:gd name="connsiteY426" fmla="*/ 5779 h 706585"/>
              <a:gd name="connsiteX427" fmla="*/ 162352 w 222103"/>
              <a:gd name="connsiteY427" fmla="*/ 4190 h 706585"/>
              <a:gd name="connsiteX428" fmla="*/ 159318 w 222103"/>
              <a:gd name="connsiteY428" fmla="*/ 2225 h 706585"/>
              <a:gd name="connsiteX429" fmla="*/ 154059 w 222103"/>
              <a:gd name="connsiteY429" fmla="*/ 867 h 706585"/>
              <a:gd name="connsiteX430" fmla="*/ 153308 w 222103"/>
              <a:gd name="connsiteY430" fmla="*/ 722 h 706585"/>
              <a:gd name="connsiteX431" fmla="*/ 151372 w 222103"/>
              <a:gd name="connsiteY431" fmla="*/ 0 h 706585"/>
              <a:gd name="connsiteX432" fmla="*/ 151372 w 222103"/>
              <a:gd name="connsiteY432" fmla="*/ 0 h 706585"/>
              <a:gd name="connsiteX433" fmla="*/ 151604 w 222103"/>
              <a:gd name="connsiteY433" fmla="*/ 5779 h 706585"/>
              <a:gd name="connsiteX434" fmla="*/ 151604 w 222103"/>
              <a:gd name="connsiteY434" fmla="*/ 5779 h 706585"/>
              <a:gd name="connsiteX435" fmla="*/ 151604 w 222103"/>
              <a:gd name="connsiteY435" fmla="*/ 5779 h 706585"/>
              <a:gd name="connsiteX436" fmla="*/ 61052 w 222103"/>
              <a:gd name="connsiteY436" fmla="*/ 264172 h 706585"/>
              <a:gd name="connsiteX437" fmla="*/ 64288 w 222103"/>
              <a:gd name="connsiteY437" fmla="*/ 244351 h 706585"/>
              <a:gd name="connsiteX438" fmla="*/ 64548 w 222103"/>
              <a:gd name="connsiteY438" fmla="*/ 246171 h 706585"/>
              <a:gd name="connsiteX439" fmla="*/ 64346 w 222103"/>
              <a:gd name="connsiteY439" fmla="*/ 248020 h 706585"/>
              <a:gd name="connsiteX440" fmla="*/ 64086 w 222103"/>
              <a:gd name="connsiteY440" fmla="*/ 250649 h 706585"/>
              <a:gd name="connsiteX441" fmla="*/ 64374 w 222103"/>
              <a:gd name="connsiteY441" fmla="*/ 253857 h 706585"/>
              <a:gd name="connsiteX442" fmla="*/ 64663 w 222103"/>
              <a:gd name="connsiteY442" fmla="*/ 256948 h 706585"/>
              <a:gd name="connsiteX443" fmla="*/ 63768 w 222103"/>
              <a:gd name="connsiteY443" fmla="*/ 258422 h 706585"/>
              <a:gd name="connsiteX444" fmla="*/ 62583 w 222103"/>
              <a:gd name="connsiteY444" fmla="*/ 260386 h 706585"/>
              <a:gd name="connsiteX445" fmla="*/ 61052 w 222103"/>
              <a:gd name="connsiteY445" fmla="*/ 264172 h 706585"/>
              <a:gd name="connsiteX446" fmla="*/ 61052 w 222103"/>
              <a:gd name="connsiteY446" fmla="*/ 264172 h 706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</a:cxnLst>
            <a:rect l="l" t="t" r="r" b="b"/>
            <a:pathLst>
              <a:path w="222103" h="706585">
                <a:moveTo>
                  <a:pt x="151604" y="2889"/>
                </a:moveTo>
                <a:cubicBezTo>
                  <a:pt x="151517" y="3438"/>
                  <a:pt x="151661" y="3525"/>
                  <a:pt x="151921" y="3525"/>
                </a:cubicBezTo>
                <a:cubicBezTo>
                  <a:pt x="152066" y="3525"/>
                  <a:pt x="152268" y="3496"/>
                  <a:pt x="152470" y="3496"/>
                </a:cubicBezTo>
                <a:cubicBezTo>
                  <a:pt x="152528" y="3496"/>
                  <a:pt x="152615" y="3496"/>
                  <a:pt x="152673" y="3496"/>
                </a:cubicBezTo>
                <a:cubicBezTo>
                  <a:pt x="154377" y="3843"/>
                  <a:pt x="156891" y="4218"/>
                  <a:pt x="158422" y="4883"/>
                </a:cubicBezTo>
                <a:cubicBezTo>
                  <a:pt x="160329" y="5721"/>
                  <a:pt x="161716" y="7628"/>
                  <a:pt x="164085" y="8495"/>
                </a:cubicBezTo>
                <a:cubicBezTo>
                  <a:pt x="165992" y="9217"/>
                  <a:pt x="169460" y="9130"/>
                  <a:pt x="170182" y="11528"/>
                </a:cubicBezTo>
                <a:lnTo>
                  <a:pt x="169257" y="11528"/>
                </a:lnTo>
                <a:cubicBezTo>
                  <a:pt x="169922" y="12251"/>
                  <a:pt x="170875" y="11846"/>
                  <a:pt x="171338" y="12222"/>
                </a:cubicBezTo>
                <a:cubicBezTo>
                  <a:pt x="173129" y="13695"/>
                  <a:pt x="178272" y="21872"/>
                  <a:pt x="179312" y="24213"/>
                </a:cubicBezTo>
                <a:cubicBezTo>
                  <a:pt x="183646" y="33950"/>
                  <a:pt x="183242" y="44814"/>
                  <a:pt x="183531" y="55273"/>
                </a:cubicBezTo>
                <a:cubicBezTo>
                  <a:pt x="183762" y="63305"/>
                  <a:pt x="184369" y="73331"/>
                  <a:pt x="182751" y="81161"/>
                </a:cubicBezTo>
                <a:cubicBezTo>
                  <a:pt x="181190" y="88616"/>
                  <a:pt x="178272" y="95897"/>
                  <a:pt x="177954" y="103583"/>
                </a:cubicBezTo>
                <a:cubicBezTo>
                  <a:pt x="177839" y="105865"/>
                  <a:pt x="177694" y="108379"/>
                  <a:pt x="178908" y="110430"/>
                </a:cubicBezTo>
                <a:lnTo>
                  <a:pt x="178301" y="111297"/>
                </a:lnTo>
                <a:cubicBezTo>
                  <a:pt x="178503" y="112279"/>
                  <a:pt x="179312" y="112077"/>
                  <a:pt x="180006" y="112713"/>
                </a:cubicBezTo>
                <a:cubicBezTo>
                  <a:pt x="180641" y="113320"/>
                  <a:pt x="180815" y="114273"/>
                  <a:pt x="181277" y="114880"/>
                </a:cubicBezTo>
                <a:cubicBezTo>
                  <a:pt x="184715" y="119329"/>
                  <a:pt x="187778" y="120370"/>
                  <a:pt x="192401" y="122912"/>
                </a:cubicBezTo>
                <a:cubicBezTo>
                  <a:pt x="193759" y="123634"/>
                  <a:pt x="195753" y="125339"/>
                  <a:pt x="196908" y="125830"/>
                </a:cubicBezTo>
                <a:cubicBezTo>
                  <a:pt x="198584" y="126553"/>
                  <a:pt x="199249" y="125975"/>
                  <a:pt x="200665" y="127940"/>
                </a:cubicBezTo>
                <a:cubicBezTo>
                  <a:pt x="202080" y="129933"/>
                  <a:pt x="202023" y="131898"/>
                  <a:pt x="202514" y="134123"/>
                </a:cubicBezTo>
                <a:cubicBezTo>
                  <a:pt x="202687" y="134903"/>
                  <a:pt x="203380" y="135856"/>
                  <a:pt x="203467" y="136550"/>
                </a:cubicBezTo>
                <a:cubicBezTo>
                  <a:pt x="203525" y="137157"/>
                  <a:pt x="202976" y="137763"/>
                  <a:pt x="203149" y="138139"/>
                </a:cubicBezTo>
                <a:cubicBezTo>
                  <a:pt x="203294" y="138515"/>
                  <a:pt x="204421" y="139266"/>
                  <a:pt x="204796" y="139873"/>
                </a:cubicBezTo>
                <a:cubicBezTo>
                  <a:pt x="205056" y="140277"/>
                  <a:pt x="207715" y="144929"/>
                  <a:pt x="206270" y="144929"/>
                </a:cubicBezTo>
                <a:cubicBezTo>
                  <a:pt x="206270" y="144929"/>
                  <a:pt x="206270" y="144929"/>
                  <a:pt x="206241" y="144929"/>
                </a:cubicBezTo>
                <a:cubicBezTo>
                  <a:pt x="205547" y="144091"/>
                  <a:pt x="204912" y="143137"/>
                  <a:pt x="204190" y="142357"/>
                </a:cubicBezTo>
                <a:cubicBezTo>
                  <a:pt x="204045" y="142184"/>
                  <a:pt x="203843" y="141779"/>
                  <a:pt x="203612" y="141779"/>
                </a:cubicBezTo>
                <a:cubicBezTo>
                  <a:pt x="203525" y="141779"/>
                  <a:pt x="203438" y="141837"/>
                  <a:pt x="203323" y="141982"/>
                </a:cubicBezTo>
                <a:cubicBezTo>
                  <a:pt x="204218" y="143426"/>
                  <a:pt x="203987" y="145102"/>
                  <a:pt x="204392" y="146489"/>
                </a:cubicBezTo>
                <a:cubicBezTo>
                  <a:pt x="204825" y="148020"/>
                  <a:pt x="205519" y="149378"/>
                  <a:pt x="205952" y="151112"/>
                </a:cubicBezTo>
                <a:cubicBezTo>
                  <a:pt x="207686" y="158104"/>
                  <a:pt x="206761" y="162640"/>
                  <a:pt x="206154" y="169575"/>
                </a:cubicBezTo>
                <a:cubicBezTo>
                  <a:pt x="205808" y="173273"/>
                  <a:pt x="207772" y="172089"/>
                  <a:pt x="208235" y="173620"/>
                </a:cubicBezTo>
                <a:cubicBezTo>
                  <a:pt x="208610" y="174920"/>
                  <a:pt x="207281" y="175902"/>
                  <a:pt x="207483" y="177116"/>
                </a:cubicBezTo>
                <a:cubicBezTo>
                  <a:pt x="207657" y="178185"/>
                  <a:pt x="209766" y="181306"/>
                  <a:pt x="210373" y="182895"/>
                </a:cubicBezTo>
                <a:cubicBezTo>
                  <a:pt x="211442" y="185668"/>
                  <a:pt x="211933" y="188673"/>
                  <a:pt x="212915" y="191505"/>
                </a:cubicBezTo>
                <a:cubicBezTo>
                  <a:pt x="214504" y="196070"/>
                  <a:pt x="217192" y="201646"/>
                  <a:pt x="218347" y="206183"/>
                </a:cubicBezTo>
                <a:cubicBezTo>
                  <a:pt x="219127" y="209303"/>
                  <a:pt x="218694" y="212164"/>
                  <a:pt x="218810" y="215313"/>
                </a:cubicBezTo>
                <a:cubicBezTo>
                  <a:pt x="218810" y="215833"/>
                  <a:pt x="218550" y="216411"/>
                  <a:pt x="219156" y="216411"/>
                </a:cubicBezTo>
                <a:cubicBezTo>
                  <a:pt x="219243" y="216411"/>
                  <a:pt x="219330" y="216411"/>
                  <a:pt x="219416" y="216411"/>
                </a:cubicBezTo>
                <a:lnTo>
                  <a:pt x="219416" y="224154"/>
                </a:lnTo>
                <a:cubicBezTo>
                  <a:pt x="219416" y="224154"/>
                  <a:pt x="219214" y="224125"/>
                  <a:pt x="219127" y="224125"/>
                </a:cubicBezTo>
                <a:cubicBezTo>
                  <a:pt x="218550" y="224125"/>
                  <a:pt x="218867" y="224703"/>
                  <a:pt x="218752" y="225194"/>
                </a:cubicBezTo>
                <a:cubicBezTo>
                  <a:pt x="216296" y="235740"/>
                  <a:pt x="212915" y="239410"/>
                  <a:pt x="204045" y="245160"/>
                </a:cubicBezTo>
                <a:cubicBezTo>
                  <a:pt x="201791" y="246633"/>
                  <a:pt x="200318" y="247211"/>
                  <a:pt x="198815" y="247211"/>
                </a:cubicBezTo>
                <a:cubicBezTo>
                  <a:pt x="197313" y="247211"/>
                  <a:pt x="195695" y="246575"/>
                  <a:pt x="193239" y="245564"/>
                </a:cubicBezTo>
                <a:cubicBezTo>
                  <a:pt x="190263" y="244351"/>
                  <a:pt x="187287" y="242733"/>
                  <a:pt x="184802" y="240710"/>
                </a:cubicBezTo>
                <a:lnTo>
                  <a:pt x="182635" y="238399"/>
                </a:lnTo>
                <a:cubicBezTo>
                  <a:pt x="182433" y="240479"/>
                  <a:pt x="184137" y="242126"/>
                  <a:pt x="184860" y="243744"/>
                </a:cubicBezTo>
                <a:cubicBezTo>
                  <a:pt x="185756" y="245795"/>
                  <a:pt x="188732" y="252065"/>
                  <a:pt x="189049" y="253770"/>
                </a:cubicBezTo>
                <a:cubicBezTo>
                  <a:pt x="189425" y="255821"/>
                  <a:pt x="188674" y="256601"/>
                  <a:pt x="186651" y="256659"/>
                </a:cubicBezTo>
                <a:cubicBezTo>
                  <a:pt x="186247" y="259462"/>
                  <a:pt x="188529" y="261744"/>
                  <a:pt x="189223" y="264143"/>
                </a:cubicBezTo>
                <a:cubicBezTo>
                  <a:pt x="189627" y="265501"/>
                  <a:pt x="189512" y="267148"/>
                  <a:pt x="189887" y="268419"/>
                </a:cubicBezTo>
                <a:cubicBezTo>
                  <a:pt x="191216" y="273013"/>
                  <a:pt x="195406" y="278531"/>
                  <a:pt x="196764" y="283183"/>
                </a:cubicBezTo>
                <a:cubicBezTo>
                  <a:pt x="197053" y="284195"/>
                  <a:pt x="197342" y="285004"/>
                  <a:pt x="196822" y="286015"/>
                </a:cubicBezTo>
                <a:lnTo>
                  <a:pt x="194077" y="285870"/>
                </a:lnTo>
                <a:cubicBezTo>
                  <a:pt x="200058" y="302831"/>
                  <a:pt x="204796" y="320225"/>
                  <a:pt x="209535" y="337561"/>
                </a:cubicBezTo>
                <a:cubicBezTo>
                  <a:pt x="207628" y="339872"/>
                  <a:pt x="206212" y="341952"/>
                  <a:pt x="203034" y="342501"/>
                </a:cubicBezTo>
                <a:cubicBezTo>
                  <a:pt x="202023" y="343339"/>
                  <a:pt x="202514" y="349262"/>
                  <a:pt x="202427" y="350851"/>
                </a:cubicBezTo>
                <a:cubicBezTo>
                  <a:pt x="202225" y="354087"/>
                  <a:pt x="201878" y="357497"/>
                  <a:pt x="201474" y="360704"/>
                </a:cubicBezTo>
                <a:cubicBezTo>
                  <a:pt x="196157" y="400317"/>
                  <a:pt x="184340" y="438716"/>
                  <a:pt x="181133" y="478647"/>
                </a:cubicBezTo>
                <a:cubicBezTo>
                  <a:pt x="178532" y="510747"/>
                  <a:pt x="178359" y="542992"/>
                  <a:pt x="177752" y="575208"/>
                </a:cubicBezTo>
                <a:cubicBezTo>
                  <a:pt x="177290" y="599421"/>
                  <a:pt x="175932" y="620253"/>
                  <a:pt x="171453" y="644090"/>
                </a:cubicBezTo>
                <a:cubicBezTo>
                  <a:pt x="169749" y="653104"/>
                  <a:pt x="169489" y="662003"/>
                  <a:pt x="168275" y="670989"/>
                </a:cubicBezTo>
                <a:cubicBezTo>
                  <a:pt x="167899" y="673734"/>
                  <a:pt x="164808" y="676941"/>
                  <a:pt x="162352" y="678010"/>
                </a:cubicBezTo>
                <a:cubicBezTo>
                  <a:pt x="161398" y="678415"/>
                  <a:pt x="158422" y="678993"/>
                  <a:pt x="158105" y="679628"/>
                </a:cubicBezTo>
                <a:cubicBezTo>
                  <a:pt x="157931" y="681362"/>
                  <a:pt x="158307" y="682951"/>
                  <a:pt x="158249" y="684743"/>
                </a:cubicBezTo>
                <a:cubicBezTo>
                  <a:pt x="157873" y="695780"/>
                  <a:pt x="153164" y="703725"/>
                  <a:pt x="143138" y="703725"/>
                </a:cubicBezTo>
                <a:cubicBezTo>
                  <a:pt x="141491" y="703725"/>
                  <a:pt x="139728" y="703523"/>
                  <a:pt x="137793" y="703061"/>
                </a:cubicBezTo>
                <a:cubicBezTo>
                  <a:pt x="127882" y="700778"/>
                  <a:pt x="124415" y="693844"/>
                  <a:pt x="123057" y="684396"/>
                </a:cubicBezTo>
                <a:cubicBezTo>
                  <a:pt x="122797" y="682633"/>
                  <a:pt x="122970" y="680206"/>
                  <a:pt x="122652" y="678617"/>
                </a:cubicBezTo>
                <a:cubicBezTo>
                  <a:pt x="122392" y="677288"/>
                  <a:pt x="120977" y="674717"/>
                  <a:pt x="120485" y="673070"/>
                </a:cubicBezTo>
                <a:cubicBezTo>
                  <a:pt x="113522" y="650273"/>
                  <a:pt x="115660" y="630105"/>
                  <a:pt x="118087" y="606759"/>
                </a:cubicBezTo>
                <a:cubicBezTo>
                  <a:pt x="121843" y="570932"/>
                  <a:pt x="128662" y="535971"/>
                  <a:pt x="128922" y="499681"/>
                </a:cubicBezTo>
                <a:cubicBezTo>
                  <a:pt x="128980" y="492486"/>
                  <a:pt x="129269" y="486130"/>
                  <a:pt x="129529" y="478964"/>
                </a:cubicBezTo>
                <a:cubicBezTo>
                  <a:pt x="129789" y="471365"/>
                  <a:pt x="128344" y="464055"/>
                  <a:pt x="128604" y="456370"/>
                </a:cubicBezTo>
                <a:cubicBezTo>
                  <a:pt x="128807" y="450100"/>
                  <a:pt x="129673" y="443772"/>
                  <a:pt x="129876" y="437531"/>
                </a:cubicBezTo>
                <a:cubicBezTo>
                  <a:pt x="130396" y="420311"/>
                  <a:pt x="129356" y="402166"/>
                  <a:pt x="128633" y="384888"/>
                </a:cubicBezTo>
                <a:cubicBezTo>
                  <a:pt x="128402" y="379514"/>
                  <a:pt x="127275" y="374226"/>
                  <a:pt x="128027" y="368852"/>
                </a:cubicBezTo>
                <a:cubicBezTo>
                  <a:pt x="128200" y="367552"/>
                  <a:pt x="129702" y="362987"/>
                  <a:pt x="129500" y="362351"/>
                </a:cubicBezTo>
                <a:cubicBezTo>
                  <a:pt x="129356" y="361860"/>
                  <a:pt x="129182" y="361658"/>
                  <a:pt x="128980" y="361658"/>
                </a:cubicBezTo>
                <a:cubicBezTo>
                  <a:pt x="128287" y="361658"/>
                  <a:pt x="127535" y="364749"/>
                  <a:pt x="127449" y="365183"/>
                </a:cubicBezTo>
                <a:cubicBezTo>
                  <a:pt x="125600" y="374775"/>
                  <a:pt x="125253" y="385263"/>
                  <a:pt x="123577" y="395029"/>
                </a:cubicBezTo>
                <a:cubicBezTo>
                  <a:pt x="121266" y="408494"/>
                  <a:pt x="117394" y="422189"/>
                  <a:pt x="114793" y="435740"/>
                </a:cubicBezTo>
                <a:cubicBezTo>
                  <a:pt x="112597" y="447124"/>
                  <a:pt x="110546" y="459317"/>
                  <a:pt x="110084" y="470932"/>
                </a:cubicBezTo>
                <a:cubicBezTo>
                  <a:pt x="109795" y="477866"/>
                  <a:pt x="111702" y="479542"/>
                  <a:pt x="113146" y="485494"/>
                </a:cubicBezTo>
                <a:cubicBezTo>
                  <a:pt x="114158" y="489655"/>
                  <a:pt x="111817" y="494538"/>
                  <a:pt x="109593" y="497976"/>
                </a:cubicBezTo>
                <a:cubicBezTo>
                  <a:pt x="109044" y="498814"/>
                  <a:pt x="107801" y="499854"/>
                  <a:pt x="107339" y="500663"/>
                </a:cubicBezTo>
                <a:cubicBezTo>
                  <a:pt x="106010" y="503061"/>
                  <a:pt x="106790" y="512134"/>
                  <a:pt x="106674" y="515486"/>
                </a:cubicBezTo>
                <a:cubicBezTo>
                  <a:pt x="106443" y="522275"/>
                  <a:pt x="106010" y="529094"/>
                  <a:pt x="105750" y="535884"/>
                </a:cubicBezTo>
                <a:cubicBezTo>
                  <a:pt x="105056" y="554867"/>
                  <a:pt x="104767" y="571654"/>
                  <a:pt x="99335" y="590117"/>
                </a:cubicBezTo>
                <a:cubicBezTo>
                  <a:pt x="98237" y="593844"/>
                  <a:pt x="95319" y="599681"/>
                  <a:pt x="95579" y="603292"/>
                </a:cubicBezTo>
                <a:cubicBezTo>
                  <a:pt x="95839" y="606904"/>
                  <a:pt x="97053" y="611180"/>
                  <a:pt x="97602" y="614878"/>
                </a:cubicBezTo>
                <a:cubicBezTo>
                  <a:pt x="99624" y="628603"/>
                  <a:pt x="98295" y="642125"/>
                  <a:pt x="99884" y="655907"/>
                </a:cubicBezTo>
                <a:cubicBezTo>
                  <a:pt x="100722" y="663101"/>
                  <a:pt x="103381" y="667031"/>
                  <a:pt x="100202" y="674572"/>
                </a:cubicBezTo>
                <a:cubicBezTo>
                  <a:pt x="99018" y="677404"/>
                  <a:pt x="96186" y="680495"/>
                  <a:pt x="95782" y="683124"/>
                </a:cubicBezTo>
                <a:cubicBezTo>
                  <a:pt x="94568" y="691070"/>
                  <a:pt x="92025" y="699074"/>
                  <a:pt x="83213" y="701183"/>
                </a:cubicBezTo>
                <a:cubicBezTo>
                  <a:pt x="81393" y="701616"/>
                  <a:pt x="79659" y="701818"/>
                  <a:pt x="77983" y="701818"/>
                </a:cubicBezTo>
                <a:cubicBezTo>
                  <a:pt x="68217" y="701818"/>
                  <a:pt x="61138" y="694711"/>
                  <a:pt x="60272" y="684078"/>
                </a:cubicBezTo>
                <a:cubicBezTo>
                  <a:pt x="60156" y="682633"/>
                  <a:pt x="60561" y="680091"/>
                  <a:pt x="60214" y="678877"/>
                </a:cubicBezTo>
                <a:cubicBezTo>
                  <a:pt x="60069" y="678386"/>
                  <a:pt x="58827" y="677346"/>
                  <a:pt x="58422" y="676363"/>
                </a:cubicBezTo>
                <a:cubicBezTo>
                  <a:pt x="57902" y="675063"/>
                  <a:pt x="57729" y="673416"/>
                  <a:pt x="57209" y="672029"/>
                </a:cubicBezTo>
                <a:cubicBezTo>
                  <a:pt x="55186" y="666540"/>
                  <a:pt x="51921" y="662235"/>
                  <a:pt x="53511" y="656283"/>
                </a:cubicBezTo>
                <a:cubicBezTo>
                  <a:pt x="56747" y="644147"/>
                  <a:pt x="60503" y="633746"/>
                  <a:pt x="62121" y="620946"/>
                </a:cubicBezTo>
                <a:cubicBezTo>
                  <a:pt x="63334" y="611382"/>
                  <a:pt x="62467" y="606153"/>
                  <a:pt x="61543" y="596849"/>
                </a:cubicBezTo>
                <a:cubicBezTo>
                  <a:pt x="60994" y="591244"/>
                  <a:pt x="60878" y="584685"/>
                  <a:pt x="59983" y="579253"/>
                </a:cubicBezTo>
                <a:cubicBezTo>
                  <a:pt x="59694" y="577462"/>
                  <a:pt x="58509" y="575584"/>
                  <a:pt x="57989" y="573821"/>
                </a:cubicBezTo>
                <a:cubicBezTo>
                  <a:pt x="50881" y="549984"/>
                  <a:pt x="52990" y="524500"/>
                  <a:pt x="54117" y="500028"/>
                </a:cubicBezTo>
                <a:cubicBezTo>
                  <a:pt x="54348" y="495347"/>
                  <a:pt x="53539" y="492255"/>
                  <a:pt x="53193" y="487950"/>
                </a:cubicBezTo>
                <a:cubicBezTo>
                  <a:pt x="52297" y="476653"/>
                  <a:pt x="53424" y="462437"/>
                  <a:pt x="54724" y="451140"/>
                </a:cubicBezTo>
                <a:cubicBezTo>
                  <a:pt x="55129" y="447731"/>
                  <a:pt x="56949" y="442790"/>
                  <a:pt x="56920" y="439698"/>
                </a:cubicBezTo>
                <a:cubicBezTo>
                  <a:pt x="56920" y="438340"/>
                  <a:pt x="56371" y="436462"/>
                  <a:pt x="56284" y="435047"/>
                </a:cubicBezTo>
                <a:cubicBezTo>
                  <a:pt x="54637" y="411123"/>
                  <a:pt x="51488" y="388615"/>
                  <a:pt x="52557" y="364489"/>
                </a:cubicBezTo>
                <a:cubicBezTo>
                  <a:pt x="52817" y="358508"/>
                  <a:pt x="52817" y="352498"/>
                  <a:pt x="53511" y="346546"/>
                </a:cubicBezTo>
                <a:cubicBezTo>
                  <a:pt x="53193" y="344582"/>
                  <a:pt x="48541" y="346084"/>
                  <a:pt x="48396" y="343455"/>
                </a:cubicBezTo>
                <a:cubicBezTo>
                  <a:pt x="48310" y="341808"/>
                  <a:pt x="48685" y="338716"/>
                  <a:pt x="48859" y="336954"/>
                </a:cubicBezTo>
                <a:cubicBezTo>
                  <a:pt x="49148" y="334093"/>
                  <a:pt x="49639" y="331204"/>
                  <a:pt x="50188" y="328372"/>
                </a:cubicBezTo>
                <a:cubicBezTo>
                  <a:pt x="52702" y="315948"/>
                  <a:pt x="56775" y="303755"/>
                  <a:pt x="59058" y="291302"/>
                </a:cubicBezTo>
                <a:cubicBezTo>
                  <a:pt x="58365" y="291620"/>
                  <a:pt x="57873" y="291736"/>
                  <a:pt x="57498" y="291736"/>
                </a:cubicBezTo>
                <a:cubicBezTo>
                  <a:pt x="55591" y="291736"/>
                  <a:pt x="57642" y="288066"/>
                  <a:pt x="58105" y="286477"/>
                </a:cubicBezTo>
                <a:cubicBezTo>
                  <a:pt x="60445" y="278503"/>
                  <a:pt x="62005" y="269026"/>
                  <a:pt x="65386" y="261600"/>
                </a:cubicBezTo>
                <a:cubicBezTo>
                  <a:pt x="65906" y="260444"/>
                  <a:pt x="67611" y="258480"/>
                  <a:pt x="67697" y="257382"/>
                </a:cubicBezTo>
                <a:cubicBezTo>
                  <a:pt x="67842" y="255764"/>
                  <a:pt x="67177" y="252441"/>
                  <a:pt x="67148" y="250592"/>
                </a:cubicBezTo>
                <a:cubicBezTo>
                  <a:pt x="67148" y="249320"/>
                  <a:pt x="67668" y="247269"/>
                  <a:pt x="67611" y="245998"/>
                </a:cubicBezTo>
                <a:cubicBezTo>
                  <a:pt x="67322" y="241086"/>
                  <a:pt x="64143" y="235480"/>
                  <a:pt x="63710" y="230164"/>
                </a:cubicBezTo>
                <a:cubicBezTo>
                  <a:pt x="63537" y="228286"/>
                  <a:pt x="64519" y="224443"/>
                  <a:pt x="62467" y="223836"/>
                </a:cubicBezTo>
                <a:cubicBezTo>
                  <a:pt x="62381" y="226552"/>
                  <a:pt x="62583" y="229326"/>
                  <a:pt x="62467" y="232042"/>
                </a:cubicBezTo>
                <a:cubicBezTo>
                  <a:pt x="61947" y="246807"/>
                  <a:pt x="59752" y="256659"/>
                  <a:pt x="56978" y="270788"/>
                </a:cubicBezTo>
                <a:cubicBezTo>
                  <a:pt x="51979" y="296243"/>
                  <a:pt x="48512" y="322709"/>
                  <a:pt x="44582" y="348424"/>
                </a:cubicBezTo>
                <a:cubicBezTo>
                  <a:pt x="43542" y="355185"/>
                  <a:pt x="43080" y="362813"/>
                  <a:pt x="41751" y="369401"/>
                </a:cubicBezTo>
                <a:cubicBezTo>
                  <a:pt x="41635" y="369892"/>
                  <a:pt x="41549" y="370037"/>
                  <a:pt x="41115" y="370326"/>
                </a:cubicBezTo>
                <a:cubicBezTo>
                  <a:pt x="40884" y="370499"/>
                  <a:pt x="36897" y="372030"/>
                  <a:pt x="36637" y="372030"/>
                </a:cubicBezTo>
                <a:lnTo>
                  <a:pt x="31523" y="372030"/>
                </a:lnTo>
                <a:cubicBezTo>
                  <a:pt x="31436" y="373648"/>
                  <a:pt x="31812" y="375208"/>
                  <a:pt x="31841" y="376798"/>
                </a:cubicBezTo>
                <a:cubicBezTo>
                  <a:pt x="31841" y="377953"/>
                  <a:pt x="31378" y="379022"/>
                  <a:pt x="31552" y="380496"/>
                </a:cubicBezTo>
                <a:cubicBezTo>
                  <a:pt x="31754" y="382056"/>
                  <a:pt x="32852" y="383790"/>
                  <a:pt x="33227" y="385321"/>
                </a:cubicBezTo>
                <a:cubicBezTo>
                  <a:pt x="33661" y="387026"/>
                  <a:pt x="33545" y="389684"/>
                  <a:pt x="34036" y="391013"/>
                </a:cubicBezTo>
                <a:cubicBezTo>
                  <a:pt x="34239" y="391562"/>
                  <a:pt x="34845" y="391418"/>
                  <a:pt x="35192" y="391707"/>
                </a:cubicBezTo>
                <a:cubicBezTo>
                  <a:pt x="35799" y="392198"/>
                  <a:pt x="35828" y="392862"/>
                  <a:pt x="36695" y="392862"/>
                </a:cubicBezTo>
                <a:cubicBezTo>
                  <a:pt x="36868" y="392862"/>
                  <a:pt x="37099" y="392862"/>
                  <a:pt x="37359" y="392776"/>
                </a:cubicBezTo>
                <a:cubicBezTo>
                  <a:pt x="38659" y="394018"/>
                  <a:pt x="31465" y="400548"/>
                  <a:pt x="30483" y="401501"/>
                </a:cubicBezTo>
                <a:cubicBezTo>
                  <a:pt x="28460" y="401935"/>
                  <a:pt x="26437" y="402368"/>
                  <a:pt x="24415" y="402368"/>
                </a:cubicBezTo>
                <a:cubicBezTo>
                  <a:pt x="23433" y="402368"/>
                  <a:pt x="22450" y="402282"/>
                  <a:pt x="21468" y="402021"/>
                </a:cubicBezTo>
                <a:lnTo>
                  <a:pt x="20717" y="402513"/>
                </a:lnTo>
                <a:cubicBezTo>
                  <a:pt x="21150" y="405749"/>
                  <a:pt x="24530" y="406702"/>
                  <a:pt x="25888" y="409100"/>
                </a:cubicBezTo>
                <a:cubicBezTo>
                  <a:pt x="27131" y="411296"/>
                  <a:pt x="27073" y="413665"/>
                  <a:pt x="25484" y="413665"/>
                </a:cubicBezTo>
                <a:cubicBezTo>
                  <a:pt x="24906" y="413665"/>
                  <a:pt x="24126" y="413348"/>
                  <a:pt x="23115" y="412596"/>
                </a:cubicBezTo>
                <a:cubicBezTo>
                  <a:pt x="21063" y="411065"/>
                  <a:pt x="12366" y="402657"/>
                  <a:pt x="11471" y="400635"/>
                </a:cubicBezTo>
                <a:cubicBezTo>
                  <a:pt x="10546" y="398525"/>
                  <a:pt x="10228" y="394278"/>
                  <a:pt x="9535" y="392689"/>
                </a:cubicBezTo>
                <a:cubicBezTo>
                  <a:pt x="9333" y="392227"/>
                  <a:pt x="8812" y="392256"/>
                  <a:pt x="8726" y="392111"/>
                </a:cubicBezTo>
                <a:cubicBezTo>
                  <a:pt x="8610" y="391938"/>
                  <a:pt x="9217" y="390955"/>
                  <a:pt x="7743" y="390464"/>
                </a:cubicBezTo>
                <a:cubicBezTo>
                  <a:pt x="10373" y="388239"/>
                  <a:pt x="5490" y="384946"/>
                  <a:pt x="5259" y="382692"/>
                </a:cubicBezTo>
                <a:cubicBezTo>
                  <a:pt x="5085" y="380785"/>
                  <a:pt x="6674" y="377838"/>
                  <a:pt x="6790" y="375873"/>
                </a:cubicBezTo>
                <a:cubicBezTo>
                  <a:pt x="6848" y="374891"/>
                  <a:pt x="6385" y="374111"/>
                  <a:pt x="6559" y="373215"/>
                </a:cubicBezTo>
                <a:cubicBezTo>
                  <a:pt x="6732" y="372377"/>
                  <a:pt x="8235" y="370037"/>
                  <a:pt x="8003" y="369141"/>
                </a:cubicBezTo>
                <a:lnTo>
                  <a:pt x="3092" y="366483"/>
                </a:lnTo>
                <a:lnTo>
                  <a:pt x="3092" y="365240"/>
                </a:lnTo>
                <a:cubicBezTo>
                  <a:pt x="3092" y="365240"/>
                  <a:pt x="3294" y="365269"/>
                  <a:pt x="3381" y="365269"/>
                </a:cubicBezTo>
                <a:cubicBezTo>
                  <a:pt x="3987" y="365269"/>
                  <a:pt x="3641" y="364691"/>
                  <a:pt x="3727" y="364171"/>
                </a:cubicBezTo>
                <a:cubicBezTo>
                  <a:pt x="6963" y="345419"/>
                  <a:pt x="9333" y="326205"/>
                  <a:pt x="10864" y="307251"/>
                </a:cubicBezTo>
                <a:cubicBezTo>
                  <a:pt x="15545" y="290118"/>
                  <a:pt x="14562" y="269257"/>
                  <a:pt x="21583" y="253019"/>
                </a:cubicBezTo>
                <a:cubicBezTo>
                  <a:pt x="22335" y="251256"/>
                  <a:pt x="24791" y="247442"/>
                  <a:pt x="25022" y="245940"/>
                </a:cubicBezTo>
                <a:cubicBezTo>
                  <a:pt x="25195" y="244755"/>
                  <a:pt x="24733" y="243917"/>
                  <a:pt x="24704" y="242877"/>
                </a:cubicBezTo>
                <a:cubicBezTo>
                  <a:pt x="24588" y="236867"/>
                  <a:pt x="24935" y="230309"/>
                  <a:pt x="25686" y="224328"/>
                </a:cubicBezTo>
                <a:cubicBezTo>
                  <a:pt x="26235" y="219820"/>
                  <a:pt x="28316" y="213464"/>
                  <a:pt x="28431" y="209419"/>
                </a:cubicBezTo>
                <a:cubicBezTo>
                  <a:pt x="28576" y="205200"/>
                  <a:pt x="27882" y="202051"/>
                  <a:pt x="28460" y="197399"/>
                </a:cubicBezTo>
                <a:cubicBezTo>
                  <a:pt x="29385" y="190089"/>
                  <a:pt x="30858" y="182779"/>
                  <a:pt x="31841" y="175411"/>
                </a:cubicBezTo>
                <a:cubicBezTo>
                  <a:pt x="32910" y="167668"/>
                  <a:pt x="36261" y="160011"/>
                  <a:pt x="37330" y="152759"/>
                </a:cubicBezTo>
                <a:cubicBezTo>
                  <a:pt x="38110" y="147414"/>
                  <a:pt x="37735" y="142097"/>
                  <a:pt x="38746" y="136550"/>
                </a:cubicBezTo>
                <a:cubicBezTo>
                  <a:pt x="38977" y="135336"/>
                  <a:pt x="39671" y="134065"/>
                  <a:pt x="39815" y="132967"/>
                </a:cubicBezTo>
                <a:cubicBezTo>
                  <a:pt x="40104" y="130800"/>
                  <a:pt x="39208" y="125657"/>
                  <a:pt x="41924" y="124559"/>
                </a:cubicBezTo>
                <a:cubicBezTo>
                  <a:pt x="44294" y="123606"/>
                  <a:pt x="47414" y="123143"/>
                  <a:pt x="49899" y="122305"/>
                </a:cubicBezTo>
                <a:cubicBezTo>
                  <a:pt x="59087" y="119214"/>
                  <a:pt x="68044" y="115573"/>
                  <a:pt x="77290" y="112597"/>
                </a:cubicBezTo>
                <a:cubicBezTo>
                  <a:pt x="80584" y="111528"/>
                  <a:pt x="81161" y="112193"/>
                  <a:pt x="83415" y="108841"/>
                </a:cubicBezTo>
                <a:cubicBezTo>
                  <a:pt x="85178" y="106241"/>
                  <a:pt x="84455" y="104565"/>
                  <a:pt x="84715" y="101820"/>
                </a:cubicBezTo>
                <a:cubicBezTo>
                  <a:pt x="84889" y="99913"/>
                  <a:pt x="86709" y="94423"/>
                  <a:pt x="87923" y="92921"/>
                </a:cubicBezTo>
                <a:cubicBezTo>
                  <a:pt x="89049" y="91534"/>
                  <a:pt x="91043" y="89916"/>
                  <a:pt x="92054" y="88327"/>
                </a:cubicBezTo>
                <a:cubicBezTo>
                  <a:pt x="93615" y="85929"/>
                  <a:pt x="97053" y="74660"/>
                  <a:pt x="97313" y="71684"/>
                </a:cubicBezTo>
                <a:cubicBezTo>
                  <a:pt x="98064" y="63132"/>
                  <a:pt x="96128" y="55966"/>
                  <a:pt x="99335" y="47414"/>
                </a:cubicBezTo>
                <a:cubicBezTo>
                  <a:pt x="105519" y="30829"/>
                  <a:pt x="123086" y="5663"/>
                  <a:pt x="141982" y="3467"/>
                </a:cubicBezTo>
                <a:cubicBezTo>
                  <a:pt x="142040" y="3467"/>
                  <a:pt x="142069" y="3467"/>
                  <a:pt x="142127" y="3467"/>
                </a:cubicBezTo>
                <a:cubicBezTo>
                  <a:pt x="142358" y="3467"/>
                  <a:pt x="142560" y="3525"/>
                  <a:pt x="142733" y="3525"/>
                </a:cubicBezTo>
                <a:cubicBezTo>
                  <a:pt x="142993" y="3525"/>
                  <a:pt x="143167" y="3409"/>
                  <a:pt x="143051" y="2860"/>
                </a:cubicBezTo>
                <a:lnTo>
                  <a:pt x="151719" y="2860"/>
                </a:lnTo>
                <a:moveTo>
                  <a:pt x="151604" y="0"/>
                </a:moveTo>
                <a:lnTo>
                  <a:pt x="142936" y="0"/>
                </a:lnTo>
                <a:cubicBezTo>
                  <a:pt x="142242" y="0"/>
                  <a:pt x="141578" y="260"/>
                  <a:pt x="141057" y="693"/>
                </a:cubicBezTo>
                <a:cubicBezTo>
                  <a:pt x="121121" y="3381"/>
                  <a:pt x="103034" y="28980"/>
                  <a:pt x="96504" y="46432"/>
                </a:cubicBezTo>
                <a:cubicBezTo>
                  <a:pt x="94221" y="52557"/>
                  <a:pt x="94337" y="58018"/>
                  <a:pt x="94452" y="63305"/>
                </a:cubicBezTo>
                <a:cubicBezTo>
                  <a:pt x="94510" y="65935"/>
                  <a:pt x="94568" y="68679"/>
                  <a:pt x="94308" y="71482"/>
                </a:cubicBezTo>
                <a:cubicBezTo>
                  <a:pt x="94077" y="74198"/>
                  <a:pt x="90696" y="84946"/>
                  <a:pt x="89512" y="86824"/>
                </a:cubicBezTo>
                <a:cubicBezTo>
                  <a:pt x="89078" y="87489"/>
                  <a:pt x="88269" y="88327"/>
                  <a:pt x="87460" y="89107"/>
                </a:cubicBezTo>
                <a:cubicBezTo>
                  <a:pt x="86796" y="89772"/>
                  <a:pt x="86102" y="90465"/>
                  <a:pt x="85553" y="91158"/>
                </a:cubicBezTo>
                <a:cubicBezTo>
                  <a:pt x="83849" y="93296"/>
                  <a:pt x="81942" y="99451"/>
                  <a:pt x="81739" y="101560"/>
                </a:cubicBezTo>
                <a:cubicBezTo>
                  <a:pt x="81653" y="102513"/>
                  <a:pt x="81653" y="103294"/>
                  <a:pt x="81653" y="104016"/>
                </a:cubicBezTo>
                <a:cubicBezTo>
                  <a:pt x="81653" y="105461"/>
                  <a:pt x="81653" y="106125"/>
                  <a:pt x="80901" y="107252"/>
                </a:cubicBezTo>
                <a:cubicBezTo>
                  <a:pt x="79746" y="108957"/>
                  <a:pt x="79688" y="108957"/>
                  <a:pt x="78301" y="109332"/>
                </a:cubicBezTo>
                <a:cubicBezTo>
                  <a:pt x="77752" y="109477"/>
                  <a:pt x="77088" y="109650"/>
                  <a:pt x="76307" y="109881"/>
                </a:cubicBezTo>
                <a:cubicBezTo>
                  <a:pt x="71164" y="111528"/>
                  <a:pt x="66050" y="113406"/>
                  <a:pt x="61081" y="115227"/>
                </a:cubicBezTo>
                <a:cubicBezTo>
                  <a:pt x="57093" y="116700"/>
                  <a:pt x="52962" y="118203"/>
                  <a:pt x="48859" y="119589"/>
                </a:cubicBezTo>
                <a:cubicBezTo>
                  <a:pt x="47876" y="119907"/>
                  <a:pt x="46749" y="120196"/>
                  <a:pt x="45565" y="120485"/>
                </a:cubicBezTo>
                <a:cubicBezTo>
                  <a:pt x="43947" y="120890"/>
                  <a:pt x="42271" y="121294"/>
                  <a:pt x="40740" y="121901"/>
                </a:cubicBezTo>
                <a:cubicBezTo>
                  <a:pt x="36868" y="123432"/>
                  <a:pt x="36868" y="128142"/>
                  <a:pt x="36868" y="130944"/>
                </a:cubicBezTo>
                <a:cubicBezTo>
                  <a:pt x="36868" y="131580"/>
                  <a:pt x="36868" y="132245"/>
                  <a:pt x="36810" y="132591"/>
                </a:cubicBezTo>
                <a:cubicBezTo>
                  <a:pt x="36781" y="132851"/>
                  <a:pt x="36579" y="133372"/>
                  <a:pt x="36435" y="133805"/>
                </a:cubicBezTo>
                <a:cubicBezTo>
                  <a:pt x="36203" y="134469"/>
                  <a:pt x="35943" y="135192"/>
                  <a:pt x="35770" y="136030"/>
                </a:cubicBezTo>
                <a:cubicBezTo>
                  <a:pt x="35163" y="139266"/>
                  <a:pt x="35019" y="142357"/>
                  <a:pt x="34874" y="145333"/>
                </a:cubicBezTo>
                <a:cubicBezTo>
                  <a:pt x="34759" y="147760"/>
                  <a:pt x="34643" y="150043"/>
                  <a:pt x="34325" y="152326"/>
                </a:cubicBezTo>
                <a:cubicBezTo>
                  <a:pt x="33834" y="155648"/>
                  <a:pt x="32823" y="159058"/>
                  <a:pt x="31783" y="162698"/>
                </a:cubicBezTo>
                <a:cubicBezTo>
                  <a:pt x="30627" y="166685"/>
                  <a:pt x="29413" y="170788"/>
                  <a:pt x="28836" y="175007"/>
                </a:cubicBezTo>
                <a:cubicBezTo>
                  <a:pt x="28373" y="178387"/>
                  <a:pt x="27795" y="181854"/>
                  <a:pt x="27246" y="185206"/>
                </a:cubicBezTo>
                <a:cubicBezTo>
                  <a:pt x="26611" y="189078"/>
                  <a:pt x="25946" y="193065"/>
                  <a:pt x="25426" y="197023"/>
                </a:cubicBezTo>
                <a:cubicBezTo>
                  <a:pt x="25022" y="200086"/>
                  <a:pt x="25166" y="202542"/>
                  <a:pt x="25282" y="204911"/>
                </a:cubicBezTo>
                <a:cubicBezTo>
                  <a:pt x="25368" y="206385"/>
                  <a:pt x="25426" y="207772"/>
                  <a:pt x="25368" y="209303"/>
                </a:cubicBezTo>
                <a:cubicBezTo>
                  <a:pt x="25311" y="211297"/>
                  <a:pt x="24646" y="214244"/>
                  <a:pt x="23982" y="217047"/>
                </a:cubicBezTo>
                <a:cubicBezTo>
                  <a:pt x="23433" y="219387"/>
                  <a:pt x="22884" y="221843"/>
                  <a:pt x="22624" y="223952"/>
                </a:cubicBezTo>
                <a:cubicBezTo>
                  <a:pt x="21872" y="230135"/>
                  <a:pt x="21497" y="236867"/>
                  <a:pt x="21612" y="242906"/>
                </a:cubicBezTo>
                <a:cubicBezTo>
                  <a:pt x="21612" y="243599"/>
                  <a:pt x="21757" y="244177"/>
                  <a:pt x="21843" y="244640"/>
                </a:cubicBezTo>
                <a:cubicBezTo>
                  <a:pt x="21930" y="245073"/>
                  <a:pt x="21988" y="245304"/>
                  <a:pt x="21959" y="245478"/>
                </a:cubicBezTo>
                <a:cubicBezTo>
                  <a:pt x="21815" y="246055"/>
                  <a:pt x="20745" y="247991"/>
                  <a:pt x="20168" y="249031"/>
                </a:cubicBezTo>
                <a:cubicBezTo>
                  <a:pt x="19590" y="250072"/>
                  <a:pt x="19041" y="251054"/>
                  <a:pt x="18723" y="251834"/>
                </a:cubicBezTo>
                <a:cubicBezTo>
                  <a:pt x="14476" y="261687"/>
                  <a:pt x="13031" y="273100"/>
                  <a:pt x="11673" y="284137"/>
                </a:cubicBezTo>
                <a:cubicBezTo>
                  <a:pt x="10691" y="292054"/>
                  <a:pt x="9766" y="299537"/>
                  <a:pt x="7859" y="306442"/>
                </a:cubicBezTo>
                <a:cubicBezTo>
                  <a:pt x="7801" y="306616"/>
                  <a:pt x="7772" y="306789"/>
                  <a:pt x="7772" y="306962"/>
                </a:cubicBezTo>
                <a:cubicBezTo>
                  <a:pt x="6241" y="326032"/>
                  <a:pt x="3872" y="344986"/>
                  <a:pt x="722" y="363247"/>
                </a:cubicBezTo>
                <a:cubicBezTo>
                  <a:pt x="260" y="363767"/>
                  <a:pt x="0" y="364460"/>
                  <a:pt x="0" y="365154"/>
                </a:cubicBezTo>
                <a:lnTo>
                  <a:pt x="0" y="366396"/>
                </a:lnTo>
                <a:cubicBezTo>
                  <a:pt x="0" y="367465"/>
                  <a:pt x="578" y="368447"/>
                  <a:pt x="1502" y="368939"/>
                </a:cubicBezTo>
                <a:lnTo>
                  <a:pt x="4305" y="370470"/>
                </a:lnTo>
                <a:cubicBezTo>
                  <a:pt x="3929" y="371250"/>
                  <a:pt x="3612" y="371915"/>
                  <a:pt x="3496" y="372608"/>
                </a:cubicBezTo>
                <a:cubicBezTo>
                  <a:pt x="3294" y="373648"/>
                  <a:pt x="3496" y="374486"/>
                  <a:pt x="3583" y="375122"/>
                </a:cubicBezTo>
                <a:cubicBezTo>
                  <a:pt x="3612" y="375324"/>
                  <a:pt x="3669" y="375584"/>
                  <a:pt x="3669" y="375671"/>
                </a:cubicBezTo>
                <a:cubicBezTo>
                  <a:pt x="3669" y="376191"/>
                  <a:pt x="3323" y="377173"/>
                  <a:pt x="3063" y="378011"/>
                </a:cubicBezTo>
                <a:cubicBezTo>
                  <a:pt x="2543" y="379600"/>
                  <a:pt x="2023" y="381247"/>
                  <a:pt x="2167" y="382894"/>
                </a:cubicBezTo>
                <a:cubicBezTo>
                  <a:pt x="2311" y="384512"/>
                  <a:pt x="3294" y="385841"/>
                  <a:pt x="4247" y="387141"/>
                </a:cubicBezTo>
                <a:cubicBezTo>
                  <a:pt x="4565" y="387546"/>
                  <a:pt x="5027" y="388182"/>
                  <a:pt x="5259" y="388644"/>
                </a:cubicBezTo>
                <a:cubicBezTo>
                  <a:pt x="4767" y="389308"/>
                  <a:pt x="4565" y="390146"/>
                  <a:pt x="4739" y="390955"/>
                </a:cubicBezTo>
                <a:cubicBezTo>
                  <a:pt x="4883" y="391591"/>
                  <a:pt x="5201" y="392169"/>
                  <a:pt x="5634" y="392573"/>
                </a:cubicBezTo>
                <a:cubicBezTo>
                  <a:pt x="5692" y="392891"/>
                  <a:pt x="5808" y="393238"/>
                  <a:pt x="6039" y="393585"/>
                </a:cubicBezTo>
                <a:cubicBezTo>
                  <a:pt x="6270" y="393960"/>
                  <a:pt x="6559" y="394220"/>
                  <a:pt x="6848" y="394423"/>
                </a:cubicBezTo>
                <a:cubicBezTo>
                  <a:pt x="6992" y="395029"/>
                  <a:pt x="7137" y="395896"/>
                  <a:pt x="7281" y="396590"/>
                </a:cubicBezTo>
                <a:cubicBezTo>
                  <a:pt x="7599" y="398410"/>
                  <a:pt x="7946" y="400288"/>
                  <a:pt x="8610" y="401733"/>
                </a:cubicBezTo>
                <a:cubicBezTo>
                  <a:pt x="9882" y="404622"/>
                  <a:pt x="19301" y="413434"/>
                  <a:pt x="21150" y="414850"/>
                </a:cubicBezTo>
                <a:cubicBezTo>
                  <a:pt x="22624" y="415977"/>
                  <a:pt x="23953" y="416497"/>
                  <a:pt x="25253" y="416497"/>
                </a:cubicBezTo>
                <a:cubicBezTo>
                  <a:pt x="26726" y="416497"/>
                  <a:pt x="28027" y="415746"/>
                  <a:pt x="28778" y="414503"/>
                </a:cubicBezTo>
                <a:cubicBezTo>
                  <a:pt x="29818" y="412741"/>
                  <a:pt x="29587" y="410112"/>
                  <a:pt x="28200" y="407627"/>
                </a:cubicBezTo>
                <a:cubicBezTo>
                  <a:pt x="27622" y="406587"/>
                  <a:pt x="26871" y="405806"/>
                  <a:pt x="26091" y="405142"/>
                </a:cubicBezTo>
                <a:cubicBezTo>
                  <a:pt x="27738" y="404969"/>
                  <a:pt x="29327" y="404651"/>
                  <a:pt x="30858" y="404304"/>
                </a:cubicBezTo>
                <a:cubicBezTo>
                  <a:pt x="31378" y="404188"/>
                  <a:pt x="31927" y="403928"/>
                  <a:pt x="32303" y="403553"/>
                </a:cubicBezTo>
                <a:lnTo>
                  <a:pt x="32650" y="403235"/>
                </a:lnTo>
                <a:cubicBezTo>
                  <a:pt x="39006" y="397254"/>
                  <a:pt x="40220" y="395000"/>
                  <a:pt x="40248" y="393151"/>
                </a:cubicBezTo>
                <a:cubicBezTo>
                  <a:pt x="40248" y="392169"/>
                  <a:pt x="39873" y="391302"/>
                  <a:pt x="39179" y="390638"/>
                </a:cubicBezTo>
                <a:cubicBezTo>
                  <a:pt x="38659" y="390146"/>
                  <a:pt x="37966" y="389857"/>
                  <a:pt x="37244" y="389857"/>
                </a:cubicBezTo>
                <a:cubicBezTo>
                  <a:pt x="37128" y="389742"/>
                  <a:pt x="36984" y="389597"/>
                  <a:pt x="36839" y="389482"/>
                </a:cubicBezTo>
                <a:cubicBezTo>
                  <a:pt x="36695" y="389366"/>
                  <a:pt x="36550" y="389251"/>
                  <a:pt x="36406" y="389164"/>
                </a:cubicBezTo>
                <a:cubicBezTo>
                  <a:pt x="36348" y="388731"/>
                  <a:pt x="36319" y="388239"/>
                  <a:pt x="36290" y="387864"/>
                </a:cubicBezTo>
                <a:cubicBezTo>
                  <a:pt x="36203" y="386766"/>
                  <a:pt x="36088" y="385639"/>
                  <a:pt x="35828" y="384628"/>
                </a:cubicBezTo>
                <a:cubicBezTo>
                  <a:pt x="35597" y="383761"/>
                  <a:pt x="35250" y="382952"/>
                  <a:pt x="34932" y="382172"/>
                </a:cubicBezTo>
                <a:cubicBezTo>
                  <a:pt x="34614" y="381421"/>
                  <a:pt x="34296" y="380669"/>
                  <a:pt x="34210" y="380149"/>
                </a:cubicBezTo>
                <a:cubicBezTo>
                  <a:pt x="34152" y="379716"/>
                  <a:pt x="34210" y="379282"/>
                  <a:pt x="34325" y="378705"/>
                </a:cubicBezTo>
                <a:cubicBezTo>
                  <a:pt x="34412" y="378156"/>
                  <a:pt x="34528" y="377491"/>
                  <a:pt x="34528" y="376769"/>
                </a:cubicBezTo>
                <a:cubicBezTo>
                  <a:pt x="34528" y="376133"/>
                  <a:pt x="34470" y="375526"/>
                  <a:pt x="34412" y="374920"/>
                </a:cubicBezTo>
                <a:lnTo>
                  <a:pt x="36435" y="374920"/>
                </a:lnTo>
                <a:cubicBezTo>
                  <a:pt x="37590" y="374920"/>
                  <a:pt x="42155" y="372955"/>
                  <a:pt x="42531" y="372695"/>
                </a:cubicBezTo>
                <a:cubicBezTo>
                  <a:pt x="43571" y="371972"/>
                  <a:pt x="44091" y="371192"/>
                  <a:pt x="44351" y="369950"/>
                </a:cubicBezTo>
                <a:cubicBezTo>
                  <a:pt x="45189" y="365876"/>
                  <a:pt x="45680" y="361455"/>
                  <a:pt x="46172" y="357150"/>
                </a:cubicBezTo>
                <a:cubicBezTo>
                  <a:pt x="46489" y="354376"/>
                  <a:pt x="46807" y="351487"/>
                  <a:pt x="47212" y="348829"/>
                </a:cubicBezTo>
                <a:cubicBezTo>
                  <a:pt x="47298" y="348280"/>
                  <a:pt x="47385" y="347702"/>
                  <a:pt x="47472" y="347153"/>
                </a:cubicBezTo>
                <a:cubicBezTo>
                  <a:pt x="48425" y="347702"/>
                  <a:pt x="49523" y="347933"/>
                  <a:pt x="50217" y="348049"/>
                </a:cubicBezTo>
                <a:cubicBezTo>
                  <a:pt x="49870" y="351776"/>
                  <a:pt x="49754" y="355532"/>
                  <a:pt x="49639" y="359144"/>
                </a:cubicBezTo>
                <a:cubicBezTo>
                  <a:pt x="49581" y="360849"/>
                  <a:pt x="49523" y="362582"/>
                  <a:pt x="49465" y="364287"/>
                </a:cubicBezTo>
                <a:cubicBezTo>
                  <a:pt x="48656" y="381998"/>
                  <a:pt x="50101" y="398468"/>
                  <a:pt x="51632" y="415861"/>
                </a:cubicBezTo>
                <a:cubicBezTo>
                  <a:pt x="52181" y="422160"/>
                  <a:pt x="52759" y="428632"/>
                  <a:pt x="53193" y="435162"/>
                </a:cubicBezTo>
                <a:cubicBezTo>
                  <a:pt x="53250" y="435942"/>
                  <a:pt x="53395" y="436780"/>
                  <a:pt x="53539" y="437589"/>
                </a:cubicBezTo>
                <a:cubicBezTo>
                  <a:pt x="53684" y="438340"/>
                  <a:pt x="53828" y="439149"/>
                  <a:pt x="53828" y="439641"/>
                </a:cubicBezTo>
                <a:cubicBezTo>
                  <a:pt x="53828" y="441056"/>
                  <a:pt x="53279" y="443281"/>
                  <a:pt x="52759" y="445419"/>
                </a:cubicBezTo>
                <a:cubicBezTo>
                  <a:pt x="52326" y="447211"/>
                  <a:pt x="51864" y="449089"/>
                  <a:pt x="51661" y="450736"/>
                </a:cubicBezTo>
                <a:cubicBezTo>
                  <a:pt x="49870" y="466049"/>
                  <a:pt x="49350" y="478618"/>
                  <a:pt x="50101" y="488124"/>
                </a:cubicBezTo>
                <a:cubicBezTo>
                  <a:pt x="50217" y="489597"/>
                  <a:pt x="50390" y="490955"/>
                  <a:pt x="50563" y="492255"/>
                </a:cubicBezTo>
                <a:cubicBezTo>
                  <a:pt x="50881" y="494769"/>
                  <a:pt x="51170" y="496965"/>
                  <a:pt x="51026" y="499825"/>
                </a:cubicBezTo>
                <a:cubicBezTo>
                  <a:pt x="50910" y="501992"/>
                  <a:pt x="50823" y="504188"/>
                  <a:pt x="50708" y="506384"/>
                </a:cubicBezTo>
                <a:cubicBezTo>
                  <a:pt x="49581" y="529008"/>
                  <a:pt x="48396" y="552411"/>
                  <a:pt x="55013" y="574601"/>
                </a:cubicBezTo>
                <a:cubicBezTo>
                  <a:pt x="55273" y="575497"/>
                  <a:pt x="55649" y="576364"/>
                  <a:pt x="56024" y="577173"/>
                </a:cubicBezTo>
                <a:cubicBezTo>
                  <a:pt x="56429" y="578097"/>
                  <a:pt x="56804" y="578993"/>
                  <a:pt x="56920" y="579686"/>
                </a:cubicBezTo>
                <a:cubicBezTo>
                  <a:pt x="57469" y="582951"/>
                  <a:pt x="57729" y="586765"/>
                  <a:pt x="57960" y="590464"/>
                </a:cubicBezTo>
                <a:cubicBezTo>
                  <a:pt x="58105" y="592688"/>
                  <a:pt x="58249" y="594971"/>
                  <a:pt x="58480" y="597109"/>
                </a:cubicBezTo>
                <a:lnTo>
                  <a:pt x="58798" y="600316"/>
                </a:lnTo>
                <a:cubicBezTo>
                  <a:pt x="59549" y="607626"/>
                  <a:pt x="60069" y="612480"/>
                  <a:pt x="59058" y="620570"/>
                </a:cubicBezTo>
                <a:cubicBezTo>
                  <a:pt x="57902" y="629816"/>
                  <a:pt x="55591" y="637849"/>
                  <a:pt x="53135" y="646314"/>
                </a:cubicBezTo>
                <a:cubicBezTo>
                  <a:pt x="52268" y="649319"/>
                  <a:pt x="51401" y="652353"/>
                  <a:pt x="50535" y="655502"/>
                </a:cubicBezTo>
                <a:cubicBezTo>
                  <a:pt x="49061" y="661021"/>
                  <a:pt x="50968" y="665326"/>
                  <a:pt x="52817" y="669458"/>
                </a:cubicBezTo>
                <a:cubicBezTo>
                  <a:pt x="53337" y="670614"/>
                  <a:pt x="53857" y="671798"/>
                  <a:pt x="54320" y="673012"/>
                </a:cubicBezTo>
                <a:cubicBezTo>
                  <a:pt x="54493" y="673503"/>
                  <a:pt x="54637" y="674139"/>
                  <a:pt x="54811" y="674803"/>
                </a:cubicBezTo>
                <a:cubicBezTo>
                  <a:pt x="55013" y="675670"/>
                  <a:pt x="55215" y="676566"/>
                  <a:pt x="55591" y="677461"/>
                </a:cubicBezTo>
                <a:cubicBezTo>
                  <a:pt x="55995" y="678444"/>
                  <a:pt x="56689" y="679253"/>
                  <a:pt x="57209" y="679860"/>
                </a:cubicBezTo>
                <a:cubicBezTo>
                  <a:pt x="57238" y="679917"/>
                  <a:pt x="57296" y="679946"/>
                  <a:pt x="57324" y="680004"/>
                </a:cubicBezTo>
                <a:cubicBezTo>
                  <a:pt x="57324" y="680466"/>
                  <a:pt x="57324" y="681304"/>
                  <a:pt x="57267" y="681824"/>
                </a:cubicBezTo>
                <a:cubicBezTo>
                  <a:pt x="57238" y="682662"/>
                  <a:pt x="57180" y="683558"/>
                  <a:pt x="57267" y="684338"/>
                </a:cubicBezTo>
                <a:cubicBezTo>
                  <a:pt x="58249" y="696531"/>
                  <a:pt x="66541" y="704737"/>
                  <a:pt x="77839" y="704737"/>
                </a:cubicBezTo>
                <a:cubicBezTo>
                  <a:pt x="79775" y="704737"/>
                  <a:pt x="81739" y="704506"/>
                  <a:pt x="83733" y="704014"/>
                </a:cubicBezTo>
                <a:cubicBezTo>
                  <a:pt x="94424" y="701443"/>
                  <a:pt x="97226" y="691735"/>
                  <a:pt x="98469" y="683587"/>
                </a:cubicBezTo>
                <a:cubicBezTo>
                  <a:pt x="98613" y="682604"/>
                  <a:pt x="99624" y="681044"/>
                  <a:pt x="100491" y="679657"/>
                </a:cubicBezTo>
                <a:cubicBezTo>
                  <a:pt x="101300" y="678386"/>
                  <a:pt x="102138" y="677086"/>
                  <a:pt x="102716" y="675699"/>
                </a:cubicBezTo>
                <a:cubicBezTo>
                  <a:pt x="105374" y="669400"/>
                  <a:pt x="104450" y="665153"/>
                  <a:pt x="103496" y="660674"/>
                </a:cubicBezTo>
                <a:cubicBezTo>
                  <a:pt x="103149" y="659085"/>
                  <a:pt x="102803" y="657438"/>
                  <a:pt x="102600" y="655589"/>
                </a:cubicBezTo>
                <a:cubicBezTo>
                  <a:pt x="101849" y="649290"/>
                  <a:pt x="101762" y="642876"/>
                  <a:pt x="101647" y="636693"/>
                </a:cubicBezTo>
                <a:cubicBezTo>
                  <a:pt x="101531" y="629470"/>
                  <a:pt x="101387" y="621986"/>
                  <a:pt x="100289" y="614503"/>
                </a:cubicBezTo>
                <a:cubicBezTo>
                  <a:pt x="100058" y="612943"/>
                  <a:pt x="99711" y="611267"/>
                  <a:pt x="99364" y="609678"/>
                </a:cubicBezTo>
                <a:cubicBezTo>
                  <a:pt x="98902" y="607424"/>
                  <a:pt x="98411" y="605113"/>
                  <a:pt x="98266" y="603148"/>
                </a:cubicBezTo>
                <a:cubicBezTo>
                  <a:pt x="98122" y="601270"/>
                  <a:pt x="99422" y="597831"/>
                  <a:pt x="100462" y="595087"/>
                </a:cubicBezTo>
                <a:cubicBezTo>
                  <a:pt x="101011" y="593613"/>
                  <a:pt x="101531" y="592255"/>
                  <a:pt x="101907" y="591013"/>
                </a:cubicBezTo>
                <a:cubicBezTo>
                  <a:pt x="107137" y="573243"/>
                  <a:pt x="107715" y="556774"/>
                  <a:pt x="108321" y="539294"/>
                </a:cubicBezTo>
                <a:lnTo>
                  <a:pt x="108437" y="536058"/>
                </a:lnTo>
                <a:cubicBezTo>
                  <a:pt x="108552" y="532764"/>
                  <a:pt x="108726" y="529441"/>
                  <a:pt x="108870" y="526147"/>
                </a:cubicBezTo>
                <a:cubicBezTo>
                  <a:pt x="109044" y="522651"/>
                  <a:pt x="109217" y="519126"/>
                  <a:pt x="109333" y="515630"/>
                </a:cubicBezTo>
                <a:cubicBezTo>
                  <a:pt x="109361" y="514619"/>
                  <a:pt x="109333" y="513203"/>
                  <a:pt x="109275" y="511585"/>
                </a:cubicBezTo>
                <a:cubicBezTo>
                  <a:pt x="109217" y="508898"/>
                  <a:pt x="109044" y="503321"/>
                  <a:pt x="109621" y="502050"/>
                </a:cubicBezTo>
                <a:cubicBezTo>
                  <a:pt x="109708" y="501935"/>
                  <a:pt x="110113" y="501501"/>
                  <a:pt x="110373" y="501212"/>
                </a:cubicBezTo>
                <a:cubicBezTo>
                  <a:pt x="110864" y="500692"/>
                  <a:pt x="111384" y="500143"/>
                  <a:pt x="111760" y="499536"/>
                </a:cubicBezTo>
                <a:cubicBezTo>
                  <a:pt x="114244" y="495665"/>
                  <a:pt x="116960" y="489973"/>
                  <a:pt x="115689" y="484801"/>
                </a:cubicBezTo>
                <a:cubicBezTo>
                  <a:pt x="115169" y="482721"/>
                  <a:pt x="114620" y="481131"/>
                  <a:pt x="114129" y="479744"/>
                </a:cubicBezTo>
                <a:cubicBezTo>
                  <a:pt x="113204" y="477086"/>
                  <a:pt x="112511" y="475150"/>
                  <a:pt x="112684" y="471048"/>
                </a:cubicBezTo>
                <a:cubicBezTo>
                  <a:pt x="113146" y="459404"/>
                  <a:pt x="115313" y="446951"/>
                  <a:pt x="117365" y="436289"/>
                </a:cubicBezTo>
                <a:cubicBezTo>
                  <a:pt x="118521" y="430221"/>
                  <a:pt x="119994" y="423980"/>
                  <a:pt x="121381" y="417971"/>
                </a:cubicBezTo>
                <a:cubicBezTo>
                  <a:pt x="123028" y="410949"/>
                  <a:pt x="124704" y="403697"/>
                  <a:pt x="125975" y="396590"/>
                </a:cubicBezTo>
                <a:cubicBezTo>
                  <a:pt x="126582" y="410198"/>
                  <a:pt x="127102" y="424125"/>
                  <a:pt x="126697" y="437445"/>
                </a:cubicBezTo>
                <a:cubicBezTo>
                  <a:pt x="126611" y="440536"/>
                  <a:pt x="126322" y="443715"/>
                  <a:pt x="126062" y="446806"/>
                </a:cubicBezTo>
                <a:cubicBezTo>
                  <a:pt x="125802" y="449898"/>
                  <a:pt x="125542" y="453105"/>
                  <a:pt x="125426" y="456283"/>
                </a:cubicBezTo>
                <a:cubicBezTo>
                  <a:pt x="125311" y="460270"/>
                  <a:pt x="125600" y="464142"/>
                  <a:pt x="125917" y="467898"/>
                </a:cubicBezTo>
                <a:cubicBezTo>
                  <a:pt x="126206" y="471654"/>
                  <a:pt x="126495" y="475237"/>
                  <a:pt x="126380" y="478878"/>
                </a:cubicBezTo>
                <a:lnTo>
                  <a:pt x="126235" y="483067"/>
                </a:lnTo>
                <a:cubicBezTo>
                  <a:pt x="126033" y="488615"/>
                  <a:pt x="125831" y="493873"/>
                  <a:pt x="125802" y="499681"/>
                </a:cubicBezTo>
                <a:cubicBezTo>
                  <a:pt x="125628" y="524125"/>
                  <a:pt x="122392" y="548511"/>
                  <a:pt x="119243" y="572087"/>
                </a:cubicBezTo>
                <a:cubicBezTo>
                  <a:pt x="117741" y="583327"/>
                  <a:pt x="116209" y="594942"/>
                  <a:pt x="114996" y="606471"/>
                </a:cubicBezTo>
                <a:cubicBezTo>
                  <a:pt x="112511" y="630163"/>
                  <a:pt x="110373" y="650562"/>
                  <a:pt x="117480" y="673908"/>
                </a:cubicBezTo>
                <a:cubicBezTo>
                  <a:pt x="117769" y="674832"/>
                  <a:pt x="118232" y="675872"/>
                  <a:pt x="118665" y="676884"/>
                </a:cubicBezTo>
                <a:cubicBezTo>
                  <a:pt x="119012" y="677635"/>
                  <a:pt x="119503" y="678790"/>
                  <a:pt x="119590" y="679195"/>
                </a:cubicBezTo>
                <a:cubicBezTo>
                  <a:pt x="119705" y="679802"/>
                  <a:pt x="119734" y="680813"/>
                  <a:pt x="119763" y="681767"/>
                </a:cubicBezTo>
                <a:cubicBezTo>
                  <a:pt x="119792" y="682778"/>
                  <a:pt x="119821" y="683818"/>
                  <a:pt x="119965" y="684800"/>
                </a:cubicBezTo>
                <a:cubicBezTo>
                  <a:pt x="121150" y="693064"/>
                  <a:pt x="124155" y="702916"/>
                  <a:pt x="136897" y="705864"/>
                </a:cubicBezTo>
                <a:cubicBezTo>
                  <a:pt x="139006" y="706355"/>
                  <a:pt x="141029" y="706586"/>
                  <a:pt x="142907" y="706586"/>
                </a:cubicBezTo>
                <a:cubicBezTo>
                  <a:pt x="153713" y="706586"/>
                  <a:pt x="160445" y="698438"/>
                  <a:pt x="160907" y="684800"/>
                </a:cubicBezTo>
                <a:cubicBezTo>
                  <a:pt x="160936" y="683818"/>
                  <a:pt x="160878" y="682922"/>
                  <a:pt x="160792" y="682142"/>
                </a:cubicBezTo>
                <a:cubicBezTo>
                  <a:pt x="160792" y="681882"/>
                  <a:pt x="160763" y="681651"/>
                  <a:pt x="160734" y="681420"/>
                </a:cubicBezTo>
                <a:cubicBezTo>
                  <a:pt x="160994" y="681333"/>
                  <a:pt x="161225" y="681275"/>
                  <a:pt x="161427" y="681218"/>
                </a:cubicBezTo>
                <a:cubicBezTo>
                  <a:pt x="162150" y="681015"/>
                  <a:pt x="162785" y="680842"/>
                  <a:pt x="163276" y="680611"/>
                </a:cubicBezTo>
                <a:cubicBezTo>
                  <a:pt x="166541" y="679195"/>
                  <a:pt x="170384" y="675237"/>
                  <a:pt x="170904" y="671336"/>
                </a:cubicBezTo>
                <a:cubicBezTo>
                  <a:pt x="171396" y="667753"/>
                  <a:pt x="171713" y="664142"/>
                  <a:pt x="172060" y="660645"/>
                </a:cubicBezTo>
                <a:cubicBezTo>
                  <a:pt x="172551" y="655387"/>
                  <a:pt x="173071" y="649926"/>
                  <a:pt x="174054" y="644581"/>
                </a:cubicBezTo>
                <a:cubicBezTo>
                  <a:pt x="178966" y="618375"/>
                  <a:pt x="180006" y="595751"/>
                  <a:pt x="180381" y="575208"/>
                </a:cubicBezTo>
                <a:cubicBezTo>
                  <a:pt x="180468" y="570296"/>
                  <a:pt x="180555" y="565355"/>
                  <a:pt x="180641" y="560443"/>
                </a:cubicBezTo>
                <a:cubicBezTo>
                  <a:pt x="181104" y="533659"/>
                  <a:pt x="181566" y="505951"/>
                  <a:pt x="183762" y="478820"/>
                </a:cubicBezTo>
                <a:cubicBezTo>
                  <a:pt x="185582" y="456283"/>
                  <a:pt x="190263" y="433775"/>
                  <a:pt x="194770" y="412019"/>
                </a:cubicBezTo>
                <a:cubicBezTo>
                  <a:pt x="198209" y="395405"/>
                  <a:pt x="201791" y="378213"/>
                  <a:pt x="204103" y="361022"/>
                </a:cubicBezTo>
                <a:cubicBezTo>
                  <a:pt x="204536" y="357728"/>
                  <a:pt x="204883" y="354261"/>
                  <a:pt x="205085" y="350967"/>
                </a:cubicBezTo>
                <a:cubicBezTo>
                  <a:pt x="205114" y="350505"/>
                  <a:pt x="205085" y="349696"/>
                  <a:pt x="205085" y="348742"/>
                </a:cubicBezTo>
                <a:cubicBezTo>
                  <a:pt x="205085" y="347818"/>
                  <a:pt x="205027" y="345997"/>
                  <a:pt x="205114" y="344813"/>
                </a:cubicBezTo>
                <a:cubicBezTo>
                  <a:pt x="207975" y="343773"/>
                  <a:pt x="209621" y="341721"/>
                  <a:pt x="211124" y="339872"/>
                </a:cubicBezTo>
                <a:lnTo>
                  <a:pt x="211557" y="339323"/>
                </a:lnTo>
                <a:cubicBezTo>
                  <a:pt x="212135" y="338601"/>
                  <a:pt x="212366" y="337647"/>
                  <a:pt x="212106" y="336723"/>
                </a:cubicBezTo>
                <a:lnTo>
                  <a:pt x="211817" y="335654"/>
                </a:lnTo>
                <a:cubicBezTo>
                  <a:pt x="207570" y="320109"/>
                  <a:pt x="203178" y="304102"/>
                  <a:pt x="197862" y="288529"/>
                </a:cubicBezTo>
                <a:cubicBezTo>
                  <a:pt x="198411" y="288269"/>
                  <a:pt x="198873" y="287835"/>
                  <a:pt x="199162" y="287257"/>
                </a:cubicBezTo>
                <a:cubicBezTo>
                  <a:pt x="200202" y="285293"/>
                  <a:pt x="199711" y="283588"/>
                  <a:pt x="199364" y="282490"/>
                </a:cubicBezTo>
                <a:lnTo>
                  <a:pt x="199307" y="282317"/>
                </a:lnTo>
                <a:cubicBezTo>
                  <a:pt x="198555" y="279658"/>
                  <a:pt x="197053" y="276942"/>
                  <a:pt x="195608" y="274284"/>
                </a:cubicBezTo>
                <a:cubicBezTo>
                  <a:pt x="194337" y="271944"/>
                  <a:pt x="193008" y="269517"/>
                  <a:pt x="192430" y="267552"/>
                </a:cubicBezTo>
                <a:cubicBezTo>
                  <a:pt x="192314" y="267176"/>
                  <a:pt x="192257" y="266599"/>
                  <a:pt x="192228" y="266021"/>
                </a:cubicBezTo>
                <a:cubicBezTo>
                  <a:pt x="192141" y="265183"/>
                  <a:pt x="192054" y="264229"/>
                  <a:pt x="191765" y="263276"/>
                </a:cubicBezTo>
                <a:cubicBezTo>
                  <a:pt x="191448" y="262149"/>
                  <a:pt x="190899" y="261138"/>
                  <a:pt x="190407" y="260184"/>
                </a:cubicBezTo>
                <a:cubicBezTo>
                  <a:pt x="190118" y="259664"/>
                  <a:pt x="189858" y="259173"/>
                  <a:pt x="189656" y="258711"/>
                </a:cubicBezTo>
                <a:cubicBezTo>
                  <a:pt x="190090" y="258451"/>
                  <a:pt x="190465" y="258104"/>
                  <a:pt x="190812" y="257728"/>
                </a:cubicBezTo>
                <a:cubicBezTo>
                  <a:pt x="191736" y="256573"/>
                  <a:pt x="192025" y="255070"/>
                  <a:pt x="191679" y="253192"/>
                </a:cubicBezTo>
                <a:cubicBezTo>
                  <a:pt x="191476" y="252065"/>
                  <a:pt x="190696" y="250129"/>
                  <a:pt x="189309" y="247038"/>
                </a:cubicBezTo>
                <a:cubicBezTo>
                  <a:pt x="190176" y="247442"/>
                  <a:pt x="191043" y="247847"/>
                  <a:pt x="191939" y="248222"/>
                </a:cubicBezTo>
                <a:cubicBezTo>
                  <a:pt x="194597" y="249291"/>
                  <a:pt x="196504" y="250072"/>
                  <a:pt x="198613" y="250072"/>
                </a:cubicBezTo>
                <a:cubicBezTo>
                  <a:pt x="201185" y="250072"/>
                  <a:pt x="203409" y="248858"/>
                  <a:pt x="205432" y="247558"/>
                </a:cubicBezTo>
                <a:cubicBezTo>
                  <a:pt x="214822" y="241461"/>
                  <a:pt x="218665" y="237301"/>
                  <a:pt x="221294" y="226148"/>
                </a:cubicBezTo>
                <a:cubicBezTo>
                  <a:pt x="221814" y="225599"/>
                  <a:pt x="222103" y="224905"/>
                  <a:pt x="222103" y="224154"/>
                </a:cubicBezTo>
                <a:lnTo>
                  <a:pt x="222103" y="216411"/>
                </a:lnTo>
                <a:cubicBezTo>
                  <a:pt x="222103" y="215746"/>
                  <a:pt x="221872" y="215111"/>
                  <a:pt x="221468" y="214591"/>
                </a:cubicBezTo>
                <a:cubicBezTo>
                  <a:pt x="221468" y="213868"/>
                  <a:pt x="221468" y="213146"/>
                  <a:pt x="221468" y="212452"/>
                </a:cubicBezTo>
                <a:cubicBezTo>
                  <a:pt x="221497" y="210257"/>
                  <a:pt x="221554" y="208003"/>
                  <a:pt x="220919" y="205489"/>
                </a:cubicBezTo>
                <a:cubicBezTo>
                  <a:pt x="220168" y="202513"/>
                  <a:pt x="218838" y="199219"/>
                  <a:pt x="217538" y="196041"/>
                </a:cubicBezTo>
                <a:cubicBezTo>
                  <a:pt x="216758" y="194105"/>
                  <a:pt x="216007" y="192256"/>
                  <a:pt x="215429" y="190551"/>
                </a:cubicBezTo>
                <a:cubicBezTo>
                  <a:pt x="215025" y="189367"/>
                  <a:pt x="214707" y="188124"/>
                  <a:pt x="214360" y="186824"/>
                </a:cubicBezTo>
                <a:cubicBezTo>
                  <a:pt x="213927" y="185206"/>
                  <a:pt x="213493" y="183530"/>
                  <a:pt x="212858" y="181883"/>
                </a:cubicBezTo>
                <a:cubicBezTo>
                  <a:pt x="212511" y="180959"/>
                  <a:pt x="211904" y="179861"/>
                  <a:pt x="211239" y="178734"/>
                </a:cubicBezTo>
                <a:cubicBezTo>
                  <a:pt x="210922" y="178156"/>
                  <a:pt x="210459" y="177347"/>
                  <a:pt x="210228" y="176827"/>
                </a:cubicBezTo>
                <a:lnTo>
                  <a:pt x="210286" y="176711"/>
                </a:lnTo>
                <a:cubicBezTo>
                  <a:pt x="210633" y="175960"/>
                  <a:pt x="211297" y="174544"/>
                  <a:pt x="210806" y="172811"/>
                </a:cubicBezTo>
                <a:cubicBezTo>
                  <a:pt x="210402" y="171366"/>
                  <a:pt x="209419" y="170644"/>
                  <a:pt x="208812" y="170268"/>
                </a:cubicBezTo>
                <a:cubicBezTo>
                  <a:pt x="208812" y="170153"/>
                  <a:pt x="208812" y="170008"/>
                  <a:pt x="208812" y="169806"/>
                </a:cubicBezTo>
                <a:cubicBezTo>
                  <a:pt x="208899" y="168737"/>
                  <a:pt x="209015" y="167726"/>
                  <a:pt x="209101" y="166743"/>
                </a:cubicBezTo>
                <a:cubicBezTo>
                  <a:pt x="209650" y="161398"/>
                  <a:pt x="210113" y="156804"/>
                  <a:pt x="208524" y="150390"/>
                </a:cubicBezTo>
                <a:cubicBezTo>
                  <a:pt x="208235" y="149263"/>
                  <a:pt x="207888" y="148309"/>
                  <a:pt x="207541" y="147443"/>
                </a:cubicBezTo>
                <a:cubicBezTo>
                  <a:pt x="207541" y="147443"/>
                  <a:pt x="207541" y="147443"/>
                  <a:pt x="207541" y="147443"/>
                </a:cubicBezTo>
                <a:cubicBezTo>
                  <a:pt x="208119" y="147154"/>
                  <a:pt x="208610" y="146691"/>
                  <a:pt x="208928" y="146085"/>
                </a:cubicBezTo>
                <a:cubicBezTo>
                  <a:pt x="210170" y="143831"/>
                  <a:pt x="208235" y="140219"/>
                  <a:pt x="206992" y="138283"/>
                </a:cubicBezTo>
                <a:cubicBezTo>
                  <a:pt x="206732" y="137879"/>
                  <a:pt x="206385" y="137503"/>
                  <a:pt x="206068" y="137185"/>
                </a:cubicBezTo>
                <a:cubicBezTo>
                  <a:pt x="206125" y="136896"/>
                  <a:pt x="206125" y="136550"/>
                  <a:pt x="206068" y="136203"/>
                </a:cubicBezTo>
                <a:cubicBezTo>
                  <a:pt x="205981" y="135307"/>
                  <a:pt x="205605" y="134585"/>
                  <a:pt x="205316" y="133978"/>
                </a:cubicBezTo>
                <a:cubicBezTo>
                  <a:pt x="205230" y="133776"/>
                  <a:pt x="205114" y="133603"/>
                  <a:pt x="205056" y="133429"/>
                </a:cubicBezTo>
                <a:cubicBezTo>
                  <a:pt x="204941" y="132938"/>
                  <a:pt x="204854" y="132418"/>
                  <a:pt x="204767" y="131927"/>
                </a:cubicBezTo>
                <a:cubicBezTo>
                  <a:pt x="204478" y="130193"/>
                  <a:pt x="204161" y="128257"/>
                  <a:pt x="202716" y="126235"/>
                </a:cubicBezTo>
                <a:cubicBezTo>
                  <a:pt x="201242" y="124155"/>
                  <a:pt x="199913" y="123721"/>
                  <a:pt x="198584" y="123403"/>
                </a:cubicBezTo>
                <a:cubicBezTo>
                  <a:pt x="198266" y="123317"/>
                  <a:pt x="198035" y="123288"/>
                  <a:pt x="197746" y="123143"/>
                </a:cubicBezTo>
                <a:cubicBezTo>
                  <a:pt x="197400" y="122999"/>
                  <a:pt x="196475" y="122334"/>
                  <a:pt x="195868" y="121901"/>
                </a:cubicBezTo>
                <a:cubicBezTo>
                  <a:pt x="195059" y="121323"/>
                  <a:pt x="194250" y="120745"/>
                  <a:pt x="193470" y="120341"/>
                </a:cubicBezTo>
                <a:cubicBezTo>
                  <a:pt x="192661" y="119907"/>
                  <a:pt x="191910" y="119503"/>
                  <a:pt x="191216" y="119127"/>
                </a:cubicBezTo>
                <a:cubicBezTo>
                  <a:pt x="187923" y="117394"/>
                  <a:pt x="185727" y="116267"/>
                  <a:pt x="183242" y="113060"/>
                </a:cubicBezTo>
                <a:cubicBezTo>
                  <a:pt x="183242" y="113031"/>
                  <a:pt x="183184" y="112886"/>
                  <a:pt x="183126" y="112771"/>
                </a:cubicBezTo>
                <a:cubicBezTo>
                  <a:pt x="182866" y="112193"/>
                  <a:pt x="182491" y="111326"/>
                  <a:pt x="181682" y="110575"/>
                </a:cubicBezTo>
                <a:cubicBezTo>
                  <a:pt x="181624" y="110517"/>
                  <a:pt x="181566" y="110459"/>
                  <a:pt x="181479" y="110401"/>
                </a:cubicBezTo>
                <a:cubicBezTo>
                  <a:pt x="181479" y="109881"/>
                  <a:pt x="181364" y="109390"/>
                  <a:pt x="181075" y="108928"/>
                </a:cubicBezTo>
                <a:cubicBezTo>
                  <a:pt x="180352" y="107685"/>
                  <a:pt x="180439" y="105749"/>
                  <a:pt x="180526" y="103900"/>
                </a:cubicBezTo>
                <a:lnTo>
                  <a:pt x="180526" y="103669"/>
                </a:lnTo>
                <a:cubicBezTo>
                  <a:pt x="180757" y="98931"/>
                  <a:pt x="181999" y="94366"/>
                  <a:pt x="183328" y="89511"/>
                </a:cubicBezTo>
                <a:cubicBezTo>
                  <a:pt x="184022" y="86969"/>
                  <a:pt x="184744" y="84368"/>
                  <a:pt x="185293" y="81739"/>
                </a:cubicBezTo>
                <a:cubicBezTo>
                  <a:pt x="186767" y="74660"/>
                  <a:pt x="186507" y="66108"/>
                  <a:pt x="186247" y="58567"/>
                </a:cubicBezTo>
                <a:cubicBezTo>
                  <a:pt x="186218" y="57411"/>
                  <a:pt x="186160" y="56284"/>
                  <a:pt x="186131" y="55186"/>
                </a:cubicBezTo>
                <a:cubicBezTo>
                  <a:pt x="186102" y="53857"/>
                  <a:pt x="186073" y="52528"/>
                  <a:pt x="186044" y="51170"/>
                </a:cubicBezTo>
                <a:cubicBezTo>
                  <a:pt x="185871" y="41751"/>
                  <a:pt x="185698" y="32043"/>
                  <a:pt x="181682" y="23028"/>
                </a:cubicBezTo>
                <a:cubicBezTo>
                  <a:pt x="180584" y="20572"/>
                  <a:pt x="175238" y="11875"/>
                  <a:pt x="172898" y="9968"/>
                </a:cubicBezTo>
                <a:cubicBezTo>
                  <a:pt x="172667" y="9795"/>
                  <a:pt x="172436" y="9650"/>
                  <a:pt x="172205" y="9535"/>
                </a:cubicBezTo>
                <a:cubicBezTo>
                  <a:pt x="170847" y="7108"/>
                  <a:pt x="168015" y="6501"/>
                  <a:pt x="166224" y="6125"/>
                </a:cubicBezTo>
                <a:cubicBezTo>
                  <a:pt x="165704" y="6010"/>
                  <a:pt x="165155" y="5894"/>
                  <a:pt x="164837" y="5779"/>
                </a:cubicBezTo>
                <a:cubicBezTo>
                  <a:pt x="163970" y="5461"/>
                  <a:pt x="163190" y="4854"/>
                  <a:pt x="162352" y="4190"/>
                </a:cubicBezTo>
                <a:cubicBezTo>
                  <a:pt x="161485" y="3525"/>
                  <a:pt x="160503" y="2745"/>
                  <a:pt x="159318" y="2225"/>
                </a:cubicBezTo>
                <a:cubicBezTo>
                  <a:pt x="157787" y="1560"/>
                  <a:pt x="155793" y="1185"/>
                  <a:pt x="154059" y="867"/>
                </a:cubicBezTo>
                <a:lnTo>
                  <a:pt x="153308" y="722"/>
                </a:lnTo>
                <a:cubicBezTo>
                  <a:pt x="152788" y="260"/>
                  <a:pt x="152095" y="0"/>
                  <a:pt x="151372" y="0"/>
                </a:cubicBezTo>
                <a:lnTo>
                  <a:pt x="151372" y="0"/>
                </a:lnTo>
                <a:close/>
                <a:moveTo>
                  <a:pt x="151604" y="5779"/>
                </a:moveTo>
                <a:lnTo>
                  <a:pt x="151604" y="5779"/>
                </a:lnTo>
                <a:lnTo>
                  <a:pt x="151604" y="5779"/>
                </a:lnTo>
                <a:close/>
                <a:moveTo>
                  <a:pt x="61052" y="264172"/>
                </a:moveTo>
                <a:cubicBezTo>
                  <a:pt x="62381" y="257353"/>
                  <a:pt x="63537" y="251170"/>
                  <a:pt x="64288" y="244351"/>
                </a:cubicBezTo>
                <a:cubicBezTo>
                  <a:pt x="64403" y="244986"/>
                  <a:pt x="64490" y="245593"/>
                  <a:pt x="64548" y="246171"/>
                </a:cubicBezTo>
                <a:cubicBezTo>
                  <a:pt x="64548" y="246547"/>
                  <a:pt x="64432" y="247356"/>
                  <a:pt x="64346" y="248020"/>
                </a:cubicBezTo>
                <a:cubicBezTo>
                  <a:pt x="64201" y="248916"/>
                  <a:pt x="64086" y="249812"/>
                  <a:pt x="64086" y="250649"/>
                </a:cubicBezTo>
                <a:cubicBezTo>
                  <a:pt x="64086" y="251574"/>
                  <a:pt x="64230" y="252701"/>
                  <a:pt x="64374" y="253857"/>
                </a:cubicBezTo>
                <a:cubicBezTo>
                  <a:pt x="64490" y="254868"/>
                  <a:pt x="64663" y="256255"/>
                  <a:pt x="64663" y="256948"/>
                </a:cubicBezTo>
                <a:cubicBezTo>
                  <a:pt x="64519" y="257295"/>
                  <a:pt x="64057" y="257988"/>
                  <a:pt x="63768" y="258422"/>
                </a:cubicBezTo>
                <a:cubicBezTo>
                  <a:pt x="63305" y="259115"/>
                  <a:pt x="62901" y="259751"/>
                  <a:pt x="62583" y="260386"/>
                </a:cubicBezTo>
                <a:cubicBezTo>
                  <a:pt x="62034" y="261600"/>
                  <a:pt x="61514" y="262871"/>
                  <a:pt x="61052" y="264172"/>
                </a:cubicBezTo>
                <a:lnTo>
                  <a:pt x="61052" y="264172"/>
                </a:lnTo>
                <a:close/>
              </a:path>
            </a:pathLst>
          </a:custGeom>
          <a:solidFill>
            <a:srgbClr val="FEFEFE"/>
          </a:solidFill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5D437A-5047-24BD-5D0A-001CE73568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257969" y="4026235"/>
            <a:ext cx="1080296" cy="276999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AI traine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17025E0-D50B-6B6B-88E9-2EB0D269F24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988488" y="3749236"/>
            <a:ext cx="1583767" cy="553998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Agent and </a:t>
            </a:r>
            <a:b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ata specialis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5F03EA-DB20-DBDA-4392-6FED86F94C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222478" y="4026235"/>
            <a:ext cx="1283365" cy="276999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OI analys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F71270-F789-ECD8-7B1E-C8255B5CBA5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156065" y="3595348"/>
            <a:ext cx="1777966" cy="70788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AI strategists </a:t>
            </a:r>
            <a:b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 marketing, finance, and customer support</a:t>
            </a:r>
            <a:endParaRPr kumimoji="0" lang="en-US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6DEF9406-D097-4E6C-A3C1-E6848AC22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95688" y="3527508"/>
            <a:ext cx="1978119" cy="1978119"/>
          </a:xfrm>
          <a:prstGeom prst="arc">
            <a:avLst>
              <a:gd name="adj1" fmla="val 5333852"/>
              <a:gd name="adj2" fmla="val 11079682"/>
            </a:avLst>
          </a:prstGeom>
          <a:ln w="12700"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Pro Light"/>
              <a:ea typeface="+mn-ea"/>
              <a:cs typeface="+mn-cs"/>
            </a:endParaRPr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62B239B6-7146-4959-D46D-E810CDEAF4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23622" y="3523785"/>
            <a:ext cx="1223830" cy="1873192"/>
          </a:xfrm>
          <a:prstGeom prst="arc">
            <a:avLst>
              <a:gd name="adj1" fmla="val 5333852"/>
              <a:gd name="adj2" fmla="val 11079682"/>
            </a:avLst>
          </a:prstGeom>
          <a:ln w="12700"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Pro Light"/>
              <a:ea typeface="+mn-ea"/>
              <a:cs typeface="+mn-cs"/>
            </a:endParaRPr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49D077CC-478E-7C24-F884-654D620938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187276" y="3627428"/>
            <a:ext cx="1223830" cy="1586247"/>
          </a:xfrm>
          <a:prstGeom prst="arc">
            <a:avLst>
              <a:gd name="adj1" fmla="val 5333852"/>
              <a:gd name="adj2" fmla="val 11079682"/>
            </a:avLst>
          </a:prstGeom>
          <a:ln w="12700"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Pro Light"/>
              <a:ea typeface="+mn-ea"/>
              <a:cs typeface="+mn-cs"/>
            </a:endParaRPr>
          </a:p>
        </p:txBody>
      </p:sp>
      <p:sp>
        <p:nvSpPr>
          <p:cNvPr id="31" name="Arc 30">
            <a:extLst>
              <a:ext uri="{FF2B5EF4-FFF2-40B4-BE49-F238E27FC236}">
                <a16:creationId xmlns:a16="http://schemas.microsoft.com/office/drawing/2014/main" id="{D2CC5BA8-8800-90CB-1400-40C84F6F93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691651" y="3349327"/>
            <a:ext cx="2298440" cy="2298440"/>
          </a:xfrm>
          <a:prstGeom prst="arc">
            <a:avLst>
              <a:gd name="adj1" fmla="val 5333852"/>
              <a:gd name="adj2" fmla="val 11079682"/>
            </a:avLst>
          </a:prstGeom>
          <a:ln w="12700"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32110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9" grpId="0" animBg="1"/>
      <p:bldP spid="20" grpId="0" animBg="1"/>
      <p:bldP spid="21" grpId="0"/>
      <p:bldP spid="22" grpId="0"/>
      <p:bldP spid="23" grpId="0"/>
      <p:bldP spid="24" grpId="0"/>
      <p:bldP spid="26" grpId="0" animBg="1"/>
      <p:bldP spid="29" grpId="0" animBg="1"/>
      <p:bldP spid="30" grpId="0" animBg="1"/>
      <p:bldP spid="3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041709-82E3-6E31-94D8-90A96D003C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CB8E6E-3315-F10B-CDF0-284FD3F55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1107996"/>
          </a:xfrm>
        </p:spPr>
        <p:txBody>
          <a:bodyPr/>
          <a:lstStyle/>
          <a:p>
            <a:r>
              <a:rPr lang="en-US"/>
              <a:t>Microsoft and customer examples:</a:t>
            </a:r>
            <a:br>
              <a:rPr lang="en-US"/>
            </a:br>
            <a:r>
              <a:rPr lang="en-US"/>
              <a:t>team transformation with Copilot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FCDBFFB-45B1-3607-F71B-E5A6CE886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88263" y="2017713"/>
            <a:ext cx="11018520" cy="4251326"/>
          </a:xfrm>
          <a:prstGeom prst="roundRect">
            <a:avLst>
              <a:gd name="adj" fmla="val 9178"/>
            </a:avLst>
          </a:prstGeom>
          <a:noFill/>
          <a:ln w="12700" cap="rnd">
            <a:solidFill>
              <a:schemeClr val="tx1">
                <a:alpha val="50000"/>
              </a:schemeClr>
            </a:solidFill>
            <a:headEnd type="none" w="lg" len="sm"/>
            <a:tailEnd type="none" w="lg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28600" tIns="0" rIns="0" bIns="274320" rtlCol="0" anchor="ctr" anchorCtr="0">
            <a:noAutofit/>
          </a:bodyPr>
          <a:lstStyle/>
          <a:p>
            <a:pPr defTabSz="1427220">
              <a:spcBef>
                <a:spcPts val="1800"/>
              </a:spcBef>
            </a:pPr>
            <a:endParaRPr lang="en-US" sz="1100" b="1" err="1">
              <a:ln w="3175">
                <a:noFill/>
              </a:ln>
              <a:gradFill>
                <a:gsLst>
                  <a:gs pos="22936">
                    <a:schemeClr val="tx1"/>
                  </a:gs>
                  <a:gs pos="38000">
                    <a:schemeClr val="tx1"/>
                  </a:gs>
                </a:gsLst>
                <a:path path="circle">
                  <a:fillToRect l="100000" t="100000"/>
                </a:path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B8F973-2EA9-BCB6-ED66-A8E289C8A139}"/>
              </a:ext>
            </a:extLst>
          </p:cNvPr>
          <p:cNvSpPr txBox="1"/>
          <p:nvPr/>
        </p:nvSpPr>
        <p:spPr>
          <a:xfrm>
            <a:off x="1410753" y="2268764"/>
            <a:ext cx="4555149" cy="117211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spcAft>
                <a:spcPts val="500"/>
              </a:spcAft>
              <a:defRPr/>
            </a:pPr>
            <a:r>
              <a:rPr lang="en-US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nhanced Team Productivity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600">
                <a:ea typeface="Open Sans" panose="020B0606030504020204" pitchFamily="34" charset="0"/>
                <a:cs typeface="Open Sans" panose="020B0606030504020204" pitchFamily="34" charset="0"/>
              </a:rPr>
              <a:t>Copilots boost team productivity by streamlining workflows and automating routine tasks in financial servic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D8E81F-CFD5-05B9-8064-6E477A04631B}"/>
              </a:ext>
            </a:extLst>
          </p:cNvPr>
          <p:cNvSpPr txBox="1"/>
          <p:nvPr/>
        </p:nvSpPr>
        <p:spPr>
          <a:xfrm>
            <a:off x="1410753" y="3644733"/>
            <a:ext cx="4895044" cy="92589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spcAft>
                <a:spcPts val="500"/>
              </a:spcAft>
              <a:defRPr/>
            </a:pPr>
            <a:r>
              <a:rPr lang="en-US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mproved Decision-Making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600">
                <a:ea typeface="Open Sans" panose="020B0606030504020204" pitchFamily="34" charset="0"/>
                <a:cs typeface="Open Sans" panose="020B0606030504020204" pitchFamily="34" charset="0"/>
              </a:rPr>
              <a:t>Copilots support better decision-making by providing real-time insights and data analysis for financial team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8EE8D0-C164-D325-CAB0-4D5AF9FC6A50}"/>
              </a:ext>
            </a:extLst>
          </p:cNvPr>
          <p:cNvSpPr txBox="1"/>
          <p:nvPr/>
        </p:nvSpPr>
        <p:spPr>
          <a:xfrm>
            <a:off x="1410753" y="4774479"/>
            <a:ext cx="4685247" cy="117211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spcAft>
                <a:spcPts val="500"/>
              </a:spcAft>
              <a:defRPr/>
            </a:pPr>
            <a:r>
              <a:rPr lang="en-US">
                <a:gradFill>
                  <a:gsLst>
                    <a:gs pos="96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</a:gra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Fostering Innovation</a:t>
            </a:r>
          </a:p>
          <a:p>
            <a:pPr lvl="0">
              <a:spcAft>
                <a:spcPts val="500"/>
              </a:spcAft>
              <a:defRPr/>
            </a:pPr>
            <a:r>
              <a:rPr lang="en-US" sz="1600">
                <a:ea typeface="Open Sans" panose="020B0606030504020204" pitchFamily="34" charset="0"/>
                <a:cs typeface="Open Sans" panose="020B0606030504020204" pitchFamily="34" charset="0"/>
              </a:rPr>
              <a:t>Copilots inspire innovation by enabling collaborative problem solving and creative thinking in diverse financial contexts.</a:t>
            </a:r>
          </a:p>
        </p:txBody>
      </p:sp>
      <p:pic>
        <p:nvPicPr>
          <p:cNvPr id="8" name="Content Placeholder 4" descr="A person sitting on a stool in front of a group of people.">
            <a:extLst>
              <a:ext uri="{FF2B5EF4-FFF2-40B4-BE49-F238E27FC236}">
                <a16:creationId xmlns:a16="http://schemas.microsoft.com/office/drawing/2014/main" id="{4DA04986-06AD-4EE5-EB17-EF1FF5927F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" t="13270" r="2051" b="26987"/>
          <a:stretch>
            <a:fillRect/>
          </a:stretch>
        </p:blipFill>
        <p:spPr>
          <a:xfrm>
            <a:off x="7089569" y="2282560"/>
            <a:ext cx="4180114" cy="3721632"/>
          </a:xfrm>
          <a:prstGeom prst="roundRect">
            <a:avLst>
              <a:gd name="adj" fmla="val 10075"/>
            </a:avLst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A7C2E8A1-6142-C173-4791-F70323E36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2330060"/>
            <a:ext cx="255600" cy="255600"/>
            <a:chOff x="4179234" y="4174182"/>
            <a:chExt cx="1105200" cy="1105200"/>
          </a:xfrm>
        </p:grpSpPr>
        <p:sp>
          <p:nvSpPr>
            <p:cNvPr id="10" name="Graphic 10">
              <a:extLst>
                <a:ext uri="{FF2B5EF4-FFF2-40B4-BE49-F238E27FC236}">
                  <a16:creationId xmlns:a16="http://schemas.microsoft.com/office/drawing/2014/main" id="{E002C241-7925-9A6F-EF35-7ED81C95D9D8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762A847-9745-A9AA-DCEA-80C52C4C2E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5B4AC29-ED1B-BE2F-70EC-87FA0EA25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3701634"/>
            <a:ext cx="255600" cy="255600"/>
            <a:chOff x="4179234" y="4174182"/>
            <a:chExt cx="1105200" cy="1105200"/>
          </a:xfrm>
        </p:grpSpPr>
        <p:sp>
          <p:nvSpPr>
            <p:cNvPr id="19" name="Graphic 10">
              <a:extLst>
                <a:ext uri="{FF2B5EF4-FFF2-40B4-BE49-F238E27FC236}">
                  <a16:creationId xmlns:a16="http://schemas.microsoft.com/office/drawing/2014/main" id="{37609D19-65A4-D00E-AB45-BE8A8E9A3875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45EC26E-B75F-CA2A-30F8-0896D26FA03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4C916F7-1108-28AD-EE17-834B7FC0B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81478" y="4833608"/>
            <a:ext cx="255600" cy="255600"/>
            <a:chOff x="4179234" y="4174182"/>
            <a:chExt cx="1105200" cy="1105200"/>
          </a:xfrm>
        </p:grpSpPr>
        <p:sp>
          <p:nvSpPr>
            <p:cNvPr id="22" name="Graphic 10">
              <a:extLst>
                <a:ext uri="{FF2B5EF4-FFF2-40B4-BE49-F238E27FC236}">
                  <a16:creationId xmlns:a16="http://schemas.microsoft.com/office/drawing/2014/main" id="{A19AF324-36FC-7532-494E-1A8CEA52CAA9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2461347-9466-515C-B786-035ADBB8E7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179724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5216" y="2977823"/>
            <a:ext cx="6217920" cy="553998"/>
          </a:xfrm>
        </p:spPr>
        <p:txBody>
          <a:bodyPr/>
          <a:lstStyle/>
          <a:p>
            <a:r>
              <a:rPr lang="en-US">
                <a:latin typeface="+mj-lt"/>
              </a:rPr>
              <a:t>Dem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5216" y="3977319"/>
            <a:ext cx="6217920" cy="246221"/>
          </a:xfrm>
        </p:spPr>
        <p:txBody>
          <a:bodyPr/>
          <a:lstStyle/>
          <a:p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79673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F3B409-8782-6124-55E7-24164AA329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6">
            <a:extLst>
              <a:ext uri="{FF2B5EF4-FFF2-40B4-BE49-F238E27FC236}">
                <a16:creationId xmlns:a16="http://schemas.microsoft.com/office/drawing/2014/main" id="{5F5C6EF4-72CB-A19B-AC05-F7774DA0014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93612" y="2875002"/>
            <a:ext cx="9360807" cy="110799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-5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Conclusion </a:t>
            </a:r>
            <a:endParaRPr kumimoji="0" lang="en-US" sz="3600" b="0" i="0" u="none" strike="noStrike" kern="1200" cap="none" spc="-50" normalizeH="0" baseline="0" noProof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71521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951DA-27A0-6EE5-4CE2-168DC4A95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6">
            <a:extLst>
              <a:ext uri="{FF2B5EF4-FFF2-40B4-BE49-F238E27FC236}">
                <a16:creationId xmlns:a16="http://schemas.microsoft.com/office/drawing/2014/main" id="{E5B6B413-7EC1-D043-C295-B0CC8C43B0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7442321" y="-2432117"/>
            <a:ext cx="12894459" cy="11722235"/>
          </a:xfrm>
          <a:prstGeom prst="ellipse">
            <a:avLst/>
          </a:prstGeom>
          <a:solidFill>
            <a:srgbClr val="1F3353">
              <a:alpha val="50000"/>
            </a:srgbClr>
          </a:solidFill>
          <a:ln>
            <a:noFill/>
            <a:headEnd type="none" w="med" len="med"/>
            <a:tailEnd type="none" w="med" len="med"/>
          </a:ln>
          <a:effectLst>
            <a:softEdge rad="9525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321502" fontAlgn="base">
              <a:spcBef>
                <a:spcPct val="0"/>
              </a:spcBef>
              <a:spcAft>
                <a:spcPts val="2987"/>
              </a:spcAft>
            </a:pPr>
            <a:endParaRPr lang="en-US" sz="1600" b="1">
              <a:ln w="3175">
                <a:noFill/>
              </a:ln>
              <a:gradFill>
                <a:gsLst>
                  <a:gs pos="95413">
                    <a:srgbClr val="FFFFFF"/>
                  </a:gs>
                  <a:gs pos="83486">
                    <a:srgbClr val="FFFFFF"/>
                  </a:gs>
                </a:gsLst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5B97B31-6780-F8EA-E276-5440F35B416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12165" y="3152775"/>
            <a:ext cx="2160588" cy="5524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Agenda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00848DA-B6E3-AEAC-D961-B668CA9300D6}"/>
              </a:ext>
            </a:extLst>
          </p:cNvPr>
          <p:cNvSpPr txBox="1">
            <a:spLocks/>
          </p:cNvSpPr>
          <p:nvPr/>
        </p:nvSpPr>
        <p:spPr>
          <a:xfrm>
            <a:off x="5307988" y="1512561"/>
            <a:ext cx="5988661" cy="3736013"/>
          </a:xfrm>
          <a:prstGeom prst="rect">
            <a:avLst/>
          </a:prstGeom>
        </p:spPr>
        <p:txBody>
          <a:bodyPr anchor="ctr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en-US">
                <a:latin typeface="+mj-lt"/>
              </a:rPr>
              <a:t>Understanding the Frontier Firm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in financial services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en-US">
                <a:latin typeface="+mj-lt"/>
              </a:rPr>
              <a:t>Intelligence on tap: AI as an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on-demand resource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en-US">
                <a:latin typeface="+mj-lt"/>
              </a:rPr>
              <a:t>Human-agent teams: empowering collaboration and innovation</a:t>
            </a:r>
          </a:p>
        </p:txBody>
      </p:sp>
    </p:spTree>
    <p:extLst>
      <p:ext uri="{BB962C8B-B14F-4D97-AF65-F5344CB8AC3E}">
        <p14:creationId xmlns:p14="http://schemas.microsoft.com/office/powerpoint/2010/main" val="4495459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uiExpand="1" build="allAtOnce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BA72F6-4F0C-8576-1CA1-17A8F1BC1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157AA04-268E-15D3-78C1-8554B1A35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845741"/>
            <a:ext cx="11018520" cy="553998"/>
          </a:xfrm>
        </p:spPr>
        <p:txBody>
          <a:bodyPr/>
          <a:lstStyle/>
          <a:p>
            <a:pPr algn="ctr"/>
            <a:r>
              <a:rPr lang="en-CA"/>
              <a:t>AI is reshaping the future of finance—</a:t>
            </a:r>
            <a:r>
              <a:rPr lang="en-CA" b="1">
                <a:gradFill flip="none" rotWithShape="1">
                  <a:gsLst>
                    <a:gs pos="20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today</a:t>
            </a:r>
            <a:r>
              <a:rPr lang="en-CA"/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0120EE-4832-B2F3-02EE-07D14AC355DF}"/>
              </a:ext>
            </a:extLst>
          </p:cNvPr>
          <p:cNvSpPr txBox="1"/>
          <p:nvPr/>
        </p:nvSpPr>
        <p:spPr>
          <a:xfrm>
            <a:off x="1777998" y="1596843"/>
            <a:ext cx="863600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From streamlining operations to empowering employees,</a:t>
            </a:r>
            <a:b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Copilot is helping financial institutions unlock new levels of</a:t>
            </a:r>
            <a:b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productivity, compliance, and customer satisfaction.</a:t>
            </a:r>
          </a:p>
        </p:txBody>
      </p:sp>
      <p:sp>
        <p:nvSpPr>
          <p:cNvPr id="3" name="Rectangle: Rounded Corners 7">
            <a:extLst>
              <a:ext uri="{FF2B5EF4-FFF2-40B4-BE49-F238E27FC236}">
                <a16:creationId xmlns:a16="http://schemas.microsoft.com/office/drawing/2014/main" id="{7A5D44F4-403F-6352-5911-CA5B169C2D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1390996" y="3177446"/>
            <a:ext cx="1213724" cy="438483"/>
          </a:xfrm>
          <a:prstGeom prst="roundRect">
            <a:avLst>
              <a:gd name="adj" fmla="val 4589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Imagi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675A02-DF0F-177C-C8E1-31F61577416F}"/>
              </a:ext>
            </a:extLst>
          </p:cNvPr>
          <p:cNvSpPr txBox="1">
            <a:spLocks/>
          </p:cNvSpPr>
          <p:nvPr/>
        </p:nvSpPr>
        <p:spPr>
          <a:xfrm>
            <a:off x="727602" y="3396688"/>
            <a:ext cx="2540512" cy="1996948"/>
          </a:xfrm>
          <a:custGeom>
            <a:avLst/>
            <a:gdLst>
              <a:gd name="connsiteX0" fmla="*/ 401906 w 2540512"/>
              <a:gd name="connsiteY0" fmla="*/ 0 h 1996948"/>
              <a:gd name="connsiteX1" fmla="*/ 663394 w 2540512"/>
              <a:gd name="connsiteY1" fmla="*/ 0 h 1996948"/>
              <a:gd name="connsiteX2" fmla="*/ 663394 w 2540512"/>
              <a:gd name="connsiteY2" fmla="*/ 17990 h 1996948"/>
              <a:gd name="connsiteX3" fmla="*/ 864645 w 2540512"/>
              <a:gd name="connsiteY3" fmla="*/ 219241 h 1996948"/>
              <a:gd name="connsiteX4" fmla="*/ 1675867 w 2540512"/>
              <a:gd name="connsiteY4" fmla="*/ 219241 h 1996948"/>
              <a:gd name="connsiteX5" fmla="*/ 1877118 w 2540512"/>
              <a:gd name="connsiteY5" fmla="*/ 17990 h 1996948"/>
              <a:gd name="connsiteX6" fmla="*/ 1877118 w 2540512"/>
              <a:gd name="connsiteY6" fmla="*/ 0 h 1996948"/>
              <a:gd name="connsiteX7" fmla="*/ 2138606 w 2540512"/>
              <a:gd name="connsiteY7" fmla="*/ 0 h 1996948"/>
              <a:gd name="connsiteX8" fmla="*/ 2540512 w 2540512"/>
              <a:gd name="connsiteY8" fmla="*/ 401906 h 1996948"/>
              <a:gd name="connsiteX9" fmla="*/ 2540512 w 2540512"/>
              <a:gd name="connsiteY9" fmla="*/ 1595042 h 1996948"/>
              <a:gd name="connsiteX10" fmla="*/ 2138606 w 2540512"/>
              <a:gd name="connsiteY10" fmla="*/ 1996948 h 1996948"/>
              <a:gd name="connsiteX11" fmla="*/ 401906 w 2540512"/>
              <a:gd name="connsiteY11" fmla="*/ 1996948 h 1996948"/>
              <a:gd name="connsiteX12" fmla="*/ 0 w 2540512"/>
              <a:gd name="connsiteY12" fmla="*/ 1595042 h 1996948"/>
              <a:gd name="connsiteX13" fmla="*/ 0 w 2540512"/>
              <a:gd name="connsiteY13" fmla="*/ 401906 h 1996948"/>
              <a:gd name="connsiteX14" fmla="*/ 401906 w 2540512"/>
              <a:gd name="connsiteY14" fmla="*/ 0 h 199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40512" h="1996948">
                <a:moveTo>
                  <a:pt x="401906" y="0"/>
                </a:moveTo>
                <a:lnTo>
                  <a:pt x="663394" y="0"/>
                </a:lnTo>
                <a:lnTo>
                  <a:pt x="663394" y="17990"/>
                </a:lnTo>
                <a:cubicBezTo>
                  <a:pt x="663394" y="129138"/>
                  <a:pt x="753497" y="219241"/>
                  <a:pt x="864645" y="219241"/>
                </a:cubicBezTo>
                <a:lnTo>
                  <a:pt x="1675867" y="219241"/>
                </a:lnTo>
                <a:cubicBezTo>
                  <a:pt x="1787015" y="219241"/>
                  <a:pt x="1877118" y="129138"/>
                  <a:pt x="1877118" y="17990"/>
                </a:cubicBezTo>
                <a:lnTo>
                  <a:pt x="1877118" y="0"/>
                </a:lnTo>
                <a:lnTo>
                  <a:pt x="2138606" y="0"/>
                </a:lnTo>
                <a:cubicBezTo>
                  <a:pt x="2360573" y="0"/>
                  <a:pt x="2540512" y="179939"/>
                  <a:pt x="2540512" y="401906"/>
                </a:cubicBezTo>
                <a:lnTo>
                  <a:pt x="2540512" y="1595042"/>
                </a:lnTo>
                <a:cubicBezTo>
                  <a:pt x="2540512" y="1817009"/>
                  <a:pt x="2360573" y="1996948"/>
                  <a:pt x="2138606" y="1996948"/>
                </a:cubicBezTo>
                <a:lnTo>
                  <a:pt x="401906" y="1996948"/>
                </a:lnTo>
                <a:cubicBezTo>
                  <a:pt x="179939" y="1996948"/>
                  <a:pt x="0" y="1817009"/>
                  <a:pt x="0" y="1595042"/>
                </a:cubicBezTo>
                <a:lnTo>
                  <a:pt x="0" y="401906"/>
                </a:lnTo>
                <a:cubicBezTo>
                  <a:pt x="0" y="179939"/>
                  <a:pt x="179939" y="0"/>
                  <a:pt x="401906" y="0"/>
                </a:cubicBezTo>
                <a:close/>
              </a:path>
            </a:pathLst>
          </a:custGeom>
          <a:solidFill>
            <a:srgbClr val="CAE4DD">
              <a:alpha val="15000"/>
            </a:srgbClr>
          </a:solidFill>
        </p:spPr>
        <p:txBody>
          <a:bodyPr wrap="square" lIns="180000" tIns="432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Variable Display Semibold" pitchFamily="2" charset="0"/>
                <a:cs typeface="Segoe UI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en-US" sz="1600" b="0">
                <a:solidFill>
                  <a:schemeClr val="tx1"/>
                </a:solidFill>
                <a:latin typeface="+mn-lt"/>
                <a:cs typeface="Segoe Sans Display" pitchFamily="2" charset="0"/>
              </a:rPr>
              <a:t>an insurance agent accelerating claims processing with AI-powered document summarization.</a:t>
            </a:r>
          </a:p>
        </p:txBody>
      </p:sp>
      <p:sp>
        <p:nvSpPr>
          <p:cNvPr id="7" name="Rectangle: Rounded Corners 7">
            <a:extLst>
              <a:ext uri="{FF2B5EF4-FFF2-40B4-BE49-F238E27FC236}">
                <a16:creationId xmlns:a16="http://schemas.microsoft.com/office/drawing/2014/main" id="{C6EB92BE-D436-BE55-7455-BC8E1739F66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4194524" y="3177446"/>
            <a:ext cx="1070858" cy="438483"/>
          </a:xfrm>
          <a:prstGeom prst="roundRect">
            <a:avLst>
              <a:gd name="adj" fmla="val 4589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8F923C-2FF0-6200-E7EA-A5F770A69106}"/>
              </a:ext>
            </a:extLst>
          </p:cNvPr>
          <p:cNvSpPr txBox="1">
            <a:spLocks/>
          </p:cNvSpPr>
          <p:nvPr/>
        </p:nvSpPr>
        <p:spPr>
          <a:xfrm>
            <a:off x="3459697" y="3396688"/>
            <a:ext cx="2540512" cy="1996948"/>
          </a:xfrm>
          <a:custGeom>
            <a:avLst/>
            <a:gdLst>
              <a:gd name="connsiteX0" fmla="*/ 401906 w 2540512"/>
              <a:gd name="connsiteY0" fmla="*/ 0 h 1996948"/>
              <a:gd name="connsiteX1" fmla="*/ 734827 w 2540512"/>
              <a:gd name="connsiteY1" fmla="*/ 0 h 1996948"/>
              <a:gd name="connsiteX2" fmla="*/ 734827 w 2540512"/>
              <a:gd name="connsiteY2" fmla="*/ 17990 h 1996948"/>
              <a:gd name="connsiteX3" fmla="*/ 936078 w 2540512"/>
              <a:gd name="connsiteY3" fmla="*/ 219241 h 1996948"/>
              <a:gd name="connsiteX4" fmla="*/ 1604434 w 2540512"/>
              <a:gd name="connsiteY4" fmla="*/ 219241 h 1996948"/>
              <a:gd name="connsiteX5" fmla="*/ 1805685 w 2540512"/>
              <a:gd name="connsiteY5" fmla="*/ 17990 h 1996948"/>
              <a:gd name="connsiteX6" fmla="*/ 1805685 w 2540512"/>
              <a:gd name="connsiteY6" fmla="*/ 0 h 1996948"/>
              <a:gd name="connsiteX7" fmla="*/ 2138606 w 2540512"/>
              <a:gd name="connsiteY7" fmla="*/ 0 h 1996948"/>
              <a:gd name="connsiteX8" fmla="*/ 2540512 w 2540512"/>
              <a:gd name="connsiteY8" fmla="*/ 401906 h 1996948"/>
              <a:gd name="connsiteX9" fmla="*/ 2540512 w 2540512"/>
              <a:gd name="connsiteY9" fmla="*/ 1595042 h 1996948"/>
              <a:gd name="connsiteX10" fmla="*/ 2138606 w 2540512"/>
              <a:gd name="connsiteY10" fmla="*/ 1996948 h 1996948"/>
              <a:gd name="connsiteX11" fmla="*/ 401906 w 2540512"/>
              <a:gd name="connsiteY11" fmla="*/ 1996948 h 1996948"/>
              <a:gd name="connsiteX12" fmla="*/ 0 w 2540512"/>
              <a:gd name="connsiteY12" fmla="*/ 1595042 h 1996948"/>
              <a:gd name="connsiteX13" fmla="*/ 0 w 2540512"/>
              <a:gd name="connsiteY13" fmla="*/ 401906 h 1996948"/>
              <a:gd name="connsiteX14" fmla="*/ 401906 w 2540512"/>
              <a:gd name="connsiteY14" fmla="*/ 0 h 199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40512" h="1996948">
                <a:moveTo>
                  <a:pt x="401906" y="0"/>
                </a:moveTo>
                <a:lnTo>
                  <a:pt x="734827" y="0"/>
                </a:lnTo>
                <a:lnTo>
                  <a:pt x="734827" y="17990"/>
                </a:lnTo>
                <a:cubicBezTo>
                  <a:pt x="734827" y="129138"/>
                  <a:pt x="824930" y="219241"/>
                  <a:pt x="936078" y="219241"/>
                </a:cubicBezTo>
                <a:lnTo>
                  <a:pt x="1604434" y="219241"/>
                </a:lnTo>
                <a:cubicBezTo>
                  <a:pt x="1715582" y="219241"/>
                  <a:pt x="1805685" y="129138"/>
                  <a:pt x="1805685" y="17990"/>
                </a:cubicBezTo>
                <a:lnTo>
                  <a:pt x="1805685" y="0"/>
                </a:lnTo>
                <a:lnTo>
                  <a:pt x="2138606" y="0"/>
                </a:lnTo>
                <a:cubicBezTo>
                  <a:pt x="2360573" y="0"/>
                  <a:pt x="2540512" y="179939"/>
                  <a:pt x="2540512" y="401906"/>
                </a:cubicBezTo>
                <a:lnTo>
                  <a:pt x="2540512" y="1595042"/>
                </a:lnTo>
                <a:cubicBezTo>
                  <a:pt x="2540512" y="1817009"/>
                  <a:pt x="2360573" y="1996948"/>
                  <a:pt x="2138606" y="1996948"/>
                </a:cubicBezTo>
                <a:lnTo>
                  <a:pt x="401906" y="1996948"/>
                </a:lnTo>
                <a:cubicBezTo>
                  <a:pt x="179939" y="1996948"/>
                  <a:pt x="0" y="1817009"/>
                  <a:pt x="0" y="1595042"/>
                </a:cubicBezTo>
                <a:lnTo>
                  <a:pt x="0" y="401906"/>
                </a:lnTo>
                <a:cubicBezTo>
                  <a:pt x="0" y="179939"/>
                  <a:pt x="179939" y="0"/>
                  <a:pt x="401906" y="0"/>
                </a:cubicBezTo>
                <a:close/>
              </a:path>
            </a:pathLst>
          </a:custGeom>
          <a:solidFill>
            <a:srgbClr val="CAE4DD">
              <a:alpha val="15000"/>
            </a:srgbClr>
          </a:solidFill>
        </p:spPr>
        <p:txBody>
          <a:bodyPr wrap="square" lIns="180000" tIns="432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en-US"/>
              <a:t>a banking agent simplifying call center training through Copilot-generated knowledge bases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1FC92ED-848A-CD3B-3739-3D174C0DAF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7006132" y="3177446"/>
            <a:ext cx="911832" cy="438483"/>
          </a:xfrm>
          <a:prstGeom prst="roundRect">
            <a:avLst>
              <a:gd name="adj" fmla="val 47649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Thin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188A28-866E-7C2A-7A4A-9F9912E8FDC4}"/>
              </a:ext>
            </a:extLst>
          </p:cNvPr>
          <p:cNvSpPr txBox="1">
            <a:spLocks/>
          </p:cNvSpPr>
          <p:nvPr/>
        </p:nvSpPr>
        <p:spPr>
          <a:xfrm>
            <a:off x="6191792" y="3396688"/>
            <a:ext cx="2540512" cy="1996948"/>
          </a:xfrm>
          <a:custGeom>
            <a:avLst/>
            <a:gdLst>
              <a:gd name="connsiteX0" fmla="*/ 401906 w 2540512"/>
              <a:gd name="connsiteY0" fmla="*/ 0 h 1996948"/>
              <a:gd name="connsiteX1" fmla="*/ 814340 w 2540512"/>
              <a:gd name="connsiteY1" fmla="*/ 0 h 1996948"/>
              <a:gd name="connsiteX2" fmla="*/ 814340 w 2540512"/>
              <a:gd name="connsiteY2" fmla="*/ 10308 h 1996948"/>
              <a:gd name="connsiteX3" fmla="*/ 1023273 w 2540512"/>
              <a:gd name="connsiteY3" fmla="*/ 219241 h 1996948"/>
              <a:gd name="connsiteX4" fmla="*/ 1517239 w 2540512"/>
              <a:gd name="connsiteY4" fmla="*/ 219241 h 1996948"/>
              <a:gd name="connsiteX5" fmla="*/ 1726172 w 2540512"/>
              <a:gd name="connsiteY5" fmla="*/ 10308 h 1996948"/>
              <a:gd name="connsiteX6" fmla="*/ 1726172 w 2540512"/>
              <a:gd name="connsiteY6" fmla="*/ 0 h 1996948"/>
              <a:gd name="connsiteX7" fmla="*/ 2138606 w 2540512"/>
              <a:gd name="connsiteY7" fmla="*/ 0 h 1996948"/>
              <a:gd name="connsiteX8" fmla="*/ 2540512 w 2540512"/>
              <a:gd name="connsiteY8" fmla="*/ 401906 h 1996948"/>
              <a:gd name="connsiteX9" fmla="*/ 2540512 w 2540512"/>
              <a:gd name="connsiteY9" fmla="*/ 1595042 h 1996948"/>
              <a:gd name="connsiteX10" fmla="*/ 2138606 w 2540512"/>
              <a:gd name="connsiteY10" fmla="*/ 1996948 h 1996948"/>
              <a:gd name="connsiteX11" fmla="*/ 401906 w 2540512"/>
              <a:gd name="connsiteY11" fmla="*/ 1996948 h 1996948"/>
              <a:gd name="connsiteX12" fmla="*/ 0 w 2540512"/>
              <a:gd name="connsiteY12" fmla="*/ 1595042 h 1996948"/>
              <a:gd name="connsiteX13" fmla="*/ 0 w 2540512"/>
              <a:gd name="connsiteY13" fmla="*/ 401906 h 1996948"/>
              <a:gd name="connsiteX14" fmla="*/ 401906 w 2540512"/>
              <a:gd name="connsiteY14" fmla="*/ 0 h 199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40512" h="1996948">
                <a:moveTo>
                  <a:pt x="401906" y="0"/>
                </a:moveTo>
                <a:lnTo>
                  <a:pt x="814340" y="0"/>
                </a:lnTo>
                <a:lnTo>
                  <a:pt x="814340" y="10308"/>
                </a:lnTo>
                <a:cubicBezTo>
                  <a:pt x="814340" y="125699"/>
                  <a:pt x="907882" y="219241"/>
                  <a:pt x="1023273" y="219241"/>
                </a:cubicBezTo>
                <a:lnTo>
                  <a:pt x="1517239" y="219241"/>
                </a:lnTo>
                <a:cubicBezTo>
                  <a:pt x="1632630" y="219241"/>
                  <a:pt x="1726172" y="125699"/>
                  <a:pt x="1726172" y="10308"/>
                </a:cubicBezTo>
                <a:lnTo>
                  <a:pt x="1726172" y="0"/>
                </a:lnTo>
                <a:lnTo>
                  <a:pt x="2138606" y="0"/>
                </a:lnTo>
                <a:cubicBezTo>
                  <a:pt x="2360573" y="0"/>
                  <a:pt x="2540512" y="179939"/>
                  <a:pt x="2540512" y="401906"/>
                </a:cubicBezTo>
                <a:lnTo>
                  <a:pt x="2540512" y="1595042"/>
                </a:lnTo>
                <a:cubicBezTo>
                  <a:pt x="2540512" y="1817009"/>
                  <a:pt x="2360573" y="1996948"/>
                  <a:pt x="2138606" y="1996948"/>
                </a:cubicBezTo>
                <a:lnTo>
                  <a:pt x="401906" y="1996948"/>
                </a:lnTo>
                <a:cubicBezTo>
                  <a:pt x="179939" y="1996948"/>
                  <a:pt x="0" y="1817009"/>
                  <a:pt x="0" y="1595042"/>
                </a:cubicBezTo>
                <a:lnTo>
                  <a:pt x="0" y="401906"/>
                </a:lnTo>
                <a:cubicBezTo>
                  <a:pt x="0" y="179939"/>
                  <a:pt x="179939" y="0"/>
                  <a:pt x="401906" y="0"/>
                </a:cubicBezTo>
                <a:close/>
              </a:path>
            </a:pathLst>
          </a:custGeom>
          <a:solidFill>
            <a:srgbClr val="CAE4DD">
              <a:alpha val="15000"/>
            </a:srgbClr>
          </a:solidFill>
        </p:spPr>
        <p:txBody>
          <a:bodyPr wrap="square" lIns="251999" tIns="432000" rIns="251999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en-US"/>
              <a:t>about your own workflows—where has Copilot made a difference?</a:t>
            </a:r>
          </a:p>
        </p:txBody>
      </p:sp>
      <p:sp>
        <p:nvSpPr>
          <p:cNvPr id="9" name="Rectangle: Rounded Corners 7">
            <a:extLst>
              <a:ext uri="{FF2B5EF4-FFF2-40B4-BE49-F238E27FC236}">
                <a16:creationId xmlns:a16="http://schemas.microsoft.com/office/drawing/2014/main" id="{14929978-2F62-4298-9527-B2C1E8C61D9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9677139" y="3177446"/>
            <a:ext cx="1034006" cy="438483"/>
          </a:xfrm>
          <a:prstGeom prst="roundRect">
            <a:avLst>
              <a:gd name="adj" fmla="val 47649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Refle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A9A769-6786-305F-23B9-5E9C85A9FA46}"/>
              </a:ext>
            </a:extLst>
          </p:cNvPr>
          <p:cNvSpPr txBox="1">
            <a:spLocks/>
          </p:cNvSpPr>
          <p:nvPr/>
        </p:nvSpPr>
        <p:spPr>
          <a:xfrm>
            <a:off x="8923886" y="3396688"/>
            <a:ext cx="2540512" cy="1996948"/>
          </a:xfrm>
          <a:custGeom>
            <a:avLst/>
            <a:gdLst>
              <a:gd name="connsiteX0" fmla="*/ 401906 w 2540512"/>
              <a:gd name="connsiteY0" fmla="*/ 0 h 1996948"/>
              <a:gd name="connsiteX1" fmla="*/ 753253 w 2540512"/>
              <a:gd name="connsiteY1" fmla="*/ 0 h 1996948"/>
              <a:gd name="connsiteX2" fmla="*/ 753253 w 2540512"/>
              <a:gd name="connsiteY2" fmla="*/ 10308 h 1996948"/>
              <a:gd name="connsiteX3" fmla="*/ 962186 w 2540512"/>
              <a:gd name="connsiteY3" fmla="*/ 219241 h 1996948"/>
              <a:gd name="connsiteX4" fmla="*/ 1578326 w 2540512"/>
              <a:gd name="connsiteY4" fmla="*/ 219241 h 1996948"/>
              <a:gd name="connsiteX5" fmla="*/ 1787259 w 2540512"/>
              <a:gd name="connsiteY5" fmla="*/ 10308 h 1996948"/>
              <a:gd name="connsiteX6" fmla="*/ 1787259 w 2540512"/>
              <a:gd name="connsiteY6" fmla="*/ 0 h 1996948"/>
              <a:gd name="connsiteX7" fmla="*/ 2138606 w 2540512"/>
              <a:gd name="connsiteY7" fmla="*/ 0 h 1996948"/>
              <a:gd name="connsiteX8" fmla="*/ 2540512 w 2540512"/>
              <a:gd name="connsiteY8" fmla="*/ 401906 h 1996948"/>
              <a:gd name="connsiteX9" fmla="*/ 2540512 w 2540512"/>
              <a:gd name="connsiteY9" fmla="*/ 1595042 h 1996948"/>
              <a:gd name="connsiteX10" fmla="*/ 2138606 w 2540512"/>
              <a:gd name="connsiteY10" fmla="*/ 1996948 h 1996948"/>
              <a:gd name="connsiteX11" fmla="*/ 401906 w 2540512"/>
              <a:gd name="connsiteY11" fmla="*/ 1996948 h 1996948"/>
              <a:gd name="connsiteX12" fmla="*/ 0 w 2540512"/>
              <a:gd name="connsiteY12" fmla="*/ 1595042 h 1996948"/>
              <a:gd name="connsiteX13" fmla="*/ 0 w 2540512"/>
              <a:gd name="connsiteY13" fmla="*/ 401906 h 1996948"/>
              <a:gd name="connsiteX14" fmla="*/ 401906 w 2540512"/>
              <a:gd name="connsiteY14" fmla="*/ 0 h 199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40512" h="1996948">
                <a:moveTo>
                  <a:pt x="401906" y="0"/>
                </a:moveTo>
                <a:lnTo>
                  <a:pt x="753253" y="0"/>
                </a:lnTo>
                <a:lnTo>
                  <a:pt x="753253" y="10308"/>
                </a:lnTo>
                <a:cubicBezTo>
                  <a:pt x="753253" y="125699"/>
                  <a:pt x="846795" y="219241"/>
                  <a:pt x="962186" y="219241"/>
                </a:cubicBezTo>
                <a:lnTo>
                  <a:pt x="1578326" y="219241"/>
                </a:lnTo>
                <a:cubicBezTo>
                  <a:pt x="1693717" y="219241"/>
                  <a:pt x="1787259" y="125699"/>
                  <a:pt x="1787259" y="10308"/>
                </a:cubicBezTo>
                <a:lnTo>
                  <a:pt x="1787259" y="0"/>
                </a:lnTo>
                <a:lnTo>
                  <a:pt x="2138606" y="0"/>
                </a:lnTo>
                <a:cubicBezTo>
                  <a:pt x="2360573" y="0"/>
                  <a:pt x="2540512" y="179939"/>
                  <a:pt x="2540512" y="401906"/>
                </a:cubicBezTo>
                <a:lnTo>
                  <a:pt x="2540512" y="1595042"/>
                </a:lnTo>
                <a:cubicBezTo>
                  <a:pt x="2540512" y="1817009"/>
                  <a:pt x="2360573" y="1996948"/>
                  <a:pt x="2138606" y="1996948"/>
                </a:cubicBezTo>
                <a:lnTo>
                  <a:pt x="401906" y="1996948"/>
                </a:lnTo>
                <a:cubicBezTo>
                  <a:pt x="179939" y="1996948"/>
                  <a:pt x="0" y="1817009"/>
                  <a:pt x="0" y="1595042"/>
                </a:cubicBezTo>
                <a:lnTo>
                  <a:pt x="0" y="401906"/>
                </a:lnTo>
                <a:cubicBezTo>
                  <a:pt x="0" y="179939"/>
                  <a:pt x="179939" y="0"/>
                  <a:pt x="401906" y="0"/>
                </a:cubicBezTo>
                <a:close/>
              </a:path>
            </a:pathLst>
          </a:custGeom>
          <a:solidFill>
            <a:srgbClr val="CAE4DD">
              <a:alpha val="15000"/>
            </a:srgbClr>
          </a:solidFill>
        </p:spPr>
        <p:txBody>
          <a:bodyPr wrap="square" lIns="251999" tIns="432000" rIns="251999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en-US"/>
              <a:t>How has Copilot already transformed</a:t>
            </a:r>
            <a:br>
              <a:rPr lang="en-US" altLang="en-US"/>
            </a:br>
            <a:r>
              <a:rPr lang="en-US" altLang="en-US"/>
              <a:t>a process in your organization?</a:t>
            </a:r>
          </a:p>
        </p:txBody>
      </p:sp>
    </p:spTree>
    <p:extLst>
      <p:ext uri="{BB962C8B-B14F-4D97-AF65-F5344CB8AC3E}">
        <p14:creationId xmlns:p14="http://schemas.microsoft.com/office/powerpoint/2010/main" val="31500985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42E17-2ACE-6CCE-51C1-3AB4638611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93602-44E8-E352-B091-31204F7D5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8" y="2875002"/>
            <a:ext cx="6673850" cy="1107996"/>
          </a:xfrm>
        </p:spPr>
        <p:txBody>
          <a:bodyPr>
            <a:spAutoFit/>
          </a:bodyPr>
          <a:lstStyle/>
          <a:p>
            <a:r>
              <a:rPr lang="en-US">
                <a:latin typeface="+mj-lt"/>
              </a:rPr>
              <a:t>Understanding the Frontier Firm in financial services</a:t>
            </a:r>
          </a:p>
        </p:txBody>
      </p:sp>
    </p:spTree>
    <p:extLst>
      <p:ext uri="{BB962C8B-B14F-4D97-AF65-F5344CB8AC3E}">
        <p14:creationId xmlns:p14="http://schemas.microsoft.com/office/powerpoint/2010/main" val="326851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B34BD-4B0B-B2A5-6D6B-EB740510D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1315305"/>
            <a:ext cx="4123944" cy="1107996"/>
          </a:xfrm>
        </p:spPr>
        <p:txBody>
          <a:bodyPr/>
          <a:lstStyle/>
          <a:p>
            <a:r>
              <a:rPr lang="en-US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Frontier</a:t>
            </a:r>
            <a:br>
              <a:rPr lang="en-US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</a:br>
            <a:r>
              <a:rPr lang="en-US" b="1"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financial servic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230C42-8B58-D975-FB7A-4031E43CFB75}"/>
              </a:ext>
            </a:extLst>
          </p:cNvPr>
          <p:cNvSpPr txBox="1"/>
          <p:nvPr/>
        </p:nvSpPr>
        <p:spPr>
          <a:xfrm>
            <a:off x="588262" y="2548903"/>
            <a:ext cx="3766024" cy="1015663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Organizations seamlessly integrating human expertise with agentic capabilities  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46A33C3-FA0E-598B-1A13-042D949A3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88262" y="3869735"/>
            <a:ext cx="255600" cy="255600"/>
            <a:chOff x="4179234" y="4174182"/>
            <a:chExt cx="1105200" cy="1105200"/>
          </a:xfrm>
        </p:grpSpPr>
        <p:sp>
          <p:nvSpPr>
            <p:cNvPr id="30" name="Graphic 10">
              <a:extLst>
                <a:ext uri="{FF2B5EF4-FFF2-40B4-BE49-F238E27FC236}">
                  <a16:creationId xmlns:a16="http://schemas.microsoft.com/office/drawing/2014/main" id="{0B759A71-F345-C055-6CD6-B2B517CEC05D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792A8BB-5BF1-099B-AE83-C02CBE2A9F9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FB074699-0B75-E02C-033C-78056837C0AF}"/>
              </a:ext>
            </a:extLst>
          </p:cNvPr>
          <p:cNvSpPr txBox="1"/>
          <p:nvPr/>
        </p:nvSpPr>
        <p:spPr>
          <a:xfrm>
            <a:off x="1041072" y="3705148"/>
            <a:ext cx="3471552" cy="584775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>
                <a:ea typeface="Open Sans" panose="020B0606030504020204" pitchFamily="34" charset="0"/>
                <a:cs typeface="Open Sans" panose="020B0606030504020204" pitchFamily="34" charset="0"/>
              </a:rPr>
              <a:t>Leveraging on-tap intelligence for real-time enterprise visi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C80911-9084-C68A-55BC-706A5C424594}"/>
              </a:ext>
            </a:extLst>
          </p:cNvPr>
          <p:cNvSpPr txBox="1"/>
          <p:nvPr/>
        </p:nvSpPr>
        <p:spPr>
          <a:xfrm>
            <a:off x="1041072" y="4346072"/>
            <a:ext cx="3471552" cy="584775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>
              <a:defRPr/>
            </a:pPr>
            <a:r>
              <a:rPr lang="en-US" sz="1600"/>
              <a:t>Enabling dynamic operations that continuously adapt and optimiz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377277-1BF2-7CD7-9A1A-A053097E341C}"/>
              </a:ext>
            </a:extLst>
          </p:cNvPr>
          <p:cNvSpPr txBox="1"/>
          <p:nvPr/>
        </p:nvSpPr>
        <p:spPr>
          <a:xfrm>
            <a:off x="1041071" y="4986995"/>
            <a:ext cx="3313215" cy="584775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>
              <a:defRPr/>
            </a:pPr>
            <a:r>
              <a:rPr lang="en-US" sz="1600"/>
              <a:t>Driving unprecedented innovation and customer value</a:t>
            </a:r>
            <a:endParaRPr lang="en-CA" sz="16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0882604-84F3-5A66-EEFB-30CE50B7DE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88262" y="4510659"/>
            <a:ext cx="255600" cy="255600"/>
            <a:chOff x="4179234" y="4174182"/>
            <a:chExt cx="1105200" cy="1105200"/>
          </a:xfrm>
        </p:grpSpPr>
        <p:sp>
          <p:nvSpPr>
            <p:cNvPr id="33" name="Graphic 10">
              <a:extLst>
                <a:ext uri="{FF2B5EF4-FFF2-40B4-BE49-F238E27FC236}">
                  <a16:creationId xmlns:a16="http://schemas.microsoft.com/office/drawing/2014/main" id="{66FE53DE-EE15-086C-891F-CA5C44517A0F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743CEEA3-F396-9015-E8D2-2C32FBFD776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5420AD5-C57E-28CF-B38B-FEC91D5A6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88262" y="5151582"/>
            <a:ext cx="255600" cy="255600"/>
            <a:chOff x="4179234" y="4174182"/>
            <a:chExt cx="1105200" cy="1105200"/>
          </a:xfrm>
        </p:grpSpPr>
        <p:sp>
          <p:nvSpPr>
            <p:cNvPr id="36" name="Graphic 10">
              <a:extLst>
                <a:ext uri="{FF2B5EF4-FFF2-40B4-BE49-F238E27FC236}">
                  <a16:creationId xmlns:a16="http://schemas.microsoft.com/office/drawing/2014/main" id="{DA9342FC-8DEF-B7F4-5E74-3C5895394F5A}"/>
                </a:ext>
              </a:extLst>
            </p:cNvPr>
            <p:cNvSpPr/>
            <p:nvPr/>
          </p:nvSpPr>
          <p:spPr>
            <a:xfrm>
              <a:off x="4179234" y="4174182"/>
              <a:ext cx="1105200" cy="1105200"/>
            </a:xfrm>
            <a:prstGeom prst="ellipse">
              <a:avLst/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91440" tIns="18288" rIns="91440" bIns="36576" rtlCol="0" anchor="ctr" anchorCtr="0">
              <a:spAutoFit/>
            </a:bodyPr>
            <a:lstStyle/>
            <a:p>
              <a: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</a:pPr>
              <a:endParaRPr lang="en-US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F948BFD6-59C7-F0F0-9FDE-0F412D478BD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56607" y="4464795"/>
              <a:ext cx="550455" cy="523975"/>
            </a:xfrm>
            <a:custGeom>
              <a:avLst/>
              <a:gdLst>
                <a:gd name="connsiteX0" fmla="*/ 289316 w 550455"/>
                <a:gd name="connsiteY0" fmla="*/ 2 h 523975"/>
                <a:gd name="connsiteX1" fmla="*/ 313552 w 550455"/>
                <a:gd name="connsiteY1" fmla="*/ 8117 h 523975"/>
                <a:gd name="connsiteX2" fmla="*/ 318232 w 550455"/>
                <a:gd name="connsiteY2" fmla="*/ 12139 h 523975"/>
                <a:gd name="connsiteX3" fmla="*/ 538383 w 550455"/>
                <a:gd name="connsiteY3" fmla="*/ 232697 h 523975"/>
                <a:gd name="connsiteX4" fmla="*/ 542786 w 550455"/>
                <a:gd name="connsiteY4" fmla="*/ 237877 h 523975"/>
                <a:gd name="connsiteX5" fmla="*/ 542341 w 550455"/>
                <a:gd name="connsiteY5" fmla="*/ 286497 h 523975"/>
                <a:gd name="connsiteX6" fmla="*/ 538383 w 550455"/>
                <a:gd name="connsiteY6" fmla="*/ 291185 h 523975"/>
                <a:gd name="connsiteX7" fmla="*/ 318122 w 550455"/>
                <a:gd name="connsiteY7" fmla="*/ 511685 h 523975"/>
                <a:gd name="connsiteX8" fmla="*/ 313552 w 550455"/>
                <a:gd name="connsiteY8" fmla="*/ 515707 h 523975"/>
                <a:gd name="connsiteX9" fmla="*/ 264015 w 550455"/>
                <a:gd name="connsiteY9" fmla="*/ 515707 h 523975"/>
                <a:gd name="connsiteX10" fmla="*/ 255763 w 550455"/>
                <a:gd name="connsiteY10" fmla="*/ 457828 h 523975"/>
                <a:gd name="connsiteX11" fmla="*/ 259779 w 550455"/>
                <a:gd name="connsiteY11" fmla="*/ 453140 h 523975"/>
                <a:gd name="connsiteX12" fmla="*/ 409482 w 550455"/>
                <a:gd name="connsiteY12" fmla="*/ 303200 h 523975"/>
                <a:gd name="connsiteX13" fmla="*/ 41280 w 550455"/>
                <a:gd name="connsiteY13" fmla="*/ 303200 h 523975"/>
                <a:gd name="connsiteX14" fmla="*/ 35664 w 550455"/>
                <a:gd name="connsiteY14" fmla="*/ 302818 h 523975"/>
                <a:gd name="connsiteX15" fmla="*/ 388 w 550455"/>
                <a:gd name="connsiteY15" fmla="*/ 267480 h 523975"/>
                <a:gd name="connsiteX16" fmla="*/ 0 w 550455"/>
                <a:gd name="connsiteY16" fmla="*/ 261854 h 523975"/>
                <a:gd name="connsiteX17" fmla="*/ 388 w 550455"/>
                <a:gd name="connsiteY17" fmla="*/ 256287 h 523975"/>
                <a:gd name="connsiteX18" fmla="*/ 35664 w 550455"/>
                <a:gd name="connsiteY18" fmla="*/ 220897 h 523975"/>
                <a:gd name="connsiteX19" fmla="*/ 41280 w 550455"/>
                <a:gd name="connsiteY19" fmla="*/ 220567 h 523975"/>
                <a:gd name="connsiteX20" fmla="*/ 409482 w 550455"/>
                <a:gd name="connsiteY20" fmla="*/ 220567 h 523975"/>
                <a:gd name="connsiteX21" fmla="*/ 259837 w 550455"/>
                <a:gd name="connsiteY21" fmla="*/ 70627 h 523975"/>
                <a:gd name="connsiteX22" fmla="*/ 255434 w 550455"/>
                <a:gd name="connsiteY22" fmla="*/ 65447 h 523975"/>
                <a:gd name="connsiteX23" fmla="*/ 255815 w 550455"/>
                <a:gd name="connsiteY23" fmla="*/ 16769 h 523975"/>
                <a:gd name="connsiteX24" fmla="*/ 259779 w 550455"/>
                <a:gd name="connsiteY24" fmla="*/ 12139 h 523975"/>
                <a:gd name="connsiteX25" fmla="*/ 264951 w 550455"/>
                <a:gd name="connsiteY25" fmla="*/ 7729 h 523975"/>
                <a:gd name="connsiteX26" fmla="*/ 289316 w 550455"/>
                <a:gd name="connsiteY26" fmla="*/ 2 h 5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50455" h="523975">
                  <a:moveTo>
                    <a:pt x="289316" y="2"/>
                  </a:moveTo>
                  <a:cubicBezTo>
                    <a:pt x="297845" y="70"/>
                    <a:pt x="306352" y="2778"/>
                    <a:pt x="313552" y="8117"/>
                  </a:cubicBezTo>
                  <a:lnTo>
                    <a:pt x="318232" y="12139"/>
                  </a:lnTo>
                  <a:lnTo>
                    <a:pt x="538383" y="232697"/>
                  </a:lnTo>
                  <a:lnTo>
                    <a:pt x="542786" y="237877"/>
                  </a:lnTo>
                  <a:cubicBezTo>
                    <a:pt x="553176" y="252467"/>
                    <a:pt x="552991" y="272098"/>
                    <a:pt x="542341" y="286497"/>
                  </a:cubicBezTo>
                  <a:lnTo>
                    <a:pt x="538383" y="291185"/>
                  </a:lnTo>
                  <a:lnTo>
                    <a:pt x="318122" y="511685"/>
                  </a:lnTo>
                  <a:lnTo>
                    <a:pt x="313552" y="515707"/>
                  </a:lnTo>
                  <a:cubicBezTo>
                    <a:pt x="298875" y="526732"/>
                    <a:pt x="278697" y="526732"/>
                    <a:pt x="264015" y="515707"/>
                  </a:cubicBezTo>
                  <a:cubicBezTo>
                    <a:pt x="245778" y="502009"/>
                    <a:pt x="242086" y="476093"/>
                    <a:pt x="255763" y="457828"/>
                  </a:cubicBezTo>
                  <a:lnTo>
                    <a:pt x="259779" y="453140"/>
                  </a:lnTo>
                  <a:lnTo>
                    <a:pt x="409482" y="303200"/>
                  </a:lnTo>
                  <a:lnTo>
                    <a:pt x="41280" y="303200"/>
                  </a:lnTo>
                  <a:lnTo>
                    <a:pt x="35664" y="302818"/>
                  </a:lnTo>
                  <a:cubicBezTo>
                    <a:pt x="17324" y="300288"/>
                    <a:pt x="2907" y="285849"/>
                    <a:pt x="388" y="267480"/>
                  </a:cubicBezTo>
                  <a:lnTo>
                    <a:pt x="0" y="261854"/>
                  </a:lnTo>
                  <a:lnTo>
                    <a:pt x="388" y="256287"/>
                  </a:lnTo>
                  <a:cubicBezTo>
                    <a:pt x="2884" y="237900"/>
                    <a:pt x="17306" y="223432"/>
                    <a:pt x="35664" y="220897"/>
                  </a:cubicBezTo>
                  <a:lnTo>
                    <a:pt x="41280" y="220567"/>
                  </a:lnTo>
                  <a:lnTo>
                    <a:pt x="409482" y="220567"/>
                  </a:lnTo>
                  <a:lnTo>
                    <a:pt x="259837" y="70627"/>
                  </a:lnTo>
                  <a:lnTo>
                    <a:pt x="255434" y="65447"/>
                  </a:lnTo>
                  <a:cubicBezTo>
                    <a:pt x="245004" y="50857"/>
                    <a:pt x="245154" y="31191"/>
                    <a:pt x="255815" y="16769"/>
                  </a:cubicBezTo>
                  <a:lnTo>
                    <a:pt x="259779" y="12139"/>
                  </a:lnTo>
                  <a:lnTo>
                    <a:pt x="264951" y="7729"/>
                  </a:lnTo>
                  <a:cubicBezTo>
                    <a:pt x="272237" y="2506"/>
                    <a:pt x="280787" y="-66"/>
                    <a:pt x="28931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4C49A313-C6BA-C889-25EC-82AD93E15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486399" y="724233"/>
            <a:ext cx="7540487" cy="5464532"/>
          </a:xfrm>
          <a:prstGeom prst="roundRect">
            <a:avLst>
              <a:gd name="adj" fmla="val 6788"/>
            </a:avLst>
          </a:prstGeom>
          <a:solidFill>
            <a:srgbClr val="CAE4DD">
              <a:alpha val="15000"/>
            </a:srgbClr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b="1">
                <a:ln w="3175">
                  <a:noFill/>
                </a:ln>
                <a:gradFill>
                  <a:gsLst>
                    <a:gs pos="22936">
                      <a:schemeClr val="tx1"/>
                    </a:gs>
                    <a:gs pos="38000">
                      <a:schemeClr val="tx1"/>
                    </a:gs>
                  </a:gsLst>
                  <a:path path="circle">
                    <a:fillToRect l="100000" t="100000"/>
                  </a:path>
                </a:gradFill>
                <a:latin typeface="Segoe UI Variable Display Semibold" pitchFamily="2" charset="0"/>
                <a:cs typeface="Segoe UI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altLang="en-US" sz="1600" b="0">
              <a:solidFill>
                <a:schemeClr val="tx1"/>
              </a:solidFill>
              <a:latin typeface="+mn-lt"/>
              <a:cs typeface="Segoe Sans Display" pitchFamily="2" charset="0"/>
            </a:endParaRPr>
          </a:p>
        </p:txBody>
      </p:sp>
      <p:sp>
        <p:nvSpPr>
          <p:cNvPr id="38" name="Rectangle: Rounded Corners 3" descr="Photo: a group of people sitting at their computers in an office.">
            <a:extLst>
              <a:ext uri="{FF2B5EF4-FFF2-40B4-BE49-F238E27FC236}">
                <a16:creationId xmlns:a16="http://schemas.microsoft.com/office/drawing/2014/main" id="{03DB0D2F-4D22-0FFF-ACC7-A8C24C58CF91}"/>
              </a:ext>
            </a:extLst>
          </p:cNvPr>
          <p:cNvSpPr/>
          <p:nvPr/>
        </p:nvSpPr>
        <p:spPr bwMode="auto">
          <a:xfrm>
            <a:off x="5743423" y="929641"/>
            <a:ext cx="6802227" cy="5053716"/>
          </a:xfrm>
          <a:prstGeom prst="roundRect">
            <a:avLst>
              <a:gd name="adj" fmla="val 7612"/>
            </a:avLst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952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91F2C"/>
              </a:solidFill>
              <a:latin typeface="Segoe Sans Display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11158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6ADE50-0B5C-699E-841A-FE44A3A0A9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3F6E7852-6D7A-FA94-BA25-2AD650607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Journey to the Frontier Firm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97AB4C-9F63-9DFB-523D-95B5D32D0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55595" y="1666807"/>
            <a:ext cx="3143606" cy="4602231"/>
          </a:xfrm>
          <a:prstGeom prst="roundRect">
            <a:avLst>
              <a:gd name="adj" fmla="val 11916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4" name="Rectangle: Rounded Corners 7">
            <a:extLst>
              <a:ext uri="{FF2B5EF4-FFF2-40B4-BE49-F238E27FC236}">
                <a16:creationId xmlns:a16="http://schemas.microsoft.com/office/drawing/2014/main" id="{CE5FB4BD-32FF-5D20-CDD1-99661A6FDD7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2020536" y="1443038"/>
            <a:ext cx="1213724" cy="451342"/>
          </a:xfrm>
          <a:prstGeom prst="roundRect">
            <a:avLst>
              <a:gd name="adj" fmla="val 4589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Phase 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80CF10-85C9-7789-FB47-AA0C339FD91D}"/>
              </a:ext>
            </a:extLst>
          </p:cNvPr>
          <p:cNvSpPr txBox="1"/>
          <p:nvPr/>
        </p:nvSpPr>
        <p:spPr>
          <a:xfrm>
            <a:off x="1188902" y="2290354"/>
            <a:ext cx="2876992" cy="707886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 dirty="0">
                <a:ln w="3175">
                  <a:noFill/>
                </a:ln>
                <a:latin typeface="+mj-lt"/>
                <a:cs typeface="Segoe Sans Text Light" pitchFamily="2" charset="0"/>
              </a:rPr>
              <a:t>Human</a:t>
            </a:r>
            <a:br>
              <a:rPr lang="en-US" sz="2000" dirty="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000" dirty="0">
                <a:ln w="3175">
                  <a:noFill/>
                </a:ln>
                <a:latin typeface="+mj-lt"/>
                <a:cs typeface="Segoe Sans Text Light" pitchFamily="2" charset="0"/>
              </a:rPr>
              <a:t>with assista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9262B24-2675-7423-EABB-0DC22622F202}"/>
              </a:ext>
            </a:extLst>
          </p:cNvPr>
          <p:cNvSpPr txBox="1"/>
          <p:nvPr/>
        </p:nvSpPr>
        <p:spPr>
          <a:xfrm>
            <a:off x="1334676" y="4926090"/>
            <a:ext cx="2585444" cy="75713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600" dirty="0">
                <a:ln w="3175">
                  <a:noFill/>
                </a:ln>
                <a:cs typeface="Segoe Sans Text Light" pitchFamily="2" charset="0"/>
              </a:rPr>
              <a:t>Every employee has an AI assistant that helps them work better and fast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64808AE-5C36-68D4-C40C-58DAA82BBD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524197" y="1666807"/>
            <a:ext cx="3143606" cy="4602231"/>
          </a:xfrm>
          <a:prstGeom prst="roundRect">
            <a:avLst>
              <a:gd name="adj" fmla="val 11916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2" name="Rectangle: Rounded Corners 7">
            <a:extLst>
              <a:ext uri="{FF2B5EF4-FFF2-40B4-BE49-F238E27FC236}">
                <a16:creationId xmlns:a16="http://schemas.microsoft.com/office/drawing/2014/main" id="{7638713C-3C19-2165-EA65-2EA2796FBF4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5489137" y="1443038"/>
            <a:ext cx="1213724" cy="451342"/>
          </a:xfrm>
          <a:prstGeom prst="roundRect">
            <a:avLst>
              <a:gd name="adj" fmla="val 4589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Phase 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ED4355F-2F03-A52D-9CEA-D01485DB2391}"/>
              </a:ext>
            </a:extLst>
          </p:cNvPr>
          <p:cNvSpPr txBox="1"/>
          <p:nvPr/>
        </p:nvSpPr>
        <p:spPr>
          <a:xfrm>
            <a:off x="4657503" y="2290354"/>
            <a:ext cx="2876992" cy="707886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Human-led</a:t>
            </a:r>
            <a:b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agen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BCFA10-D92D-97C9-3E41-A3C49DE327E3}"/>
              </a:ext>
            </a:extLst>
          </p:cNvPr>
          <p:cNvSpPr txBox="1"/>
          <p:nvPr/>
        </p:nvSpPr>
        <p:spPr>
          <a:xfrm>
            <a:off x="4657503" y="4926090"/>
            <a:ext cx="2876992" cy="75713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600">
                <a:ln w="3175">
                  <a:noFill/>
                </a:ln>
                <a:cs typeface="Segoe Sans Text Light" pitchFamily="2" charset="0"/>
              </a:rPr>
              <a:t>Agents join teams as “digital colleagues,” taking on specific tasks at human direc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A8956E5-D648-B31C-8E62-653FD7FD9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992799" y="1666807"/>
            <a:ext cx="3143606" cy="4602231"/>
          </a:xfrm>
          <a:prstGeom prst="roundRect">
            <a:avLst>
              <a:gd name="adj" fmla="val 11916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3" name="Rectangle: Rounded Corners 7">
            <a:extLst>
              <a:ext uri="{FF2B5EF4-FFF2-40B4-BE49-F238E27FC236}">
                <a16:creationId xmlns:a16="http://schemas.microsoft.com/office/drawing/2014/main" id="{C6812586-9FBE-EC30-7204-54E67A27848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8957740" y="1443038"/>
            <a:ext cx="1213724" cy="451342"/>
          </a:xfrm>
          <a:prstGeom prst="roundRect">
            <a:avLst>
              <a:gd name="adj" fmla="val 45897"/>
            </a:avLst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sp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18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Phase 3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96E70B8-85A2-E64B-AAE0-0935E10B86E0}"/>
              </a:ext>
            </a:extLst>
          </p:cNvPr>
          <p:cNvSpPr txBox="1"/>
          <p:nvPr/>
        </p:nvSpPr>
        <p:spPr>
          <a:xfrm>
            <a:off x="8126106" y="2290354"/>
            <a:ext cx="2876992" cy="707886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Human-led,</a:t>
            </a:r>
            <a:b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000">
                <a:ln w="3175">
                  <a:noFill/>
                </a:ln>
                <a:latin typeface="+mj-lt"/>
                <a:cs typeface="Segoe Sans Text Light" pitchFamily="2" charset="0"/>
              </a:rPr>
              <a:t>agent-operated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C145479-2D39-F75D-E38D-777F8195DD18}"/>
              </a:ext>
            </a:extLst>
          </p:cNvPr>
          <p:cNvSpPr txBox="1"/>
          <p:nvPr/>
        </p:nvSpPr>
        <p:spPr>
          <a:xfrm>
            <a:off x="8271880" y="4815692"/>
            <a:ext cx="2585444" cy="978729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600" dirty="0">
                <a:ln w="3175">
                  <a:noFill/>
                </a:ln>
                <a:cs typeface="Segoe Sans Text Light" pitchFamily="2" charset="0"/>
              </a:rPr>
              <a:t>Humans set direction and agents run entire business processes and workflows,  checking in as needed</a:t>
            </a:r>
          </a:p>
        </p:txBody>
      </p:sp>
      <p:grpSp>
        <p:nvGrpSpPr>
          <p:cNvPr id="2" name="Group 1" descr="Graphic: human icon + an assistant icon.">
            <a:extLst>
              <a:ext uri="{FF2B5EF4-FFF2-40B4-BE49-F238E27FC236}">
                <a16:creationId xmlns:a16="http://schemas.microsoft.com/office/drawing/2014/main" id="{52128D74-9983-BBEB-D13A-DA561690F422}"/>
              </a:ext>
            </a:extLst>
          </p:cNvPr>
          <p:cNvGrpSpPr/>
          <p:nvPr/>
        </p:nvGrpSpPr>
        <p:grpSpPr>
          <a:xfrm>
            <a:off x="1612897" y="3477305"/>
            <a:ext cx="2029002" cy="793176"/>
            <a:chOff x="4560028" y="3879420"/>
            <a:chExt cx="2970660" cy="1161288"/>
          </a:xfrm>
        </p:grpSpPr>
        <p:pic>
          <p:nvPicPr>
            <p:cNvPr id="3" name="!!P1p">
              <a:extLst>
                <a:ext uri="{FF2B5EF4-FFF2-40B4-BE49-F238E27FC236}">
                  <a16:creationId xmlns:a16="http://schemas.microsoft.com/office/drawing/2014/main" id="{C3BEF706-68F5-0C82-9C26-B2C3D47BC7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50000"/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41324" y="4197435"/>
              <a:ext cx="504980" cy="504980"/>
            </a:xfrm>
            <a:prstGeom prst="rect">
              <a:avLst/>
            </a:prstGeom>
          </p:spPr>
        </p:pic>
        <p:grpSp>
          <p:nvGrpSpPr>
            <p:cNvPr id="4" name="!!P1h">
              <a:extLst>
                <a:ext uri="{FF2B5EF4-FFF2-40B4-BE49-F238E27FC236}">
                  <a16:creationId xmlns:a16="http://schemas.microsoft.com/office/drawing/2014/main" id="{2A5FE36E-7014-0867-114D-7F3C4799D6E2}"/>
                </a:ext>
              </a:extLst>
            </p:cNvPr>
            <p:cNvGrpSpPr/>
            <p:nvPr/>
          </p:nvGrpSpPr>
          <p:grpSpPr>
            <a:xfrm>
              <a:off x="4560028" y="3879420"/>
              <a:ext cx="1161288" cy="1161288"/>
              <a:chOff x="12825068" y="7666159"/>
              <a:chExt cx="3266119" cy="3266119"/>
            </a:xfrm>
          </p:grpSpPr>
          <p:sp>
            <p:nvSpPr>
              <p:cNvPr id="7" name="!!humancircle">
                <a:extLst>
                  <a:ext uri="{FF2B5EF4-FFF2-40B4-BE49-F238E27FC236}">
                    <a16:creationId xmlns:a16="http://schemas.microsoft.com/office/drawing/2014/main" id="{8C38A1DC-F4EA-1060-70BA-B4B732B4DA0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5068" y="7666159"/>
                <a:ext cx="3266119" cy="3266119"/>
              </a:xfrm>
              <a:prstGeom prst="ellipse">
                <a:avLst/>
              </a:prstGeom>
              <a:gradFill flip="none" rotWithShape="1"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  <a:tileRect r="-100000" b="-100000"/>
              </a:gradFill>
            </p:spPr>
            <p:txBody>
              <a:bodyPr wrap="none" lIns="137160" tIns="18288" rIns="137160" bIns="54864" rtlCol="0" anchor="ctr" anchorCtr="0">
                <a:spAutoFit/>
              </a:bodyPr>
              <a:lstStyle/>
              <a:p>
                <a:pPr algn="ctr" defTabSz="914437" fontAlgn="base">
                  <a:spcBef>
                    <a:spcPct val="0"/>
                  </a:spcBef>
                  <a:spcAft>
                    <a:spcPct val="0"/>
                  </a:spcAft>
                  <a:tabLst>
                    <a:tab pos="1487158" algn="l"/>
                  </a:tabLst>
                </a:pPr>
                <a:endParaRPr lang="en-CA" b="1">
                  <a:ln w="3175">
                    <a:noFill/>
                  </a:ln>
                  <a:gradFill>
                    <a:gsLst>
                      <a:gs pos="92661">
                        <a:srgbClr val="FFFFFF"/>
                      </a:gs>
                      <a:gs pos="7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+mj-lt"/>
                  <a:cs typeface="Segoe UI" pitchFamily="34" charset="0"/>
                </a:endParaRPr>
              </a:p>
            </p:txBody>
          </p:sp>
          <p:pic>
            <p:nvPicPr>
              <p:cNvPr id="9" name="Graphic 8">
                <a:extLst>
                  <a:ext uri="{FF2B5EF4-FFF2-40B4-BE49-F238E27FC236}">
                    <a16:creationId xmlns:a16="http://schemas.microsoft.com/office/drawing/2014/main" id="{FDCD2AF9-A7A8-E5EE-9A70-B179FDCF3CD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3611501" y="8452595"/>
                <a:ext cx="1693249" cy="1693249"/>
              </a:xfrm>
              <a:prstGeom prst="rect">
                <a:avLst/>
              </a:prstGeom>
            </p:spPr>
          </p:pic>
        </p:grpSp>
        <p:sp>
          <p:nvSpPr>
            <p:cNvPr id="5" name="box 1">
              <a:extLst>
                <a:ext uri="{FF2B5EF4-FFF2-40B4-BE49-F238E27FC236}">
                  <a16:creationId xmlns:a16="http://schemas.microsoft.com/office/drawing/2014/main" id="{384348EE-1692-38D1-47E6-CFE7018083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6474972" y="3932205"/>
              <a:ext cx="1055716" cy="1055715"/>
            </a:xfrm>
            <a:prstGeom prst="roundRect">
              <a:avLst>
                <a:gd name="adj" fmla="val 15769"/>
              </a:avLst>
            </a:prstGeom>
            <a:gradFill flip="none" rotWithShape="1"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  <a:tileRect r="-100000" b="-100000"/>
            </a:gradFill>
          </p:spPr>
          <p:txBody>
            <a:bodyPr wrap="square" lIns="137160" tIns="18288" rIns="137160" bIns="54864" rtlCol="0" anchor="ctr" anchorCtr="0">
              <a:spAutoFit/>
            </a:bodyPr>
            <a:lstStyle>
              <a:defPPr>
                <a:defRPr lang="en-US"/>
              </a:defPPr>
              <a:lvl1pPr algn="ctr" defTabSz="914437" fontAlgn="base">
                <a:spcBef>
                  <a:spcPct val="0"/>
                </a:spcBef>
                <a:spcAft>
                  <a:spcPct val="0"/>
                </a:spcAft>
                <a:tabLst>
                  <a:tab pos="1487158" algn="l"/>
                </a:tabLst>
                <a:defRPr b="1">
                  <a:ln w="3175">
                    <a:noFill/>
                  </a:ln>
                  <a:gradFill>
                    <a:gsLst>
                      <a:gs pos="92661">
                        <a:srgbClr val="FFFFFF"/>
                      </a:gs>
                      <a:gs pos="7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+mj-lt"/>
                  <a:cs typeface="Segoe UI" pitchFamily="34" charset="0"/>
                </a:defRPr>
              </a:lvl1pPr>
              <a:lvl2pPr marL="1638544" defTabSz="3277091">
                <a:defRPr sz="6326"/>
              </a:lvl2pPr>
              <a:lvl3pPr marL="3277091" defTabSz="3277091">
                <a:defRPr sz="6326"/>
              </a:lvl3pPr>
              <a:lvl4pPr marL="4915635" defTabSz="3277091">
                <a:defRPr sz="6326"/>
              </a:lvl4pPr>
              <a:lvl5pPr marL="6554183" defTabSz="3277091">
                <a:defRPr sz="6326"/>
              </a:lvl5pPr>
              <a:lvl6pPr marL="8192730" defTabSz="3277091">
                <a:defRPr sz="6326"/>
              </a:lvl6pPr>
              <a:lvl7pPr marL="9831274" defTabSz="3277091">
                <a:defRPr sz="6326"/>
              </a:lvl7pPr>
              <a:lvl8pPr marL="11469818" defTabSz="3277091">
                <a:defRPr sz="6326"/>
              </a:lvl8pPr>
              <a:lvl9pPr marL="13108369" defTabSz="3277091">
                <a:defRPr sz="6326"/>
              </a:lvl9pPr>
            </a:lstStyle>
            <a:p>
              <a:endParaRPr lang="en-US"/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23C11F0-20A6-C78E-1267-C17072990B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38981" y="4096216"/>
              <a:ext cx="727699" cy="727696"/>
            </a:xfrm>
            <a:prstGeom prst="rect">
              <a:avLst/>
            </a:prstGeom>
          </p:spPr>
        </p:pic>
      </p:grpSp>
      <p:grpSp>
        <p:nvGrpSpPr>
          <p:cNvPr id="10" name="Group 9" descr="Graphic: human icon with three agent icons under them.">
            <a:extLst>
              <a:ext uri="{FF2B5EF4-FFF2-40B4-BE49-F238E27FC236}">
                <a16:creationId xmlns:a16="http://schemas.microsoft.com/office/drawing/2014/main" id="{67745CDC-8BF9-73B3-20FC-6CC8165CE5FA}"/>
              </a:ext>
            </a:extLst>
          </p:cNvPr>
          <p:cNvGrpSpPr/>
          <p:nvPr/>
        </p:nvGrpSpPr>
        <p:grpSpPr>
          <a:xfrm>
            <a:off x="5188651" y="3263690"/>
            <a:ext cx="1814697" cy="1220407"/>
            <a:chOff x="7344888" y="3441838"/>
            <a:chExt cx="3363372" cy="2261910"/>
          </a:xfrm>
        </p:grpSpPr>
        <p:grpSp>
          <p:nvGrpSpPr>
            <p:cNvPr id="12" name="!!P1h">
              <a:extLst>
                <a:ext uri="{FF2B5EF4-FFF2-40B4-BE49-F238E27FC236}">
                  <a16:creationId xmlns:a16="http://schemas.microsoft.com/office/drawing/2014/main" id="{4A2FA757-94BB-7C3D-58A8-4509B4B3F927}"/>
                </a:ext>
              </a:extLst>
            </p:cNvPr>
            <p:cNvGrpSpPr/>
            <p:nvPr/>
          </p:nvGrpSpPr>
          <p:grpSpPr>
            <a:xfrm>
              <a:off x="8498167" y="3441838"/>
              <a:ext cx="1055717" cy="1055716"/>
              <a:chOff x="11946701" y="6275637"/>
              <a:chExt cx="3266116" cy="3266116"/>
            </a:xfrm>
          </p:grpSpPr>
          <p:sp>
            <p:nvSpPr>
              <p:cNvPr id="26" name="!!humancircle">
                <a:extLst>
                  <a:ext uri="{FF2B5EF4-FFF2-40B4-BE49-F238E27FC236}">
                    <a16:creationId xmlns:a16="http://schemas.microsoft.com/office/drawing/2014/main" id="{9BE7DACC-901A-3F0B-EFB8-7DBCDD8C837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6701" y="6275637"/>
                <a:ext cx="3266116" cy="3266116"/>
              </a:xfrm>
              <a:prstGeom prst="ellipse">
                <a:avLst/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</p:spPr>
            <p:txBody>
              <a:bodyPr wrap="none" lIns="137160" tIns="18288" rIns="137160" bIns="54864" rtlCol="0" anchor="ctr" anchorCtr="0">
                <a:spAutoFit/>
              </a:bodyPr>
              <a:lstStyle/>
              <a:p>
                <a:pPr algn="ctr" defTabSz="914437" fontAlgn="base">
                  <a:spcBef>
                    <a:spcPct val="0"/>
                  </a:spcBef>
                  <a:spcAft>
                    <a:spcPct val="0"/>
                  </a:spcAft>
                  <a:tabLst>
                    <a:tab pos="1487158" algn="l"/>
                  </a:tabLst>
                </a:pPr>
                <a:endParaRPr lang="en-CA" b="1">
                  <a:ln w="3175">
                    <a:noFill/>
                  </a:ln>
                  <a:gradFill>
                    <a:gsLst>
                      <a:gs pos="92661">
                        <a:srgbClr val="FFFFFF"/>
                      </a:gs>
                      <a:gs pos="78000">
                        <a:srgbClr val="FFFFFF"/>
                      </a:gs>
                    </a:gsLst>
                    <a:path path="circle">
                      <a:fillToRect l="100000" b="100000"/>
                    </a:path>
                  </a:gradFill>
                  <a:latin typeface="+mj-lt"/>
                  <a:cs typeface="Segoe UI" pitchFamily="34" charset="0"/>
                </a:endParaRPr>
              </a:p>
            </p:txBody>
          </p:sp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CE121C78-FF8B-8DB2-C4C7-D74CAD8F373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2733164" y="7062066"/>
                <a:ext cx="1693249" cy="1693249"/>
              </a:xfrm>
              <a:prstGeom prst="rect">
                <a:avLst/>
              </a:prstGeom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2600F84-E39E-8DA8-8FDA-9F63026CCAE1}"/>
                </a:ext>
              </a:extLst>
            </p:cNvPr>
            <p:cNvGrpSpPr/>
            <p:nvPr/>
          </p:nvGrpSpPr>
          <p:grpSpPr>
            <a:xfrm>
              <a:off x="7344888" y="4831254"/>
              <a:ext cx="872494" cy="872492"/>
              <a:chOff x="7364237" y="4949492"/>
              <a:chExt cx="872494" cy="872492"/>
            </a:xfrm>
          </p:grpSpPr>
          <p:sp>
            <p:nvSpPr>
              <p:cNvPr id="24" name="box 1">
                <a:extLst>
                  <a:ext uri="{FF2B5EF4-FFF2-40B4-BE49-F238E27FC236}">
                    <a16:creationId xmlns:a16="http://schemas.microsoft.com/office/drawing/2014/main" id="{9EDE4133-4EEE-A65B-D2E0-DFBED2D633C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7364237" y="4949492"/>
                <a:ext cx="872494" cy="872492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</p:spPr>
            <p:txBody>
              <a:bodyPr wrap="square" lIns="137160" tIns="18288" rIns="137160" bIns="54864" rtlCol="0" anchor="ctr" anchorCtr="0">
                <a:spAutoFit/>
              </a:bodyPr>
              <a:lstStyle>
                <a:defPPr>
                  <a:defRPr lang="en-US"/>
                </a:defPPr>
                <a:lvl1pPr algn="ctr" defTabSz="914437" fontAlgn="base">
                  <a:spcBef>
                    <a:spcPct val="0"/>
                  </a:spcBef>
                  <a:spcAft>
                    <a:spcPct val="0"/>
                  </a:spcAft>
                  <a:tabLst>
                    <a:tab pos="1487158" algn="l"/>
                  </a:tabLst>
                  <a:defRPr b="1">
                    <a:ln w="3175">
                      <a:noFill/>
                    </a:ln>
                    <a:gradFill>
                      <a:gsLst>
                        <a:gs pos="92661">
                          <a:srgbClr val="FFFFFF"/>
                        </a:gs>
                        <a:gs pos="7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+mj-lt"/>
                    <a:cs typeface="Segoe UI" pitchFamily="34" charset="0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948873D0-7154-41A1-FE47-E73AB99EF73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499784" y="5085036"/>
                <a:ext cx="601403" cy="601401"/>
              </a:xfrm>
              <a:prstGeom prst="rect">
                <a:avLst/>
              </a:prstGeom>
            </p:spPr>
          </p:pic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8E44A4D-B3CA-03BF-89D0-4EF59A4D552B}"/>
                </a:ext>
              </a:extLst>
            </p:cNvPr>
            <p:cNvGrpSpPr/>
            <p:nvPr/>
          </p:nvGrpSpPr>
          <p:grpSpPr>
            <a:xfrm>
              <a:off x="8590328" y="4831253"/>
              <a:ext cx="872494" cy="872492"/>
              <a:chOff x="8586814" y="4949491"/>
              <a:chExt cx="872494" cy="872492"/>
            </a:xfrm>
          </p:grpSpPr>
          <p:sp>
            <p:nvSpPr>
              <p:cNvPr id="22" name="box 1">
                <a:extLst>
                  <a:ext uri="{FF2B5EF4-FFF2-40B4-BE49-F238E27FC236}">
                    <a16:creationId xmlns:a16="http://schemas.microsoft.com/office/drawing/2014/main" id="{58DE8576-2FD1-584F-FAC8-151A80B72F0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8586814" y="4949491"/>
                <a:ext cx="872494" cy="872492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</p:spPr>
            <p:txBody>
              <a:bodyPr wrap="square" lIns="137160" tIns="18288" rIns="137160" bIns="54864" rtlCol="0" anchor="ctr" anchorCtr="0">
                <a:spAutoFit/>
              </a:bodyPr>
              <a:lstStyle>
                <a:defPPr>
                  <a:defRPr lang="en-US"/>
                </a:defPPr>
                <a:lvl1pPr algn="ctr" defTabSz="914437" fontAlgn="base">
                  <a:spcBef>
                    <a:spcPct val="0"/>
                  </a:spcBef>
                  <a:spcAft>
                    <a:spcPct val="0"/>
                  </a:spcAft>
                  <a:tabLst>
                    <a:tab pos="1487158" algn="l"/>
                  </a:tabLst>
                  <a:defRPr b="1">
                    <a:ln w="3175">
                      <a:noFill/>
                    </a:ln>
                    <a:gradFill>
                      <a:gsLst>
                        <a:gs pos="92661">
                          <a:srgbClr val="FFFFFF"/>
                        </a:gs>
                        <a:gs pos="7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+mj-lt"/>
                    <a:cs typeface="Segoe UI" pitchFamily="34" charset="0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id="{04674BD4-8237-E48E-B086-9F55C139F4B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8722359" y="5085035"/>
                <a:ext cx="601403" cy="601401"/>
              </a:xfrm>
              <a:prstGeom prst="rect">
                <a:avLst/>
              </a:prstGeom>
            </p:spPr>
          </p:pic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CD201D0-EA83-82CB-3793-85B4305E7177}"/>
                </a:ext>
              </a:extLst>
            </p:cNvPr>
            <p:cNvGrpSpPr/>
            <p:nvPr/>
          </p:nvGrpSpPr>
          <p:grpSpPr>
            <a:xfrm>
              <a:off x="9835766" y="4831256"/>
              <a:ext cx="872494" cy="872492"/>
              <a:chOff x="9813671" y="4949495"/>
              <a:chExt cx="872494" cy="872492"/>
            </a:xfrm>
          </p:grpSpPr>
          <p:sp>
            <p:nvSpPr>
              <p:cNvPr id="20" name="box 1">
                <a:extLst>
                  <a:ext uri="{FF2B5EF4-FFF2-40B4-BE49-F238E27FC236}">
                    <a16:creationId xmlns:a16="http://schemas.microsoft.com/office/drawing/2014/main" id="{D6679EAE-95FB-670A-F081-01AA1340D7E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9813671" y="4949495"/>
                <a:ext cx="872494" cy="872492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</p:spPr>
            <p:txBody>
              <a:bodyPr wrap="square" lIns="137160" tIns="18288" rIns="137160" bIns="54864" rtlCol="0" anchor="ctr" anchorCtr="0">
                <a:spAutoFit/>
              </a:bodyPr>
              <a:lstStyle>
                <a:defPPr>
                  <a:defRPr lang="en-US"/>
                </a:defPPr>
                <a:lvl1pPr algn="ctr" defTabSz="914437" fontAlgn="base">
                  <a:spcBef>
                    <a:spcPct val="0"/>
                  </a:spcBef>
                  <a:spcAft>
                    <a:spcPct val="0"/>
                  </a:spcAft>
                  <a:tabLst>
                    <a:tab pos="1487158" algn="l"/>
                  </a:tabLst>
                  <a:defRPr b="1">
                    <a:ln w="3175">
                      <a:noFill/>
                    </a:ln>
                    <a:gradFill>
                      <a:gsLst>
                        <a:gs pos="92661">
                          <a:srgbClr val="FFFFFF"/>
                        </a:gs>
                        <a:gs pos="78000">
                          <a:srgbClr val="FFFFFF"/>
                        </a:gs>
                      </a:gsLst>
                      <a:path path="circle">
                        <a:fillToRect l="100000" b="100000"/>
                      </a:path>
                    </a:gradFill>
                    <a:latin typeface="+mj-lt"/>
                    <a:cs typeface="Segoe UI" pitchFamily="34" charset="0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764B7B01-B3C7-AEE8-3865-029C566E046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949218" y="5085040"/>
                <a:ext cx="601403" cy="601401"/>
              </a:xfrm>
              <a:prstGeom prst="rect">
                <a:avLst/>
              </a:prstGeom>
            </p:spPr>
          </p:pic>
        </p:grpSp>
      </p:grpSp>
      <p:grpSp>
        <p:nvGrpSpPr>
          <p:cNvPr id="28" name="Group 27" descr="Graphic: two human icons with three agent icons to the right of them.">
            <a:extLst>
              <a:ext uri="{FF2B5EF4-FFF2-40B4-BE49-F238E27FC236}">
                <a16:creationId xmlns:a16="http://schemas.microsoft.com/office/drawing/2014/main" id="{3D19A250-CA70-760D-7C73-CE8589BE3C8E}"/>
              </a:ext>
            </a:extLst>
          </p:cNvPr>
          <p:cNvGrpSpPr/>
          <p:nvPr/>
        </p:nvGrpSpPr>
        <p:grpSpPr>
          <a:xfrm>
            <a:off x="8312707" y="3290580"/>
            <a:ext cx="2503790" cy="1166627"/>
            <a:chOff x="13590003" y="3613547"/>
            <a:chExt cx="3029586" cy="1411619"/>
          </a:xfrm>
          <a:effectLst/>
        </p:grpSpPr>
        <p:sp>
          <p:nvSpPr>
            <p:cNvPr id="29" name="!!humancircle">
              <a:extLst>
                <a:ext uri="{FF2B5EF4-FFF2-40B4-BE49-F238E27FC236}">
                  <a16:creationId xmlns:a16="http://schemas.microsoft.com/office/drawing/2014/main" id="{928838F4-E807-7EB6-B494-4F0CAA4313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590003" y="3613547"/>
              <a:ext cx="629514" cy="629514"/>
            </a:xfrm>
            <a:prstGeom prst="ellipse">
              <a:avLst/>
            </a:prstGeom>
            <a:gradFill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</a:gradFill>
            <a:effectLst/>
          </p:spPr>
          <p:txBody>
            <a:bodyPr wrap="square" lIns="2419200" tIns="0" rIns="0" bIns="0" rtlCol="0" anchor="ctr" anchorCtr="0">
              <a:noAutofit/>
            </a:bodyPr>
            <a:lstStyle/>
            <a:p>
              <a:pPr defTabSz="3277091"/>
              <a:endParaRPr lang="en-CA" sz="6000" err="1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30" name="!!humancircle2">
              <a:extLst>
                <a:ext uri="{FF2B5EF4-FFF2-40B4-BE49-F238E27FC236}">
                  <a16:creationId xmlns:a16="http://schemas.microsoft.com/office/drawing/2014/main" id="{FA9B72BE-4F73-B382-434F-378C228AE9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590003" y="4395652"/>
              <a:ext cx="629514" cy="629514"/>
            </a:xfrm>
            <a:prstGeom prst="ellipse">
              <a:avLst/>
            </a:prstGeom>
            <a:gradFill>
              <a:gsLst>
                <a:gs pos="0">
                  <a:srgbClr val="0A6BBA"/>
                </a:gs>
                <a:gs pos="80000">
                  <a:srgbClr val="318581"/>
                </a:gs>
              </a:gsLst>
              <a:path path="circle">
                <a:fillToRect l="100000" t="100000"/>
              </a:path>
            </a:gradFill>
            <a:effectLst/>
          </p:spPr>
          <p:txBody>
            <a:bodyPr wrap="square" lIns="2419200" tIns="0" rIns="0" bIns="0" rtlCol="0" anchor="ctr" anchorCtr="0">
              <a:noAutofit/>
            </a:bodyPr>
            <a:lstStyle/>
            <a:p>
              <a:pPr defTabSz="3277091"/>
              <a:endParaRPr lang="en-CA" sz="6000" err="1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DB64A42-930B-6455-340F-577BD9A3E8F0}"/>
                </a:ext>
              </a:extLst>
            </p:cNvPr>
            <p:cNvGrpSpPr/>
            <p:nvPr/>
          </p:nvGrpSpPr>
          <p:grpSpPr>
            <a:xfrm>
              <a:off x="14415663" y="3633185"/>
              <a:ext cx="586522" cy="585438"/>
              <a:chOff x="9983670" y="4634095"/>
              <a:chExt cx="882508" cy="880878"/>
            </a:xfrm>
          </p:grpSpPr>
          <p:sp>
            <p:nvSpPr>
              <p:cNvPr id="59" name="box 1">
                <a:extLst>
                  <a:ext uri="{FF2B5EF4-FFF2-40B4-BE49-F238E27FC236}">
                    <a16:creationId xmlns:a16="http://schemas.microsoft.com/office/drawing/2014/main" id="{A3DE3E61-F0E5-D597-98AA-E650C9202E5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9983670" y="4634095"/>
                <a:ext cx="882508" cy="880878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  <a:effectLst/>
            </p:spPr>
            <p:txBody>
              <a:bodyPr wrap="square" lIns="2419200" tIns="0" rIns="0" bIns="0" rtlCol="0" anchor="ctr" anchorCtr="0">
                <a:noAutofit/>
              </a:bodyPr>
              <a:lstStyle>
                <a:defPPr>
                  <a:defRPr lang="en-US"/>
                </a:defPPr>
                <a:lvl1pPr marR="0" lvl="0" indent="0" defTabSz="3277091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0" b="0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60" name="Graphic 59">
                <a:extLst>
                  <a:ext uri="{FF2B5EF4-FFF2-40B4-BE49-F238E27FC236}">
                    <a16:creationId xmlns:a16="http://schemas.microsoft.com/office/drawing/2014/main" id="{FE724ED7-B645-7C89-A831-E8D5DCA3D6C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128250" y="4803016"/>
                <a:ext cx="593347" cy="593346"/>
              </a:xfrm>
              <a:prstGeom prst="rect">
                <a:avLst/>
              </a:prstGeom>
            </p:spPr>
          </p:pic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B2E0BF8-7DBE-568B-8952-C932DDB65BB6}"/>
                </a:ext>
              </a:extLst>
            </p:cNvPr>
            <p:cNvGrpSpPr/>
            <p:nvPr/>
          </p:nvGrpSpPr>
          <p:grpSpPr>
            <a:xfrm>
              <a:off x="15219828" y="3633185"/>
              <a:ext cx="586522" cy="585438"/>
              <a:chOff x="9983670" y="4634095"/>
              <a:chExt cx="882508" cy="880878"/>
            </a:xfrm>
          </p:grpSpPr>
          <p:sp>
            <p:nvSpPr>
              <p:cNvPr id="57" name="box 1">
                <a:extLst>
                  <a:ext uri="{FF2B5EF4-FFF2-40B4-BE49-F238E27FC236}">
                    <a16:creationId xmlns:a16="http://schemas.microsoft.com/office/drawing/2014/main" id="{168B814A-FF5B-673E-596D-7EDCEDCEE28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9983670" y="4634095"/>
                <a:ext cx="882508" cy="880878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  <a:effectLst/>
            </p:spPr>
            <p:txBody>
              <a:bodyPr wrap="square" lIns="2419200" tIns="0" rIns="0" bIns="0" rtlCol="0" anchor="ctr" anchorCtr="0">
                <a:noAutofit/>
              </a:bodyPr>
              <a:lstStyle>
                <a:defPPr>
                  <a:defRPr lang="en-US"/>
                </a:defPPr>
                <a:lvl1pPr marR="0" lvl="0" indent="0" defTabSz="3277091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0" b="0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 sz="6600"/>
              </a:p>
            </p:txBody>
          </p:sp>
          <p:pic>
            <p:nvPicPr>
              <p:cNvPr id="58" name="Graphic 57">
                <a:extLst>
                  <a:ext uri="{FF2B5EF4-FFF2-40B4-BE49-F238E27FC236}">
                    <a16:creationId xmlns:a16="http://schemas.microsoft.com/office/drawing/2014/main" id="{5180D79C-A3FF-623D-2574-90CA1C384CF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128250" y="4803016"/>
                <a:ext cx="593347" cy="593346"/>
              </a:xfrm>
              <a:prstGeom prst="rect">
                <a:avLst/>
              </a:prstGeom>
            </p:spPr>
          </p:pic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244272D-6495-86EC-EAB2-D98FD6CAEFA0}"/>
                </a:ext>
              </a:extLst>
            </p:cNvPr>
            <p:cNvGrpSpPr/>
            <p:nvPr/>
          </p:nvGrpSpPr>
          <p:grpSpPr>
            <a:xfrm>
              <a:off x="16033067" y="3633185"/>
              <a:ext cx="586522" cy="585438"/>
              <a:chOff x="9983670" y="4634095"/>
              <a:chExt cx="882508" cy="880878"/>
            </a:xfrm>
          </p:grpSpPr>
          <p:sp>
            <p:nvSpPr>
              <p:cNvPr id="50" name="box 1">
                <a:extLst>
                  <a:ext uri="{FF2B5EF4-FFF2-40B4-BE49-F238E27FC236}">
                    <a16:creationId xmlns:a16="http://schemas.microsoft.com/office/drawing/2014/main" id="{6E0B2535-EE3F-33C3-ED8F-2D2D5172DA8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9983670" y="4634095"/>
                <a:ext cx="882508" cy="880878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  <a:effectLst/>
            </p:spPr>
            <p:txBody>
              <a:bodyPr wrap="square" lIns="2419200" tIns="0" rIns="0" bIns="0" rtlCol="0" anchor="ctr" anchorCtr="0">
                <a:noAutofit/>
              </a:bodyPr>
              <a:lstStyle>
                <a:defPPr>
                  <a:defRPr lang="en-US"/>
                </a:defPPr>
                <a:lvl1pPr marR="0" lvl="0" indent="0" defTabSz="3277091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0" b="0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56" name="Graphic 55">
                <a:extLst>
                  <a:ext uri="{FF2B5EF4-FFF2-40B4-BE49-F238E27FC236}">
                    <a16:creationId xmlns:a16="http://schemas.microsoft.com/office/drawing/2014/main" id="{6B0D844B-63D6-498D-98D6-A91F969C8AF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128250" y="4803016"/>
                <a:ext cx="593347" cy="593346"/>
              </a:xfrm>
              <a:prstGeom prst="rect">
                <a:avLst/>
              </a:prstGeom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BA5F942-40CA-EF3A-C770-46D4F6460AFA}"/>
                </a:ext>
              </a:extLst>
            </p:cNvPr>
            <p:cNvGrpSpPr/>
            <p:nvPr/>
          </p:nvGrpSpPr>
          <p:grpSpPr>
            <a:xfrm>
              <a:off x="14415663" y="4426780"/>
              <a:ext cx="586522" cy="585438"/>
              <a:chOff x="9983670" y="4634095"/>
              <a:chExt cx="882508" cy="880878"/>
            </a:xfrm>
          </p:grpSpPr>
          <p:sp>
            <p:nvSpPr>
              <p:cNvPr id="48" name="box 1">
                <a:extLst>
                  <a:ext uri="{FF2B5EF4-FFF2-40B4-BE49-F238E27FC236}">
                    <a16:creationId xmlns:a16="http://schemas.microsoft.com/office/drawing/2014/main" id="{48B96F19-27E5-2298-7060-9B8F6668214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9983670" y="4634095"/>
                <a:ext cx="882508" cy="880878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  <a:effectLst/>
            </p:spPr>
            <p:txBody>
              <a:bodyPr wrap="square" lIns="2419200" tIns="0" rIns="0" bIns="0" rtlCol="0" anchor="ctr" anchorCtr="0">
                <a:noAutofit/>
              </a:bodyPr>
              <a:lstStyle>
                <a:defPPr>
                  <a:defRPr lang="en-US"/>
                </a:defPPr>
                <a:lvl1pPr marR="0" lvl="0" indent="0" defTabSz="3277091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0" b="0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49" name="Graphic 48">
                <a:extLst>
                  <a:ext uri="{FF2B5EF4-FFF2-40B4-BE49-F238E27FC236}">
                    <a16:creationId xmlns:a16="http://schemas.microsoft.com/office/drawing/2014/main" id="{A1E79369-4AD9-D84F-0BF5-8E5F38A89A3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128250" y="4803016"/>
                <a:ext cx="593347" cy="593346"/>
              </a:xfrm>
              <a:prstGeom prst="rect">
                <a:avLst/>
              </a:prstGeom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5005BCF-BCF7-4DEF-1BD8-AE9382FC4FFA}"/>
                </a:ext>
              </a:extLst>
            </p:cNvPr>
            <p:cNvGrpSpPr/>
            <p:nvPr/>
          </p:nvGrpSpPr>
          <p:grpSpPr>
            <a:xfrm>
              <a:off x="15219828" y="4426780"/>
              <a:ext cx="586522" cy="585438"/>
              <a:chOff x="9983670" y="4634095"/>
              <a:chExt cx="882508" cy="880878"/>
            </a:xfrm>
          </p:grpSpPr>
          <p:sp>
            <p:nvSpPr>
              <p:cNvPr id="46" name="box 1">
                <a:extLst>
                  <a:ext uri="{FF2B5EF4-FFF2-40B4-BE49-F238E27FC236}">
                    <a16:creationId xmlns:a16="http://schemas.microsoft.com/office/drawing/2014/main" id="{A4F5C63E-3021-40C3-83C9-BDAE0B13482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9983670" y="4634095"/>
                <a:ext cx="882508" cy="880878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  <a:effectLst/>
            </p:spPr>
            <p:txBody>
              <a:bodyPr wrap="square" lIns="2419200" tIns="0" rIns="0" bIns="0" rtlCol="0" anchor="ctr" anchorCtr="0">
                <a:noAutofit/>
              </a:bodyPr>
              <a:lstStyle>
                <a:defPPr>
                  <a:defRPr lang="en-US"/>
                </a:defPPr>
                <a:lvl1pPr marR="0" lvl="0" indent="0" defTabSz="3277091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0" b="0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47" name="Graphic 46">
                <a:extLst>
                  <a:ext uri="{FF2B5EF4-FFF2-40B4-BE49-F238E27FC236}">
                    <a16:creationId xmlns:a16="http://schemas.microsoft.com/office/drawing/2014/main" id="{C6F8630C-D314-726F-EA35-B3FE88202FD6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128250" y="4803016"/>
                <a:ext cx="593347" cy="593346"/>
              </a:xfrm>
              <a:prstGeom prst="rect">
                <a:avLst/>
              </a:prstGeom>
            </p:spPr>
          </p:pic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9910455-292E-4A72-0A7C-49BA7F399DD1}"/>
                </a:ext>
              </a:extLst>
            </p:cNvPr>
            <p:cNvGrpSpPr/>
            <p:nvPr/>
          </p:nvGrpSpPr>
          <p:grpSpPr>
            <a:xfrm>
              <a:off x="16033067" y="4426780"/>
              <a:ext cx="586522" cy="585438"/>
              <a:chOff x="9983670" y="4634095"/>
              <a:chExt cx="882508" cy="880878"/>
            </a:xfrm>
          </p:grpSpPr>
          <p:sp>
            <p:nvSpPr>
              <p:cNvPr id="39" name="box 1">
                <a:extLst>
                  <a:ext uri="{FF2B5EF4-FFF2-40B4-BE49-F238E27FC236}">
                    <a16:creationId xmlns:a16="http://schemas.microsoft.com/office/drawing/2014/main" id="{BD6A8D51-4A9B-9A64-D64C-34FAD99390D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 txBox="1"/>
              <p:nvPr/>
            </p:nvSpPr>
            <p:spPr>
              <a:xfrm>
                <a:off x="9983670" y="4634095"/>
                <a:ext cx="882508" cy="880878"/>
              </a:xfrm>
              <a:prstGeom prst="roundRect">
                <a:avLst>
                  <a:gd name="adj" fmla="val 15769"/>
                </a:avLst>
              </a:prstGeom>
              <a:gradFill>
                <a:gsLst>
                  <a:gs pos="0">
                    <a:srgbClr val="0A6BBA"/>
                  </a:gs>
                  <a:gs pos="80000">
                    <a:srgbClr val="318581"/>
                  </a:gs>
                </a:gsLst>
                <a:path path="circle">
                  <a:fillToRect l="100000" t="100000"/>
                </a:path>
              </a:gradFill>
              <a:effectLst/>
            </p:spPr>
            <p:txBody>
              <a:bodyPr wrap="square" lIns="2419200" tIns="0" rIns="0" bIns="0" rtlCol="0" anchor="ctr" anchorCtr="0">
                <a:noAutofit/>
              </a:bodyPr>
              <a:lstStyle>
                <a:defPPr>
                  <a:defRPr lang="en-US"/>
                </a:defPPr>
                <a:lvl1pPr marR="0" lvl="0" indent="0" defTabSz="3277091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0" b="0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</a:defRPr>
                </a:lvl1pPr>
                <a:lvl2pPr marL="1638544" defTabSz="3277091">
                  <a:defRPr sz="6326"/>
                </a:lvl2pPr>
                <a:lvl3pPr marL="3277091" defTabSz="3277091">
                  <a:defRPr sz="6326"/>
                </a:lvl3pPr>
                <a:lvl4pPr marL="4915635" defTabSz="3277091">
                  <a:defRPr sz="6326"/>
                </a:lvl4pPr>
                <a:lvl5pPr marL="6554183" defTabSz="3277091">
                  <a:defRPr sz="6326"/>
                </a:lvl5pPr>
                <a:lvl6pPr marL="8192730" defTabSz="3277091">
                  <a:defRPr sz="6326"/>
                </a:lvl6pPr>
                <a:lvl7pPr marL="9831274" defTabSz="3277091">
                  <a:defRPr sz="6326"/>
                </a:lvl7pPr>
                <a:lvl8pPr marL="11469818" defTabSz="3277091">
                  <a:defRPr sz="6326"/>
                </a:lvl8pPr>
                <a:lvl9pPr marL="13108369" defTabSz="3277091">
                  <a:defRPr sz="6326"/>
                </a:lvl9pPr>
              </a:lstStyle>
              <a:p>
                <a:endParaRPr lang="en-US"/>
              </a:p>
            </p:txBody>
          </p:sp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01F61534-9118-56CA-9145-D844CA7B00D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128250" y="4803016"/>
                <a:ext cx="593347" cy="593346"/>
              </a:xfrm>
              <a:prstGeom prst="rect">
                <a:avLst/>
              </a:prstGeom>
            </p:spPr>
          </p:pic>
        </p:grp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8E2A8E8C-8D3D-A530-ECEB-ABBE6976EA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741184" y="3764728"/>
              <a:ext cx="327153" cy="327153"/>
            </a:xfrm>
            <a:prstGeom prst="rect">
              <a:avLst/>
            </a:prstGeom>
          </p:spPr>
        </p:pic>
        <p:pic>
          <p:nvPicPr>
            <p:cNvPr id="38" name="!!human2">
              <a:extLst>
                <a:ext uri="{FF2B5EF4-FFF2-40B4-BE49-F238E27FC236}">
                  <a16:creationId xmlns:a16="http://schemas.microsoft.com/office/drawing/2014/main" id="{7A184B18-7875-585C-74A9-CFF8E4C313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741184" y="4546833"/>
              <a:ext cx="327153" cy="3271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75394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4" grpId="0" animBg="1"/>
      <p:bldP spid="15" grpId="0"/>
      <p:bldP spid="19" grpId="0"/>
      <p:bldP spid="40" grpId="0" animBg="1"/>
      <p:bldP spid="42" grpId="0" animBg="1"/>
      <p:bldP spid="43" grpId="0"/>
      <p:bldP spid="44" grpId="0"/>
      <p:bldP spid="51" grpId="0" animBg="1"/>
      <p:bldP spid="53" grpId="0" animBg="1"/>
      <p:bldP spid="54" grpId="0"/>
      <p:bldP spid="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9EEA8B29-4DC5-032E-151F-52AA6DE794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05D90822-4283-9C35-DC2C-FF79EA4D9E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8263" y="-702373"/>
            <a:ext cx="11018520" cy="43088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50" normalizeH="0" baseline="0" noProof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he emerging Frontier Firm: Human with assista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9B0A6-1662-EAB5-39BE-77D355F2A950}"/>
              </a:ext>
            </a:extLst>
          </p:cNvPr>
          <p:cNvSpPr>
            <a:spLocks/>
          </p:cNvSpPr>
          <p:nvPr/>
        </p:nvSpPr>
        <p:spPr>
          <a:xfrm>
            <a:off x="588263" y="1209554"/>
            <a:ext cx="11018520" cy="5539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he emerging Frontier Fir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ADC4C3-BA1B-4E08-B29E-397002C3E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87266" y="2853640"/>
            <a:ext cx="3111258" cy="1762193"/>
          </a:xfrm>
          <a:prstGeom prst="roundRect">
            <a:avLst>
              <a:gd name="adj" fmla="val 21112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" name="Rectangle: Rounded Corners 7">
            <a:extLst>
              <a:ext uri="{FF2B5EF4-FFF2-40B4-BE49-F238E27FC236}">
                <a16:creationId xmlns:a16="http://schemas.microsoft.com/office/drawing/2014/main" id="{DC0B840E-7D9F-8468-8144-726AA016D8A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spect="1"/>
          </p:cNvSpPr>
          <p:nvPr/>
        </p:nvSpPr>
        <p:spPr bwMode="auto">
          <a:xfrm>
            <a:off x="2359613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1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6143519-BEA0-8A49-60FF-0AAE864EE085}"/>
              </a:ext>
            </a:extLst>
          </p:cNvPr>
          <p:cNvSpPr txBox="1">
            <a:spLocks/>
          </p:cNvSpPr>
          <p:nvPr/>
        </p:nvSpPr>
        <p:spPr>
          <a:xfrm>
            <a:off x="1204398" y="3342388"/>
            <a:ext cx="2876992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2899785" rtl="0" eaLnBrk="1" fontAlgn="base" latinLnBrk="0" hangingPunct="1">
              <a:lnSpc>
                <a:spcPct val="100000"/>
              </a:lnSpc>
              <a:spcBef>
                <a:spcPts val="1205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  <a:t>Human</a:t>
            </a:r>
            <a:b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</a:b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Sans Text Light" pitchFamily="2" charset="0"/>
              </a:rPr>
              <a:t>with assista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7EF8F6-31E2-3932-47BF-D7BEECCD0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540372" y="2853640"/>
            <a:ext cx="3111258" cy="1762193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7" name="Rectangle: Rounded Corners 7">
            <a:extLst>
              <a:ext uri="{FF2B5EF4-FFF2-40B4-BE49-F238E27FC236}">
                <a16:creationId xmlns:a16="http://schemas.microsoft.com/office/drawing/2014/main" id="{287B3483-9E49-825E-22F3-8557D351D9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5812719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4D5AA5B-4001-A61D-DD4D-F35442FE9D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657504" y="3342388"/>
            <a:ext cx="2876992" cy="830997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Human-led</a:t>
            </a:r>
            <a:b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ag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136E84C-C8EA-F6F7-3147-7B054D99A8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7993476" y="2853640"/>
            <a:ext cx="3111258" cy="1762193"/>
          </a:xfrm>
          <a:prstGeom prst="roundRect">
            <a:avLst>
              <a:gd name="adj" fmla="val 21769"/>
            </a:avLst>
          </a:prstGeom>
          <a:solidFill>
            <a:srgbClr val="2C302F"/>
          </a:solidFill>
        </p:spPr>
        <p:txBody>
          <a:bodyPr wrap="square" lIns="180000" tIns="324000" rIns="180000" bIns="0" rtlCol="0" anchor="t" anchorCtr="0">
            <a:noAutofit/>
          </a:bodyPr>
          <a:lstStyle>
            <a:defPPr>
              <a:defRPr lang="en-US"/>
            </a:defPPr>
            <a:lvl1pPr algn="ctr" defTabSz="2275850" fontAlgn="base">
              <a:spcBef>
                <a:spcPts val="200"/>
              </a:spcBef>
              <a:spcAft>
                <a:spcPct val="0"/>
              </a:spcAft>
              <a:tabLst>
                <a:tab pos="3701239" algn="l"/>
              </a:tabLst>
              <a:defRPr sz="1600" b="0">
                <a:ln w="3175">
                  <a:noFill/>
                </a:ln>
                <a:cs typeface="Segoe Sans Display" pitchFamily="2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2" name="Rectangle: Rounded Corners 7">
            <a:extLst>
              <a:ext uri="{FF2B5EF4-FFF2-40B4-BE49-F238E27FC236}">
                <a16:creationId xmlns:a16="http://schemas.microsoft.com/office/drawing/2014/main" id="{AE18F7F3-351C-FDD1-872D-D88D6D487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9265823" y="2566264"/>
            <a:ext cx="566562" cy="565856"/>
          </a:xfrm>
          <a:prstGeom prst="ellipse">
            <a:avLst/>
          </a:prstGeom>
          <a:gradFill flip="none" rotWithShape="1">
            <a:gsLst>
              <a:gs pos="0">
                <a:srgbClr val="0A6BBA"/>
              </a:gs>
              <a:gs pos="80000">
                <a:srgbClr val="318581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91440" tIns="18288" rIns="91440" bIns="36576" rtlCol="0" anchor="ctr" anchorCtr="0">
            <a:noAutofit/>
          </a:bodyPr>
          <a:lstStyle>
            <a:defPPr>
              <a:defRPr lang="en-US"/>
            </a:defPPr>
            <a:lvl1pPr marL="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814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62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40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252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4066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52877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11691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0503" algn="l" defTabSz="717626" rtl="0" eaLnBrk="1" latinLnBrk="0" hangingPunct="1">
              <a:defRPr sz="14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37" fontAlgn="base">
              <a:spcBef>
                <a:spcPct val="0"/>
              </a:spcBef>
              <a:spcAft>
                <a:spcPct val="0"/>
              </a:spcAft>
              <a:tabLst>
                <a:tab pos="1487158" algn="l"/>
              </a:tabLst>
              <a:defRPr/>
            </a:pPr>
            <a:r>
              <a:rPr lang="en-US" sz="2400" b="1">
                <a:ln w="3175">
                  <a:noFill/>
                </a:ln>
                <a:gradFill>
                  <a:gsLst>
                    <a:gs pos="92661">
                      <a:srgbClr val="FFFFFF"/>
                    </a:gs>
                    <a:gs pos="78000">
                      <a:srgbClr val="FFFFFF"/>
                    </a:gs>
                  </a:gsLst>
                  <a:path path="circle">
                    <a:fillToRect l="100000" b="100000"/>
                  </a:path>
                </a:gradFill>
                <a:latin typeface="+mj-lt"/>
                <a:cs typeface="Segoe UI" pitchFamily="34" charset="0"/>
              </a:rPr>
              <a:t>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F777D4D-DB5D-1A25-1409-64D4B3BE1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110608" y="3342388"/>
            <a:ext cx="2876992" cy="830997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 defTabSz="2899785" fontAlgn="base"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Human-led,</a:t>
            </a:r>
            <a:b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</a:br>
            <a:r>
              <a:rPr lang="en-US" sz="2400">
                <a:ln w="3175">
                  <a:noFill/>
                </a:ln>
                <a:latin typeface="+mj-lt"/>
                <a:cs typeface="Segoe Sans Text Light" pitchFamily="2" charset="0"/>
              </a:rPr>
              <a:t>agent-operated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96F41B2-703E-7C0A-37B0-2861248BF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315656" y="2356494"/>
            <a:ext cx="7131706" cy="2555112"/>
          </a:xfrm>
          <a:prstGeom prst="rect">
            <a:avLst/>
          </a:prstGeom>
          <a:solidFill>
            <a:srgbClr val="111010">
              <a:alpha val="7903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8114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6">
            <a:extLst>
              <a:ext uri="{FF2B5EF4-FFF2-40B4-BE49-F238E27FC236}">
                <a16:creationId xmlns:a16="http://schemas.microsoft.com/office/drawing/2014/main" id="{4D235B19-F514-D67A-9BF8-A10F9B7039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72337" y="-946404"/>
            <a:ext cx="11647326" cy="8750808"/>
          </a:xfrm>
          <a:prstGeom prst="ellipse">
            <a:avLst/>
          </a:prstGeom>
          <a:solidFill>
            <a:srgbClr val="1F3353">
              <a:alpha val="50000"/>
            </a:srgbClr>
          </a:solidFill>
          <a:ln>
            <a:noFill/>
            <a:headEnd type="none" w="med" len="med"/>
            <a:tailEnd type="none" w="med" len="med"/>
          </a:ln>
          <a:effectLst>
            <a:softEdge rad="9525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321502" fontAlgn="base">
              <a:spcBef>
                <a:spcPct val="0"/>
              </a:spcBef>
              <a:spcAft>
                <a:spcPts val="2987"/>
              </a:spcAft>
            </a:pPr>
            <a:endParaRPr lang="en-US" sz="1600" b="1" err="1">
              <a:ln w="3175">
                <a:noFill/>
              </a:ln>
              <a:gradFill>
                <a:gsLst>
                  <a:gs pos="95413">
                    <a:srgbClr val="FFFFFF"/>
                  </a:gs>
                  <a:gs pos="83486">
                    <a:srgbClr val="FFFFFF"/>
                  </a:gs>
                </a:gsLst>
              </a:gradFill>
              <a:latin typeface="Segoe UI Semibold" panose="020B0502040204020203" pitchFamily="34" charset="0"/>
              <a:cs typeface="Segoe UI" pitchFamily="34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A4866663-3821-B7AF-ABCB-8B63E7235F4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35098" y="2572731"/>
            <a:ext cx="8321804" cy="156966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8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Employees are interrupted </a:t>
            </a:r>
            <a:br>
              <a:rPr kumimoji="0" lang="en-CA" sz="4800" b="0" i="0" u="none" strike="noStrike" kern="1200" cap="none" spc="-50" normalizeH="0" baseline="0" noProof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</a:br>
            <a:r>
              <a:rPr kumimoji="0" lang="en-CA" sz="4800" b="1" i="0" u="none" strike="noStrike" kern="1200" cap="none" spc="-50" normalizeH="0" baseline="0" noProof="0">
                <a:ln w="3175">
                  <a:noFill/>
                </a:ln>
                <a:gradFill flip="none" rotWithShape="1">
                  <a:gsLst>
                    <a:gs pos="98000">
                      <a:srgbClr val="41AFA1"/>
                    </a:gs>
                    <a:gs pos="0">
                      <a:srgbClr val="46A0DE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every 2 minu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29CE4E-054C-B319-9C02-6B521D540CC2}"/>
              </a:ext>
            </a:extLst>
          </p:cNvPr>
          <p:cNvSpPr txBox="1"/>
          <p:nvPr/>
        </p:nvSpPr>
        <p:spPr>
          <a:xfrm>
            <a:off x="4191000" y="5989868"/>
            <a:ext cx="3810000" cy="2585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 defTabSz="2899785" fontAlgn="base">
              <a:lnSpc>
                <a:spcPct val="90000"/>
              </a:lnSpc>
              <a:spcBef>
                <a:spcPts val="1205"/>
              </a:spcBef>
              <a:spcAft>
                <a:spcPct val="0"/>
              </a:spcAft>
              <a:buSzPct val="90000"/>
              <a:defRPr/>
            </a:pPr>
            <a:r>
              <a:rPr lang="en-US" sz="1200">
                <a:ln w="3175">
                  <a:noFill/>
                </a:ln>
                <a:cs typeface="Segoe Sans Text Light" pitchFamily="2" charset="0"/>
              </a:rPr>
              <a:t>Source: Microsoft Telemetry Data, 2025.</a:t>
            </a:r>
          </a:p>
        </p:txBody>
      </p:sp>
    </p:spTree>
    <p:extLst>
      <p:ext uri="{BB962C8B-B14F-4D97-AF65-F5344CB8AC3E}">
        <p14:creationId xmlns:p14="http://schemas.microsoft.com/office/powerpoint/2010/main" val="16709764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dustry Leader Summit White template">
  <a:themeElements>
    <a:clrScheme name="Custom 1">
      <a:dk1>
        <a:srgbClr val="454142"/>
      </a:dk1>
      <a:lt1>
        <a:srgbClr val="F7F7F8"/>
      </a:lt1>
      <a:dk2>
        <a:srgbClr val="000000"/>
      </a:dk2>
      <a:lt2>
        <a:srgbClr val="FFFFFF"/>
      </a:lt2>
      <a:accent1>
        <a:srgbClr val="0078D4"/>
      </a:accent1>
      <a:accent2>
        <a:srgbClr val="49C5B1"/>
      </a:accent2>
      <a:accent3>
        <a:srgbClr val="2A446F"/>
      </a:accent3>
      <a:accent4>
        <a:srgbClr val="225B62"/>
      </a:accent4>
      <a:accent5>
        <a:srgbClr val="8DC8E8"/>
      </a:accent5>
      <a:accent6>
        <a:srgbClr val="D4EC8E"/>
      </a:accent6>
      <a:hlink>
        <a:srgbClr val="1C628B"/>
      </a:hlink>
      <a:folHlink>
        <a:srgbClr val="2997D4"/>
      </a:folHlink>
    </a:clrScheme>
    <a:fontScheme name="Segoe sans">
      <a:majorFont>
        <a:latin typeface="Segoe Sans Display Semibold"/>
        <a:ea typeface=""/>
        <a:cs typeface=""/>
      </a:majorFont>
      <a:minorFont>
        <a:latin typeface="Segoe Sans Tex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Industry Leader Summit" id="{F72972EE-8539-4F6B-95B3-B9EDE7F62884}" vid="{9C08EBE9-3C5D-4CC2-9DC2-4A0FCE8BE873}"/>
    </a:ext>
  </a:extLst>
</a:theme>
</file>

<file path=ppt/theme/theme2.xml><?xml version="1.0" encoding="utf-8"?>
<a:theme xmlns:a="http://schemas.openxmlformats.org/drawingml/2006/main" name="1_Microsoft AI Tour 16:9 Template Dark">
  <a:themeElements>
    <a:clrScheme name="Custom 43">
      <a:dk1>
        <a:srgbClr val="091F2C"/>
      </a:dk1>
      <a:lt1>
        <a:srgbClr val="FFFFFF"/>
      </a:lt1>
      <a:dk2>
        <a:srgbClr val="091F2C"/>
      </a:dk2>
      <a:lt2>
        <a:srgbClr val="E8E6DF"/>
      </a:lt2>
      <a:accent1>
        <a:srgbClr val="8DC8E8"/>
      </a:accent1>
      <a:accent2>
        <a:srgbClr val="49C5B1"/>
      </a:accent2>
      <a:accent3>
        <a:srgbClr val="0078D4"/>
      </a:accent3>
      <a:accent4>
        <a:srgbClr val="E1D3C7"/>
      </a:accent4>
      <a:accent5>
        <a:srgbClr val="C5B4E3"/>
      </a:accent5>
      <a:accent6>
        <a:srgbClr val="D9D9D6"/>
      </a:accent6>
      <a:hlink>
        <a:srgbClr val="8DC8E8"/>
      </a:hlink>
      <a:folHlink>
        <a:srgbClr val="C5B4E3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AITour_FY26_DesignGuide" id="{F3B1C068-7E71-D34C-9A2E-7883B8ADAFA6}" vid="{DE27A25E-BCC5-C945-8371-9F952E15338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E71A6B924FC94981CCAD1A585590D8" ma:contentTypeVersion="27" ma:contentTypeDescription="Create a new document." ma:contentTypeScope="" ma:versionID="566528f2922ad54e26a908d2133454c1">
  <xsd:schema xmlns:xsd="http://www.w3.org/2001/XMLSchema" xmlns:xs="http://www.w3.org/2001/XMLSchema" xmlns:p="http://schemas.microsoft.com/office/2006/metadata/properties" xmlns:ns1="http://schemas.microsoft.com/sharepoint/v3" xmlns:ns2="804751ba-60e0-4191-9865-d7e5284c1d69" xmlns:ns3="913b567d-4c83-4181-a45c-f04ce7e1b72e" xmlns:ns4="230e9df3-be65-4c73-a93b-d1236ebd677e" targetNamespace="http://schemas.microsoft.com/office/2006/metadata/properties" ma:root="true" ma:fieldsID="6c91453d1ce2972ce38a1123b4b20cb5" ns1:_="" ns2:_="" ns3:_="" ns4:_="">
    <xsd:import namespace="http://schemas.microsoft.com/sharepoint/v3"/>
    <xsd:import namespace="804751ba-60e0-4191-9865-d7e5284c1d69"/>
    <xsd:import namespace="913b567d-4c83-4181-a45c-f04ce7e1b72e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Number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Time" minOccurs="0"/>
                <xsd:element ref="ns2:MediaServiceSearchProperties" minOccurs="0"/>
                <xsd:element ref="ns2:MediaServiceObjectDetectorVersions" minOccurs="0"/>
                <xsd:element ref="ns2:TranslatedLang" minOccurs="0"/>
                <xsd:element ref="ns2:content" minOccurs="0"/>
                <xsd:element ref="ns2:MediaServiceDocTag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4751ba-60e0-4191-9865-d7e5284c1d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hidden="true" ma:internalName="MediaServiceKeyPoints" ma:readOnly="true">
      <xsd:simpleType>
        <xsd:restriction base="dms:Note"/>
      </xsd:simpleType>
    </xsd:element>
    <xsd:element name="MediaServiceOCR" ma:index="17" nillable="true" ma:displayName="Extracted Text" ma:hidden="true" ma:internalName="MediaServiceOCR" ma:readOnly="true">
      <xsd:simpleType>
        <xsd:restriction base="dms:Note"/>
      </xsd:simpleType>
    </xsd:element>
    <xsd:element name="MediaServiceLocation" ma:index="18" nillable="true" ma:displayName="Location" ma:hidden="true" ma:internalName="MediaServiceLocation" ma:readOnly="true">
      <xsd:simpleType>
        <xsd:restriction base="dms:Text"/>
      </xsd:simpleType>
    </xsd:element>
    <xsd:element name="Number" ma:index="21" nillable="true" ma:displayName="Number" ma:format="Dropdown" ma:internalName="Number" ma:percentage="FALSE">
      <xsd:simpleType>
        <xsd:restriction base="dms:Number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Time" ma:index="26" nillable="true" ma:displayName="Time" ma:format="DateTime" ma:internalName="Time">
      <xsd:simpleType>
        <xsd:restriction base="dms:DateTime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TranslatedLang" ma:index="29" nillable="true" ma:displayName="Translated Language" ma:hidden="true" ma:internalName="TranslatedLang" ma:readOnly="true">
      <xsd:simpleType>
        <xsd:restriction base="dms:Text"/>
      </xsd:simpleType>
    </xsd:element>
    <xsd:element name="content" ma:index="30" nillable="true" ma:displayName="content" ma:format="Dropdown" ma:internalName="content">
      <xsd:simpleType>
        <xsd:restriction base="dms:Choice">
          <xsd:enumeration value="Visual Studio"/>
          <xsd:enumeration value="VS Code"/>
          <xsd:enumeration value="GitHub Copilot"/>
          <xsd:enumeration value="Dev Box"/>
          <xsd:enumeration value="Choice 5"/>
        </xsd:restriction>
      </xsd:simpleType>
    </xsd:element>
    <xsd:element name="MediaServiceDocTags" ma:index="31" nillable="true" ma:displayName="MediaServiceDocTags" ma:hidden="true" ma:internalName="MediaServiceDocTags" ma:readOnly="true">
      <xsd:simpleType>
        <xsd:restriction base="dms:Note"/>
      </xsd:simpleType>
    </xsd:element>
    <xsd:element name="MediaServiceBillingMetadata" ma:index="32" nillable="true" ma:displayName="MediaServiceBillingMetadata" ma:hidden="true" ma:internalName="MediaServiceBillingMetadata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3b567d-4c83-4181-a45c-f04ce7e1b72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5" nillable="true" ma:displayName="Taxonomy Catch All Column" ma:hidden="true" ma:list="{ae7d3c4e-66c4-4603-a26b-8d6b1e039262}" ma:internalName="TaxCatchAll" ma:showField="CatchAllData" ma:web="913b567d-4c83-4181-a45c-f04ce7e1b72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230e9df3-be65-4c73-a93b-d1236ebd677e" xsi:nil="true"/>
    <lcf76f155ced4ddcb4097134ff3c332f xmlns="804751ba-60e0-4191-9865-d7e5284c1d69">
      <Terms xmlns="http://schemas.microsoft.com/office/infopath/2007/PartnerControls"/>
    </lcf76f155ced4ddcb4097134ff3c332f>
    <MediaServiceKeyPoints xmlns="804751ba-60e0-4191-9865-d7e5284c1d69" xsi:nil="true"/>
    <Number xmlns="804751ba-60e0-4191-9865-d7e5284c1d69" xsi:nil="true"/>
    <Time xmlns="804751ba-60e0-4191-9865-d7e5284c1d69" xsi:nil="true"/>
    <content xmlns="804751ba-60e0-4191-9865-d7e5284c1d69" xsi:nil="true"/>
  </documentManagement>
</p:properties>
</file>

<file path=customXml/itemProps1.xml><?xml version="1.0" encoding="utf-8"?>
<ds:datastoreItem xmlns:ds="http://schemas.openxmlformats.org/officeDocument/2006/customXml" ds:itemID="{2FE8DDB8-F09D-40BD-AA6D-24BC95C443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04751ba-60e0-4191-9865-d7e5284c1d69"/>
    <ds:schemaRef ds:uri="913b567d-4c83-4181-a45c-f04ce7e1b72e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7812D6-9BDC-45CD-82E1-73F48E6E2F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FE2691-E05C-4663-BD81-63516BC82FAA}">
  <ds:schemaRefs>
    <ds:schemaRef ds:uri="http://schemas.microsoft.com/office/infopath/2007/PartnerControls"/>
    <ds:schemaRef ds:uri="230e9df3-be65-4c73-a93b-d1236ebd677e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metadata/properties"/>
    <ds:schemaRef ds:uri="913b567d-4c83-4181-a45c-f04ce7e1b72e"/>
    <ds:schemaRef ds:uri="804751ba-60e0-4191-9865-d7e5284c1d69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1575</Words>
  <Application>Microsoft Macintosh PowerPoint</Application>
  <PresentationFormat>Widescreen</PresentationFormat>
  <Paragraphs>248</Paragraphs>
  <Slides>29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1" baseType="lpstr">
      <vt:lpstr>Aptos</vt:lpstr>
      <vt:lpstr>Arial</vt:lpstr>
      <vt:lpstr>Consolas</vt:lpstr>
      <vt:lpstr>Open Sans</vt:lpstr>
      <vt:lpstr>Segoe Pro Light</vt:lpstr>
      <vt:lpstr>Segoe Sans Display</vt:lpstr>
      <vt:lpstr>Segoe Sans Display Semibold</vt:lpstr>
      <vt:lpstr>Segoe Sans Display Semilight</vt:lpstr>
      <vt:lpstr>Segoe Sans Small</vt:lpstr>
      <vt:lpstr>Segoe Sans Text</vt:lpstr>
      <vt:lpstr>Segoe Sans Text Light</vt:lpstr>
      <vt:lpstr>Segoe Sans Text Semibold</vt:lpstr>
      <vt:lpstr>Segoe Sans Text Semilight</vt:lpstr>
      <vt:lpstr>Segoe UI</vt:lpstr>
      <vt:lpstr>Segoe UI Light</vt:lpstr>
      <vt:lpstr>Segoe UI Semibold</vt:lpstr>
      <vt:lpstr>Segoe UI Semilight</vt:lpstr>
      <vt:lpstr>Segoe UI Variable Small Light</vt:lpstr>
      <vt:lpstr>Wingdings</vt:lpstr>
      <vt:lpstr>Industry Leader Summit White template</vt:lpstr>
      <vt:lpstr>1_Microsoft AI Tour 16:9 Template Dark</vt:lpstr>
      <vt:lpstr>think-cell Slide</vt:lpstr>
      <vt:lpstr>Microsoft AI Tour</vt:lpstr>
      <vt:lpstr>Pioneering the future of financial services with AI: Innovations transforming finance through intelligent technology</vt:lpstr>
      <vt:lpstr>Agenda</vt:lpstr>
      <vt:lpstr>AI is reshaping the future of finance—today.</vt:lpstr>
      <vt:lpstr>Understanding the Frontier Firm in financial services</vt:lpstr>
      <vt:lpstr>Frontier financial services</vt:lpstr>
      <vt:lpstr>Journey to the Frontier Firm </vt:lpstr>
      <vt:lpstr>The emerging Frontier Firm: Human with assistant</vt:lpstr>
      <vt:lpstr>Employees are interrupted  every 2 minutes</vt:lpstr>
      <vt:lpstr>Most financial services leaders see agents as the way to scale</vt:lpstr>
      <vt:lpstr>The emerging Frontier Firm: Human-led agents</vt:lpstr>
      <vt:lpstr>A new metric: The human-agent ratio</vt:lpstr>
      <vt:lpstr>Financial services employees turn to AI for its unique strengths</vt:lpstr>
      <vt:lpstr>The emerging Frontier Firm: Human-led, agent-operated</vt:lpstr>
      <vt:lpstr>Labor market signals</vt:lpstr>
      <vt:lpstr>In-demand skills for the new era of work </vt:lpstr>
      <vt:lpstr>Becoming Frontier: banking</vt:lpstr>
      <vt:lpstr>Becoming Frontier: Insurance</vt:lpstr>
      <vt:lpstr>Becoming Frontier: Capital markets</vt:lpstr>
      <vt:lpstr>Intelligence on tap: AI as an on-demand resource</vt:lpstr>
      <vt:lpstr>Human labor is reaching its limits</vt:lpstr>
      <vt:lpstr>Intelligence on tap will fill the capacity gap</vt:lpstr>
      <vt:lpstr>Customer case stories: operational impact of AI in financial services</vt:lpstr>
      <vt:lpstr>Human-agent teams: empowering collaboration and innovation</vt:lpstr>
      <vt:lpstr>Integrating AI agents into team strategies: approaches and best practices</vt:lpstr>
      <vt:lpstr>Evolving workforce roles</vt:lpstr>
      <vt:lpstr>Microsoft and customer examples: team transformation with Copilot</vt:lpstr>
      <vt:lpstr>Demo</vt:lpstr>
      <vt:lpstr>Conclusion </vt:lpstr>
    </vt:vector>
  </TitlesOfParts>
  <Manager/>
  <Company>Microsoft Corporati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oneering the future of financial services with AI: Innovations transforming finance through intelligent technology</dc:title>
  <dc:subject>Microsoft AI Tour FY26</dc:subject>
  <dc:creator/>
  <cp:keywords/>
  <dc:description/>
  <cp:lastModifiedBy>praveen yellamaraju</cp:lastModifiedBy>
  <cp:revision>20</cp:revision>
  <dcterms:created xsi:type="dcterms:W3CDTF">2025-07-31T22:07:24Z</dcterms:created>
  <dcterms:modified xsi:type="dcterms:W3CDTF">2025-11-07T12:30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E71A6B924FC94981CCAD1A585590D8</vt:lpwstr>
  </property>
  <property fmtid="{D5CDD505-2E9C-101B-9397-08002B2CF9AE}" pid="3" name="MediaServiceImageTags">
    <vt:lpwstr/>
  </property>
</Properties>
</file>